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notesSlides/notesSlide1.xml" ContentType="application/vnd.openxmlformats-officedocument.presentationml.notesSlide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notesSlides/notesSlide2.xml" ContentType="application/vnd.openxmlformats-officedocument.presentationml.notesSlid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notesSlides/notesSlide3.xml" ContentType="application/vnd.openxmlformats-officedocument.presentationml.notesSlide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notesSlides/notesSlide4.xml" ContentType="application/vnd.openxmlformats-officedocument.presentationml.notesSlide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notesSlides/notesSlide5.xml" ContentType="application/vnd.openxmlformats-officedocument.presentationml.notesSlide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notesSlides/notesSlide6.xml" ContentType="application/vnd.openxmlformats-officedocument.presentationml.notesSlide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864" r:id="rId2"/>
  </p:sldMasterIdLst>
  <p:notesMasterIdLst>
    <p:notesMasterId r:id="rId10"/>
  </p:notesMasterIdLst>
  <p:handoutMasterIdLst>
    <p:handoutMasterId r:id="rId11"/>
  </p:handoutMasterIdLst>
  <p:sldIdLst>
    <p:sldId id="2141411881" r:id="rId3"/>
    <p:sldId id="2141411882" r:id="rId4"/>
    <p:sldId id="2141411883" r:id="rId5"/>
    <p:sldId id="2141411884" r:id="rId6"/>
    <p:sldId id="2141411888" r:id="rId7"/>
    <p:sldId id="1448942283" r:id="rId8"/>
    <p:sldId id="2141411877" r:id="rId9"/>
  </p:sldIdLst>
  <p:sldSz cx="12192000" cy="6858000"/>
  <p:notesSz cx="7102475" cy="9388475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A1971"/>
    <a:srgbClr val="182266"/>
    <a:srgbClr val="C00000"/>
    <a:srgbClr val="7F7F7F"/>
    <a:srgbClr val="E7E9F9"/>
    <a:srgbClr val="969696"/>
    <a:srgbClr val="0632AE"/>
    <a:srgbClr val="272E4F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35" autoAdjust="0"/>
    <p:restoredTop sz="94468" autoAdjust="0"/>
  </p:normalViewPr>
  <p:slideViewPr>
    <p:cSldViewPr snapToGrid="0" snapToObjects="1">
      <p:cViewPr varScale="1">
        <p:scale>
          <a:sx n="82" d="100"/>
          <a:sy n="82" d="100"/>
        </p:scale>
        <p:origin x="835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324"/>
    </p:cViewPr>
  </p:sorterViewPr>
  <p:notesViewPr>
    <p:cSldViewPr snapToGrid="0" snapToObjects="1">
      <p:cViewPr>
        <p:scale>
          <a:sx n="75" d="100"/>
          <a:sy n="75" d="100"/>
        </p:scale>
        <p:origin x="3204" y="1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22 March 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GB" smtClean="0"/>
              <a:pPr/>
              <a:t>22 March, 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2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35012" y="4518025"/>
            <a:ext cx="5632450" cy="100027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22 March, 2022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56020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22 March, 2022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74843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22 March, 2022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48018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22 March, 2022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31319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 March, 2022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44519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22 March, 2022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564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22 March, 2022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9215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.vml"/><Relationship Id="rId6" Type="http://schemas.openxmlformats.org/officeDocument/2006/relationships/tags" Target="../tags/tag26.xml"/><Relationship Id="rId11" Type="http://schemas.openxmlformats.org/officeDocument/2006/relationships/image" Target="../media/image3.jpeg"/><Relationship Id="rId5" Type="http://schemas.openxmlformats.org/officeDocument/2006/relationships/tags" Target="../tags/tag25.xml"/><Relationship Id="rId10" Type="http://schemas.openxmlformats.org/officeDocument/2006/relationships/image" Target="../media/image2.emf"/><Relationship Id="rId4" Type="http://schemas.openxmlformats.org/officeDocument/2006/relationships/tags" Target="../tags/tag24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5.emf"/><Relationship Id="rId2" Type="http://schemas.openxmlformats.org/officeDocument/2006/relationships/tags" Target="../tags/tag8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8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image" Target="../media/image1.emf"/><Relationship Id="rId2" Type="http://schemas.openxmlformats.org/officeDocument/2006/relationships/tags" Target="../tags/tag92.xml"/><Relationship Id="rId1" Type="http://schemas.openxmlformats.org/officeDocument/2006/relationships/vmlDrawing" Target="../drawings/vmlDrawing12.vml"/><Relationship Id="rId6" Type="http://schemas.openxmlformats.org/officeDocument/2006/relationships/tags" Target="../tags/tag96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9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4.xml"/><Relationship Id="rId9" Type="http://schemas.openxmlformats.org/officeDocument/2006/relationships/tags" Target="../tags/tag99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10" Type="http://schemas.openxmlformats.org/officeDocument/2006/relationships/image" Target="../media/image2.emf"/><Relationship Id="rId4" Type="http://schemas.openxmlformats.org/officeDocument/2006/relationships/tags" Target="../tags/tag102.xml"/><Relationship Id="rId9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07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06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9.xml"/><Relationship Id="rId4" Type="http://schemas.openxmlformats.org/officeDocument/2006/relationships/tags" Target="../tags/tag10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image" Target="../media/image4.png"/><Relationship Id="rId2" Type="http://schemas.openxmlformats.org/officeDocument/2006/relationships/tags" Target="../tags/tag131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35.xml"/><Relationship Id="rId11" Type="http://schemas.openxmlformats.org/officeDocument/2006/relationships/image" Target="../media/image3.jpeg"/><Relationship Id="rId5" Type="http://schemas.openxmlformats.org/officeDocument/2006/relationships/tags" Target="../tags/tag134.xml"/><Relationship Id="rId10" Type="http://schemas.openxmlformats.org/officeDocument/2006/relationships/image" Target="../media/image2.emf"/><Relationship Id="rId4" Type="http://schemas.openxmlformats.org/officeDocument/2006/relationships/tags" Target="../tags/tag133.xml"/><Relationship Id="rId9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41.xml"/><Relationship Id="rId11" Type="http://schemas.openxmlformats.org/officeDocument/2006/relationships/image" Target="../media/image1.emf"/><Relationship Id="rId5" Type="http://schemas.openxmlformats.org/officeDocument/2006/relationships/tags" Target="../tags/tag140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139.xml"/><Relationship Id="rId9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5.xml"/><Relationship Id="rId7" Type="http://schemas.openxmlformats.org/officeDocument/2006/relationships/tags" Target="../tags/tag149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48.xml"/><Relationship Id="rId5" Type="http://schemas.openxmlformats.org/officeDocument/2006/relationships/tags" Target="../tags/tag147.xml"/><Relationship Id="rId10" Type="http://schemas.openxmlformats.org/officeDocument/2006/relationships/image" Target="../media/image2.emf"/><Relationship Id="rId4" Type="http://schemas.openxmlformats.org/officeDocument/2006/relationships/tags" Target="../tags/tag146.xml"/><Relationship Id="rId9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54.xml"/><Relationship Id="rId5" Type="http://schemas.openxmlformats.org/officeDocument/2006/relationships/tags" Target="../tags/tag153.xml"/><Relationship Id="rId10" Type="http://schemas.openxmlformats.org/officeDocument/2006/relationships/image" Target="../media/image2.emf"/><Relationship Id="rId4" Type="http://schemas.openxmlformats.org/officeDocument/2006/relationships/tags" Target="../tags/tag152.xml"/><Relationship Id="rId9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10" Type="http://schemas.openxmlformats.org/officeDocument/2006/relationships/image" Target="../media/image2.emf"/><Relationship Id="rId4" Type="http://schemas.openxmlformats.org/officeDocument/2006/relationships/tags" Target="../tags/tag158.xml"/><Relationship Id="rId9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3" Type="http://schemas.openxmlformats.org/officeDocument/2006/relationships/tags" Target="../tags/tag163.xml"/><Relationship Id="rId7" Type="http://schemas.openxmlformats.org/officeDocument/2006/relationships/tags" Target="../tags/tag167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66.xml"/><Relationship Id="rId11" Type="http://schemas.openxmlformats.org/officeDocument/2006/relationships/image" Target="../media/image2.emf"/><Relationship Id="rId5" Type="http://schemas.openxmlformats.org/officeDocument/2006/relationships/tags" Target="../tags/tag165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164.xml"/><Relationship Id="rId9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3.vml"/><Relationship Id="rId6" Type="http://schemas.openxmlformats.org/officeDocument/2006/relationships/tags" Target="../tags/tag32.xml"/><Relationship Id="rId11" Type="http://schemas.openxmlformats.org/officeDocument/2006/relationships/image" Target="../media/image1.emf"/><Relationship Id="rId5" Type="http://schemas.openxmlformats.org/officeDocument/2006/relationships/tags" Target="../tags/tag31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0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12" Type="http://schemas.openxmlformats.org/officeDocument/2006/relationships/image" Target="../media/image1.emf"/><Relationship Id="rId2" Type="http://schemas.openxmlformats.org/officeDocument/2006/relationships/tags" Target="../tags/tag169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73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17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1.xml"/><Relationship Id="rId9" Type="http://schemas.openxmlformats.org/officeDocument/2006/relationships/tags" Target="../tags/tag176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83.xml"/><Relationship Id="rId3" Type="http://schemas.openxmlformats.org/officeDocument/2006/relationships/tags" Target="../tags/tag178.xml"/><Relationship Id="rId7" Type="http://schemas.openxmlformats.org/officeDocument/2006/relationships/tags" Target="../tags/tag182.xml"/><Relationship Id="rId12" Type="http://schemas.openxmlformats.org/officeDocument/2006/relationships/image" Target="../media/image1.emf"/><Relationship Id="rId2" Type="http://schemas.openxmlformats.org/officeDocument/2006/relationships/tags" Target="../tags/tag177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81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180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9.xml"/><Relationship Id="rId9" Type="http://schemas.openxmlformats.org/officeDocument/2006/relationships/tags" Target="../tags/tag18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91.xml"/><Relationship Id="rId3" Type="http://schemas.openxmlformats.org/officeDocument/2006/relationships/tags" Target="../tags/tag186.xml"/><Relationship Id="rId7" Type="http://schemas.openxmlformats.org/officeDocument/2006/relationships/tags" Target="../tags/tag190.xml"/><Relationship Id="rId12" Type="http://schemas.openxmlformats.org/officeDocument/2006/relationships/image" Target="../media/image2.emf"/><Relationship Id="rId2" Type="http://schemas.openxmlformats.org/officeDocument/2006/relationships/tags" Target="../tags/tag185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89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18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7.xml"/><Relationship Id="rId9" Type="http://schemas.openxmlformats.org/officeDocument/2006/relationships/tags" Target="../tags/tag19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image" Target="../media/image1.emf"/><Relationship Id="rId2" Type="http://schemas.openxmlformats.org/officeDocument/2006/relationships/tags" Target="../tags/tag19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97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9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5.xml"/><Relationship Id="rId9" Type="http://schemas.openxmlformats.org/officeDocument/2006/relationships/tags" Target="../tags/tag200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2.emf"/><Relationship Id="rId2" Type="http://schemas.openxmlformats.org/officeDocument/2006/relationships/tags" Target="../tags/tag201.xml"/><Relationship Id="rId1" Type="http://schemas.openxmlformats.org/officeDocument/2006/relationships/vmlDrawing" Target="../drawings/vmlDrawing26.vml"/><Relationship Id="rId6" Type="http://schemas.openxmlformats.org/officeDocument/2006/relationships/tags" Target="../tags/tag205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20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3.xml"/><Relationship Id="rId9" Type="http://schemas.openxmlformats.org/officeDocument/2006/relationships/tags" Target="../tags/tag208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13.xml"/><Relationship Id="rId5" Type="http://schemas.openxmlformats.org/officeDocument/2006/relationships/tags" Target="../tags/tag212.xml"/><Relationship Id="rId10" Type="http://schemas.openxmlformats.org/officeDocument/2006/relationships/image" Target="../media/image2.emf"/><Relationship Id="rId4" Type="http://schemas.openxmlformats.org/officeDocument/2006/relationships/tags" Target="../tags/tag211.xml"/><Relationship Id="rId9" Type="http://schemas.openxmlformats.org/officeDocument/2006/relationships/oleObject" Target="../embeddings/oleObject27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6.xml"/><Relationship Id="rId7" Type="http://schemas.openxmlformats.org/officeDocument/2006/relationships/oleObject" Target="../embeddings/oleObject28.bin"/><Relationship Id="rId2" Type="http://schemas.openxmlformats.org/officeDocument/2006/relationships/tags" Target="../tags/tag215.xml"/><Relationship Id="rId1" Type="http://schemas.openxmlformats.org/officeDocument/2006/relationships/vmlDrawing" Target="../drawings/vmlDrawing2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18.xml"/><Relationship Id="rId4" Type="http://schemas.openxmlformats.org/officeDocument/2006/relationships/tags" Target="../tags/tag217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2.emf"/><Relationship Id="rId4" Type="http://schemas.openxmlformats.org/officeDocument/2006/relationships/tags" Target="../tags/tag37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vmlDrawing" Target="../drawings/vmlDrawing5.v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2.emf"/><Relationship Id="rId4" Type="http://schemas.openxmlformats.org/officeDocument/2006/relationships/tags" Target="../tags/tag43.xml"/><Relationship Id="rId9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6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10" Type="http://schemas.openxmlformats.org/officeDocument/2006/relationships/image" Target="../media/image2.emf"/><Relationship Id="rId4" Type="http://schemas.openxmlformats.org/officeDocument/2006/relationships/tags" Target="../tags/tag49.xml"/><Relationship Id="rId9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vmlDrawing" Target="../drawings/vmlDrawing7.vml"/><Relationship Id="rId6" Type="http://schemas.openxmlformats.org/officeDocument/2006/relationships/tags" Target="../tags/tag57.xml"/><Relationship Id="rId11" Type="http://schemas.openxmlformats.org/officeDocument/2006/relationships/image" Target="../media/image2.emf"/><Relationship Id="rId5" Type="http://schemas.openxmlformats.org/officeDocument/2006/relationships/tags" Target="../tags/tag56.xml"/><Relationship Id="rId10" Type="http://schemas.openxmlformats.org/officeDocument/2006/relationships/oleObject" Target="../embeddings/oleObject7.bin"/><Relationship Id="rId4" Type="http://schemas.openxmlformats.org/officeDocument/2006/relationships/tags" Target="../tags/tag55.xml"/><Relationship Id="rId9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vmlDrawing" Target="../drawings/vmlDrawing8.vml"/><Relationship Id="rId6" Type="http://schemas.openxmlformats.org/officeDocument/2006/relationships/tags" Target="../tags/tag64.xml"/><Relationship Id="rId11" Type="http://schemas.openxmlformats.org/officeDocument/2006/relationships/oleObject" Target="../embeddings/oleObject8.bin"/><Relationship Id="rId5" Type="http://schemas.openxmlformats.org/officeDocument/2006/relationships/tags" Target="../tags/tag6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image" Target="../media/image1.emf"/><Relationship Id="rId2" Type="http://schemas.openxmlformats.org/officeDocument/2006/relationships/tags" Target="../tags/tag68.xml"/><Relationship Id="rId1" Type="http://schemas.openxmlformats.org/officeDocument/2006/relationships/vmlDrawing" Target="../drawings/vmlDrawing9.vml"/><Relationship Id="rId6" Type="http://schemas.openxmlformats.org/officeDocument/2006/relationships/tags" Target="../tags/tag72.xml"/><Relationship Id="rId11" Type="http://schemas.openxmlformats.org/officeDocument/2006/relationships/oleObject" Target="../embeddings/oleObject9.bin"/><Relationship Id="rId5" Type="http://schemas.openxmlformats.org/officeDocument/2006/relationships/tags" Target="../tags/tag7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image" Target="../media/image1.emf"/><Relationship Id="rId2" Type="http://schemas.openxmlformats.org/officeDocument/2006/relationships/tags" Target="../tags/tag76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0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7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8.xml"/><Relationship Id="rId9" Type="http://schemas.openxmlformats.org/officeDocument/2006/relationships/tags" Target="../tags/tag8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752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7" y="380964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GB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3" y="3106936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GB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1942" y="1357784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440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11" name="Disclaimer-English (United States)">
            <a:extLst>
              <a:ext uri="{FF2B5EF4-FFF2-40B4-BE49-F238E27FC236}">
                <a16:creationId xmlns:a16="http://schemas.microsoft.com/office/drawing/2014/main" id="{BED87416-489C-4AA1-819A-DE8BC11DBE5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300883"/>
            <a:ext cx="41148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defTabSz="804863" eaLnBrk="0" hangingPunct="0"/>
            <a:r>
              <a:rPr lang="en-GB" sz="800" dirty="0">
                <a:solidFill>
                  <a:schemeClr val="tx1"/>
                </a:solidFill>
                <a:latin typeface="+mn-lt"/>
              </a:rPr>
              <a:t>This programme is funded by UK aid from the UK Government; however, the views expressed do not necessarily reflect the UK government’s official polici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B66AE5E-7B07-42F2-A003-ECEF576A1308}"/>
              </a:ext>
            </a:extLst>
          </p:cNvPr>
          <p:cNvPicPr/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92" t="18900" r="7274" b="13666"/>
          <a:stretch/>
        </p:blipFill>
        <p:spPr bwMode="ltGray">
          <a:xfrm>
            <a:off x="524784" y="5165074"/>
            <a:ext cx="3070666" cy="67672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366384B-8687-4519-8929-153E3984DE43}"/>
              </a:ext>
            </a:extLst>
          </p:cNvPr>
          <p:cNvPicPr>
            <a:picLocks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3738061" y="5165074"/>
            <a:ext cx="901948" cy="990182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57CF640-381C-4FC4-B46F-97ABC71552B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562100" y="6457950"/>
            <a:ext cx="914400" cy="581697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8581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6967728" cy="73152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7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rgbClr val="7F7F7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  <a:endParaRPr lang="en-GB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13909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150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7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884725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rgbClr val="7F7F7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086153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4731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  <a:endParaRPr lang="en-GB" sz="8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6323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  <a:endParaRPr lang="en-GB" sz="8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3131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28C766-256B-416E-8C89-BD6E7366A0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D9FEAC7-5CE0-41D7-A4FD-1F175402CA7F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373FCE5A-454B-490C-82FD-A1406E492C0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7" y="380964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4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en-GB" dirty="0"/>
              <a:t>Edit date or title/ro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EC44D816-1CC8-44E3-A8E7-19D0097BC816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3" y="3106936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solidFill>
                  <a:schemeClr val="tx2"/>
                </a:solidFill>
              </a:defRPr>
            </a:lvl1pPr>
          </a:lstStyle>
          <a:p>
            <a:pPr lvl="0">
              <a:buNone/>
            </a:pPr>
            <a:r>
              <a:rPr lang="en-GB" dirty="0"/>
              <a:t>Click to edit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7E5B1DF2-3AF4-406A-BF68-C4B321EB792A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1942" y="1357784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</a:t>
            </a:r>
            <a:br>
              <a:rPr lang="en-GB" dirty="0"/>
            </a:br>
            <a:r>
              <a:rPr lang="en-GB" dirty="0"/>
              <a:t>Master title style</a:t>
            </a:r>
          </a:p>
        </p:txBody>
      </p:sp>
      <p:sp>
        <p:nvSpPr>
          <p:cNvPr id="17" name="Disclaimer-English (United States)">
            <a:extLst>
              <a:ext uri="{FF2B5EF4-FFF2-40B4-BE49-F238E27FC236}">
                <a16:creationId xmlns:a16="http://schemas.microsoft.com/office/drawing/2014/main" id="{CE29F781-774B-4F6B-ADB9-E6C1594E2ED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300883"/>
            <a:ext cx="41148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defTabSz="804863" eaLnBrk="0" hangingPunct="0"/>
            <a:r>
              <a:rPr lang="en-GB" sz="800" dirty="0">
                <a:solidFill>
                  <a:schemeClr val="tx2"/>
                </a:solidFill>
                <a:latin typeface="+mn-lt"/>
              </a:rPr>
              <a:t>This study has been funded by UK aid from the UK Government; however, the views expressed do not necessarily reflect the UK government’s official polici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6C25A6E-1794-4C64-9205-7698782B4287}"/>
              </a:ext>
            </a:extLst>
          </p:cNvPr>
          <p:cNvPicPr/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92" t="18900" r="7274" b="13666"/>
          <a:stretch/>
        </p:blipFill>
        <p:spPr bwMode="ltGray">
          <a:xfrm>
            <a:off x="524784" y="5165074"/>
            <a:ext cx="3070666" cy="67672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2449DA7-B624-4059-82D8-CF112CC4F924}"/>
              </a:ext>
            </a:extLst>
          </p:cNvPr>
          <p:cNvPicPr>
            <a:picLocks/>
          </p:cNvPicPr>
          <p:nvPr userDrawn="1"/>
        </p:nvPicPr>
        <p:blipFill>
          <a:blip r:embed="rId12"/>
          <a:stretch>
            <a:fillRect/>
          </a:stretch>
        </p:blipFill>
        <p:spPr bwMode="ltGray">
          <a:xfrm>
            <a:off x="3738061" y="5165074"/>
            <a:ext cx="901948" cy="990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653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1424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  <a:endParaRPr lang="en-GB" sz="800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8694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  <a:endParaRPr lang="en-GB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3400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25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  <a:endParaRPr lang="en-GB" sz="800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2036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4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702230"/>
            <a:ext cx="9180576" cy="37721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00"/>
            </a:lvl1pPr>
          </a:lstStyle>
          <a:p>
            <a:r>
              <a:rPr lang="en-GB"/>
              <a:t>“Click to add quote</a:t>
            </a:r>
            <a:endParaRPr lang="en-GB" dirty="0"/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quote source</a:t>
            </a:r>
            <a:endParaRPr lang="en-GB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  <a:endParaRPr lang="en-GB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1717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>
                <a:solidFill>
                  <a:srgbClr val="7F7F7F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1419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</a:t>
            </a:r>
            <a:endParaRPr lang="en-GB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rgbClr val="7F7F7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>
                <a:solidFill>
                  <a:schemeClr val="bg2"/>
                </a:solidFill>
              </a:rPr>
              <a:t>Source: …</a:t>
            </a:r>
            <a:endParaRPr lang="en-GB" sz="800" dirty="0">
              <a:solidFill>
                <a:schemeClr val="bg2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38077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9546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rgbClr val="7F7F7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>
                <a:solidFill>
                  <a:schemeClr val="bg2"/>
                </a:solidFill>
              </a:rPr>
              <a:t>Source: …</a:t>
            </a:r>
            <a:endParaRPr lang="en-GB" sz="800" dirty="0">
              <a:solidFill>
                <a:schemeClr val="bg2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87880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9072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6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5065776" cy="73152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rgbClr val="7F7F7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>
                <a:solidFill>
                  <a:schemeClr val="bg2"/>
                </a:solidFill>
              </a:rPr>
              <a:t>Source: …</a:t>
            </a:r>
            <a:endParaRPr lang="en-GB" sz="800" dirty="0">
              <a:solidFill>
                <a:schemeClr val="bg2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7193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5506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5" y="172212"/>
            <a:ext cx="6967728" cy="73152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884725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rgbClr val="7F7F7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>
                <a:solidFill>
                  <a:schemeClr val="bg2"/>
                </a:solidFill>
              </a:rPr>
              <a:t>Source: …</a:t>
            </a:r>
            <a:endParaRPr lang="en-GB" sz="800" dirty="0">
              <a:solidFill>
                <a:schemeClr val="bg2"/>
              </a:solidFill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95030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8644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4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4" y="172212"/>
            <a:ext cx="7918704" cy="73152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884725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rgbClr val="7F7F7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30981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7315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  <a:endParaRPr lang="en-GB" sz="800" dirty="0"/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599EF29F-D84E-435D-9AEB-AA62B39EC8ED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1778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2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dirty="0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  <a:endParaRPr lang="en-GB" sz="800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0242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  <a:endParaRPr lang="en-GB" sz="800" dirty="0"/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4817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  <a:endParaRPr lang="en-GB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0008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872855"/>
            <a:ext cx="11082528" cy="384721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25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  <a:endParaRPr lang="en-GB" sz="800" dirty="0"/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8333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702230"/>
            <a:ext cx="9180576" cy="377219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2500"/>
            </a:lvl1pPr>
          </a:lstStyle>
          <a:p>
            <a:r>
              <a:rPr lang="en-GB"/>
              <a:t>“Click to add quote</a:t>
            </a:r>
            <a:endParaRPr lang="en-GB" dirty="0"/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rgbClr val="7F7F7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quote source</a:t>
            </a:r>
            <a:endParaRPr lang="en-GB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  <a:endParaRPr lang="en-GB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5414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7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rgbClr val="7F7F7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498754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  <a:endParaRPr lang="en-GB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703695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5106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7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rgbClr val="7F7F7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498754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  <a:endParaRPr lang="en-GB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291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1817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7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GB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5065776" cy="73152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88472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rgbClr val="7F7F7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  <a:endParaRPr lang="en-GB" sz="800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54678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112.xml"/><Relationship Id="rId26" Type="http://schemas.openxmlformats.org/officeDocument/2006/relationships/tags" Target="../tags/tag120.xml"/><Relationship Id="rId21" Type="http://schemas.openxmlformats.org/officeDocument/2006/relationships/tags" Target="../tags/tag115.xml"/><Relationship Id="rId34" Type="http://schemas.openxmlformats.org/officeDocument/2006/relationships/tags" Target="../tags/tag128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ags" Target="../tags/tag111.xml"/><Relationship Id="rId25" Type="http://schemas.openxmlformats.org/officeDocument/2006/relationships/tags" Target="../tags/tag119.xml"/><Relationship Id="rId33" Type="http://schemas.openxmlformats.org/officeDocument/2006/relationships/tags" Target="../tags/tag127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10.xml"/><Relationship Id="rId20" Type="http://schemas.openxmlformats.org/officeDocument/2006/relationships/tags" Target="../tags/tag114.xml"/><Relationship Id="rId29" Type="http://schemas.openxmlformats.org/officeDocument/2006/relationships/tags" Target="../tags/tag12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118.xml"/><Relationship Id="rId32" Type="http://schemas.openxmlformats.org/officeDocument/2006/relationships/tags" Target="../tags/tag126.xml"/><Relationship Id="rId37" Type="http://schemas.openxmlformats.org/officeDocument/2006/relationships/oleObject" Target="../embeddings/oleObject15.bin"/><Relationship Id="rId5" Type="http://schemas.openxmlformats.org/officeDocument/2006/relationships/slideLayout" Target="../slideLayouts/slideLayout18.xml"/><Relationship Id="rId15" Type="http://schemas.openxmlformats.org/officeDocument/2006/relationships/vmlDrawing" Target="../drawings/vmlDrawing15.vml"/><Relationship Id="rId23" Type="http://schemas.openxmlformats.org/officeDocument/2006/relationships/tags" Target="../tags/tag117.xml"/><Relationship Id="rId28" Type="http://schemas.openxmlformats.org/officeDocument/2006/relationships/tags" Target="../tags/tag122.xml"/><Relationship Id="rId36" Type="http://schemas.openxmlformats.org/officeDocument/2006/relationships/tags" Target="../tags/tag130.xml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113.xml"/><Relationship Id="rId31" Type="http://schemas.openxmlformats.org/officeDocument/2006/relationships/tags" Target="../tags/tag125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Relationship Id="rId22" Type="http://schemas.openxmlformats.org/officeDocument/2006/relationships/tags" Target="../tags/tag116.xml"/><Relationship Id="rId27" Type="http://schemas.openxmlformats.org/officeDocument/2006/relationships/tags" Target="../tags/tag121.xml"/><Relationship Id="rId30" Type="http://schemas.openxmlformats.org/officeDocument/2006/relationships/tags" Target="../tags/tag124.xml"/><Relationship Id="rId35" Type="http://schemas.openxmlformats.org/officeDocument/2006/relationships/tags" Target="../tags/tag129.xml"/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71585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36" imgW="413" imgH="416" progId="TCLayout.ActiveDocument.1">
                  <p:embed/>
                </p:oleObj>
              </mc:Choice>
              <mc:Fallback>
                <p:oleObj name="think-cell Slide" r:id="rId3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Footnotes</a:t>
            </a:r>
            <a:endParaRPr lang="en-GB" dirty="0"/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7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186880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GB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987738" y="2139576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Above Chart Exhibit Title</a:t>
            </a:r>
          </a:p>
          <a:p>
            <a:pPr lvl="0"/>
            <a:r>
              <a:rPr lang="en-GB" b="0"/>
              <a:t>Unit of Measure</a:t>
            </a:r>
            <a:endParaRPr lang="en-GB" b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56CB22FD-B017-4A22-8DA3-23F32F02B569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D19695F1-0E9C-490A-AAAC-BEFC0528A375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56BCB3E4-817D-4E91-AE4C-23451F33AC59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847944CE-2623-49CE-95F1-CF1105C0D12C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C3641DA4-8378-4794-9878-EBDE642F9E8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CA770E94-7D5B-4A12-A1D9-5B1EB044E4E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C57F8B94-2FD4-4484-90CA-0FA5C8A2CDB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8F4294B2-59BD-4F5B-9B1F-58AAAFEE3775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7F72CC6F-738F-4118-B0D0-E1D537A36502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D950A387-D83B-4AA1-BF39-BF9A212B3F9D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C25A15AB-7DE7-4E26-BDB3-66996C82BE2C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F7B226D1-E703-4B61-BA41-26068C794FA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F638AAF9-D93C-427C-8E28-7EFF658D4D7D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F9F9C1AD-69FE-4DB0-92F0-9C8A06FD8FA0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2FBEBDE3-B753-4707-885C-326123C8855B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F7B61198-4D04-4EB1-9F19-BC47E6DDB6A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 dirty="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A7D2A445-800E-4494-8971-FBA054824462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89C1B4FB-0C78-4F4F-81D9-71E97B0AA711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1CAC2457-BCD5-4A43-9787-2509F6E50537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 dirty="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70603DBA-3322-4521-9216-19D5EC1BC54D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78ADC3B3-40A1-401F-A730-406C2FAC9726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40A3C515-040C-4037-8C3E-ED613092FDFC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 dirty="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B1D1576A-8DCC-41AE-864B-7AAA08037F30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23A120DC-613D-485E-839E-5A181F7AE549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68C1A83D-B72E-4068-A897-D88E063059DB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 dirty="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6BD5921B-3766-4194-8C0F-81F893153C54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9E38E0FA-A4E5-406F-8712-B20F28B49AE7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10FBC0DB-FAF7-488C-9357-FC64E4B13742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77CF3D24-065C-467B-B837-25BD3999DBD2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615A3DD6-E37B-4086-8786-22C47AB4F6F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A42E0B4B-FE4A-4413-A2AF-FFA2AE0B0BC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86EB55EC-0A10-49E1-83D8-53115AAB902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287E92C8-DC05-4A96-956A-12F8303D933F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D38E5ECE-7B25-43A8-A9AF-C547AE0A899F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108E6CCA-5AE3-4350-8377-691209F5509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3AEE94D3-7EA4-4BF4-8637-66040DB5DCA6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8C496AB0-464D-44BA-97E3-AF06935DA32F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1D725D36-BD83-4552-95BC-8C69D624658D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2C17C9AE-E944-41F6-9D83-1290F4C606D5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</p:grpSp>
      <p:sp>
        <p:nvSpPr>
          <p:cNvPr id="6" name="MSIPCMContentMarking" descr="{&quot;HashCode&quot;:-1291824593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17692FB5-7AD6-4875-832B-BE1B03CE0C6E}"/>
              </a:ext>
            </a:extLst>
          </p:cNvPr>
          <p:cNvSpPr txBox="1"/>
          <p:nvPr userDrawn="1"/>
        </p:nvSpPr>
        <p:spPr>
          <a:xfrm>
            <a:off x="0" y="0"/>
            <a:ext cx="733923" cy="26234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  <a:endParaRPr lang="en-GB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60" r:id="rId7"/>
    <p:sldLayoutId id="2147483856" r:id="rId8"/>
    <p:sldLayoutId id="2147483805" r:id="rId9"/>
    <p:sldLayoutId id="2147483806" r:id="rId10"/>
    <p:sldLayoutId id="2147483882" r:id="rId11"/>
    <p:sldLayoutId id="2147483879" r:id="rId12"/>
    <p:sldLayoutId id="2147483706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459185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1" name="think-cell Slide" r:id="rId37" imgW="592" imgH="591" progId="TCLayout.ActiveDocument.1">
                  <p:embed/>
                </p:oleObj>
              </mc:Choice>
              <mc:Fallback>
                <p:oleObj name="think-cell Slide" r:id="rId3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19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Footnotes</a:t>
            </a:r>
            <a:endParaRPr lang="en-GB" dirty="0"/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186880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GB"/>
              <a:t>STICKER</a:t>
            </a:r>
            <a:endParaRPr lang="en-GB" dirty="0"/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39576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Above Chart Exhibit Title</a:t>
            </a:r>
          </a:p>
          <a:p>
            <a:pPr lvl="0"/>
            <a:r>
              <a:rPr lang="en-GB" b="0"/>
              <a:t>Unit of Measure</a:t>
            </a:r>
            <a:endParaRPr lang="en-GB" b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24873C15-D871-4AEE-A32E-A69AC9EB5EA3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554770" y="4322824"/>
            <a:chExt cx="922463" cy="1717282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id="{3D5B53C1-46C1-4016-80F0-88BBB394343A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id="{5AA07712-4360-4ADE-B290-7876B09BA80A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id="{FEB2C747-559A-412C-AF20-AF469DC716B9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id="{50F12B8A-8742-4042-BCD2-9AF6865D58BD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id="{E7601435-EAE7-41A9-B917-72E7AA76BAEB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 dirty="0">
                <a:solidFill>
                  <a:schemeClr val="tx1"/>
                </a:solidFill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6B78ACC8-6B76-46D4-8C1D-53DD5B89096D}"/>
                </a:ext>
              </a:extLst>
            </p:cNvPr>
            <p:cNvSpPr txBox="1"/>
            <p:nvPr/>
          </p:nvSpPr>
          <p:spPr>
            <a:xfrm>
              <a:off x="1088091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1415F07A-CB84-4961-829F-6BB9B2E68205}"/>
                </a:ext>
              </a:extLst>
            </p:cNvPr>
            <p:cNvSpPr txBox="1"/>
            <p:nvPr/>
          </p:nvSpPr>
          <p:spPr>
            <a:xfrm>
              <a:off x="1088091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8D51C41E-0F9A-4B00-AE0E-E982655B6F64}"/>
                </a:ext>
              </a:extLst>
            </p:cNvPr>
            <p:cNvSpPr txBox="1"/>
            <p:nvPr/>
          </p:nvSpPr>
          <p:spPr>
            <a:xfrm>
              <a:off x="1088091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id="{A89CDC56-2940-4E73-9C44-D86BF9154D42}"/>
                </a:ext>
              </a:extLst>
            </p:cNvPr>
            <p:cNvSpPr txBox="1"/>
            <p:nvPr/>
          </p:nvSpPr>
          <p:spPr>
            <a:xfrm>
              <a:off x="1088091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id="{51245874-9CD8-4AEC-BF9F-B90135CAD5F1}"/>
                </a:ext>
              </a:extLst>
            </p:cNvPr>
            <p:cNvSpPr txBox="1"/>
            <p:nvPr/>
          </p:nvSpPr>
          <p:spPr>
            <a:xfrm>
              <a:off x="1088091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F805CB79-C294-47D4-948A-7E9266B2C77D}"/>
              </a:ext>
            </a:extLst>
          </p:cNvPr>
          <p:cNvGrpSpPr/>
          <p:nvPr userDrawn="1"/>
        </p:nvGrpSpPr>
        <p:grpSpPr>
          <a:xfrm>
            <a:off x="10317304" y="3150831"/>
            <a:ext cx="1319960" cy="958286"/>
            <a:chOff x="10162879" y="3243772"/>
            <a:chExt cx="1319960" cy="958286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C6FD4D31-09D1-4A45-BDAA-AC6D6792E822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049A77CD-0966-41B8-BCF3-C1CD68CDD2AD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3F0A3064-F4FA-45C5-8668-1350A6327378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id="{87A944FC-EAE3-41DE-8E23-D911CB66A21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GB" sz="140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id="{BA37220C-FC8C-43B9-9C34-6E49436A46F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GB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id="{6CF76126-2232-4136-95A6-03CB9A40DC6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GB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22121111-ED00-43B4-AF4B-C7B51D87AB1C}"/>
              </a:ext>
            </a:extLst>
          </p:cNvPr>
          <p:cNvGrpSpPr/>
          <p:nvPr userDrawn="1"/>
        </p:nvGrpSpPr>
        <p:grpSpPr>
          <a:xfrm>
            <a:off x="10684859" y="1146588"/>
            <a:ext cx="948949" cy="1731859"/>
            <a:chOff x="7716535" y="2630582"/>
            <a:chExt cx="948949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id="{65B505DB-E19F-4477-BFD5-95363B468D0F}"/>
                </a:ext>
              </a:extLst>
            </p:cNvPr>
            <p:cNvSpPr txBox="1"/>
            <p:nvPr/>
          </p:nvSpPr>
          <p:spPr>
            <a:xfrm>
              <a:off x="8069167" y="26379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id="{6E8E076D-6D53-4752-A30B-14E00F0C9F5B}"/>
                </a:ext>
              </a:extLst>
            </p:cNvPr>
            <p:cNvSpPr txBox="1"/>
            <p:nvPr/>
          </p:nvSpPr>
          <p:spPr>
            <a:xfrm>
              <a:off x="8069167" y="301340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id="{3086978E-A935-40B7-B865-F0E636397EEE}"/>
                </a:ext>
              </a:extLst>
            </p:cNvPr>
            <p:cNvSpPr txBox="1"/>
            <p:nvPr/>
          </p:nvSpPr>
          <p:spPr>
            <a:xfrm>
              <a:off x="8069167" y="338885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7AA160CD-FF95-4190-B54F-600D36B70CB1}"/>
                </a:ext>
              </a:extLst>
            </p:cNvPr>
            <p:cNvSpPr txBox="1"/>
            <p:nvPr/>
          </p:nvSpPr>
          <p:spPr>
            <a:xfrm>
              <a:off x="8069167" y="3764318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84E88B8F-44D1-4C33-9DB1-4C802C515A6A}"/>
                </a:ext>
              </a:extLst>
            </p:cNvPr>
            <p:cNvSpPr txBox="1"/>
            <p:nvPr/>
          </p:nvSpPr>
          <p:spPr>
            <a:xfrm>
              <a:off x="8069167" y="413977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  <a:endParaRPr lang="en-GB" sz="1400" dirty="0"/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8C7CC5D9-370B-4FCA-8660-7448ACD08EF1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BE415344-87A8-422A-814F-114AAFBB4A0B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5174F97A-7F44-40E7-99A8-E318E6EA5BCE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400" dirty="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020940A8-AA93-4D2F-B6E9-D7AE745CB34A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AE1D0742-2553-4BEA-967B-9A299FDFA17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C9942B5C-FE2B-4943-81EA-B9A86BD210ED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400" dirty="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D1AF896F-EF42-49FB-9764-022229AFB28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45E23162-7165-4EFC-A04F-E1E640CAAA0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C8496093-0141-4793-B8CD-76CEC63B75C1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400" dirty="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F39A13FD-05AE-4FE0-BBAC-B2CE739C19CA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5E1B31BD-2E32-4099-958D-9DF45E762974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5B0DD8B4-EC9D-41C7-8413-D4F0B9D3EBD1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400" dirty="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FB783CA4-4905-4B11-B3F8-70600BC0711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32D0DBD0-5EFB-40C1-9763-EA4AD02EDC6A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83CE9E23-ABD5-4356-AB8B-815EFB15D5BB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400" dirty="0"/>
              </a:p>
            </p:txBody>
          </p:sp>
        </p:grpSp>
      </p:grpSp>
      <p:sp>
        <p:nvSpPr>
          <p:cNvPr id="5" name="MSIPCMContentMarking" descr="{&quot;HashCode&quot;:-1291824593,&quot;Placement&quot;:&quot;Header&quot;,&quot;Top&quot;:0.0,&quot;Left&quot;:0.0,&quot;SlideWidth&quot;:960,&quot;SlideHeight&quot;:540}">
            <a:extLst>
              <a:ext uri="{FF2B5EF4-FFF2-40B4-BE49-F238E27FC236}">
                <a16:creationId xmlns:a16="http://schemas.microsoft.com/office/drawing/2014/main" id="{15CCD440-CBC6-4A67-960B-7BA1A5C23806}"/>
              </a:ext>
            </a:extLst>
          </p:cNvPr>
          <p:cNvSpPr txBox="1"/>
          <p:nvPr userDrawn="1"/>
        </p:nvSpPr>
        <p:spPr>
          <a:xfrm>
            <a:off x="0" y="0"/>
            <a:ext cx="733923" cy="26234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  <a:endParaRPr lang="en-GB" sz="10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81" r:id="rId11"/>
    <p:sldLayoutId id="2147483880" r:id="rId12"/>
    <p:sldLayoutId id="2147483877" r:id="rId13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20.xml"/><Relationship Id="rId7" Type="http://schemas.openxmlformats.org/officeDocument/2006/relationships/image" Target="../media/image6.emf"/><Relationship Id="rId2" Type="http://schemas.openxmlformats.org/officeDocument/2006/relationships/tags" Target="../tags/tag219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11" Type="http://schemas.openxmlformats.org/officeDocument/2006/relationships/image" Target="../media/image10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tags" Target="../tags/tag222.xml"/><Relationship Id="rId21" Type="http://schemas.openxmlformats.org/officeDocument/2006/relationships/image" Target="../media/image19.png"/><Relationship Id="rId7" Type="http://schemas.openxmlformats.org/officeDocument/2006/relationships/tags" Target="../tags/tag226.xml"/><Relationship Id="rId12" Type="http://schemas.openxmlformats.org/officeDocument/2006/relationships/image" Target="../media/image6.emf"/><Relationship Id="rId17" Type="http://schemas.openxmlformats.org/officeDocument/2006/relationships/image" Target="../media/image15.png"/><Relationship Id="rId2" Type="http://schemas.openxmlformats.org/officeDocument/2006/relationships/tags" Target="../tags/tag221.xml"/><Relationship Id="rId16" Type="http://schemas.openxmlformats.org/officeDocument/2006/relationships/image" Target="../media/image14.svg"/><Relationship Id="rId20" Type="http://schemas.openxmlformats.org/officeDocument/2006/relationships/image" Target="../media/image18.svg"/><Relationship Id="rId1" Type="http://schemas.openxmlformats.org/officeDocument/2006/relationships/vmlDrawing" Target="../drawings/vmlDrawing30.vml"/><Relationship Id="rId6" Type="http://schemas.openxmlformats.org/officeDocument/2006/relationships/tags" Target="../tags/tag225.xml"/><Relationship Id="rId11" Type="http://schemas.openxmlformats.org/officeDocument/2006/relationships/oleObject" Target="../embeddings/oleObject30.bin"/><Relationship Id="rId24" Type="http://schemas.openxmlformats.org/officeDocument/2006/relationships/image" Target="../media/image22.svg"/><Relationship Id="rId5" Type="http://schemas.openxmlformats.org/officeDocument/2006/relationships/tags" Target="../tags/tag224.xml"/><Relationship Id="rId15" Type="http://schemas.openxmlformats.org/officeDocument/2006/relationships/image" Target="../media/image13.png"/><Relationship Id="rId23" Type="http://schemas.openxmlformats.org/officeDocument/2006/relationships/image" Target="../media/image21.png"/><Relationship Id="rId10" Type="http://schemas.openxmlformats.org/officeDocument/2006/relationships/notesSlide" Target="../notesSlides/notesSlide2.xml"/><Relationship Id="rId19" Type="http://schemas.openxmlformats.org/officeDocument/2006/relationships/image" Target="../media/image17.png"/><Relationship Id="rId4" Type="http://schemas.openxmlformats.org/officeDocument/2006/relationships/tags" Target="../tags/tag223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2.svg"/><Relationship Id="rId22" Type="http://schemas.openxmlformats.org/officeDocument/2006/relationships/image" Target="../media/image20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13" Type="http://schemas.openxmlformats.org/officeDocument/2006/relationships/image" Target="../media/image27.png"/><Relationship Id="rId18" Type="http://schemas.openxmlformats.org/officeDocument/2006/relationships/image" Target="../media/image32.svg"/><Relationship Id="rId3" Type="http://schemas.openxmlformats.org/officeDocument/2006/relationships/tags" Target="../tags/tag229.xml"/><Relationship Id="rId7" Type="http://schemas.openxmlformats.org/officeDocument/2006/relationships/oleObject" Target="../embeddings/oleObject31.bin"/><Relationship Id="rId12" Type="http://schemas.openxmlformats.org/officeDocument/2006/relationships/image" Target="../media/image26.svg"/><Relationship Id="rId17" Type="http://schemas.openxmlformats.org/officeDocument/2006/relationships/image" Target="../media/image31.png"/><Relationship Id="rId2" Type="http://schemas.openxmlformats.org/officeDocument/2006/relationships/tags" Target="../tags/tag228.xml"/><Relationship Id="rId16" Type="http://schemas.openxmlformats.org/officeDocument/2006/relationships/image" Target="../media/image30.svg"/><Relationship Id="rId20" Type="http://schemas.openxmlformats.org/officeDocument/2006/relationships/image" Target="../media/image34.svg"/><Relationship Id="rId1" Type="http://schemas.openxmlformats.org/officeDocument/2006/relationships/vmlDrawing" Target="../drawings/vmlDrawing31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25.pn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29.png"/><Relationship Id="rId10" Type="http://schemas.openxmlformats.org/officeDocument/2006/relationships/image" Target="../media/image24.svg"/><Relationship Id="rId19" Type="http://schemas.openxmlformats.org/officeDocument/2006/relationships/image" Target="../media/image33.png"/><Relationship Id="rId4" Type="http://schemas.openxmlformats.org/officeDocument/2006/relationships/tags" Target="../tags/tag230.xml"/><Relationship Id="rId9" Type="http://schemas.openxmlformats.org/officeDocument/2006/relationships/image" Target="../media/image23.png"/><Relationship Id="rId14" Type="http://schemas.openxmlformats.org/officeDocument/2006/relationships/image" Target="../media/image28.svg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255.xml"/><Relationship Id="rId21" Type="http://schemas.openxmlformats.org/officeDocument/2006/relationships/tags" Target="../tags/tag250.xml"/><Relationship Id="rId42" Type="http://schemas.openxmlformats.org/officeDocument/2006/relationships/image" Target="../media/image46.svg"/><Relationship Id="rId47" Type="http://schemas.openxmlformats.org/officeDocument/2006/relationships/image" Target="../media/image51.png"/><Relationship Id="rId63" Type="http://schemas.openxmlformats.org/officeDocument/2006/relationships/image" Target="../media/image67.svg"/><Relationship Id="rId68" Type="http://schemas.openxmlformats.org/officeDocument/2006/relationships/image" Target="../media/image72.png"/><Relationship Id="rId7" Type="http://schemas.openxmlformats.org/officeDocument/2006/relationships/tags" Target="../tags/tag236.xml"/><Relationship Id="rId71" Type="http://schemas.openxmlformats.org/officeDocument/2006/relationships/image" Target="../media/image75.svg"/><Relationship Id="rId2" Type="http://schemas.openxmlformats.org/officeDocument/2006/relationships/tags" Target="../tags/tag231.xml"/><Relationship Id="rId16" Type="http://schemas.openxmlformats.org/officeDocument/2006/relationships/tags" Target="../tags/tag245.xml"/><Relationship Id="rId29" Type="http://schemas.openxmlformats.org/officeDocument/2006/relationships/oleObject" Target="../embeddings/oleObject32.bin"/><Relationship Id="rId11" Type="http://schemas.openxmlformats.org/officeDocument/2006/relationships/tags" Target="../tags/tag240.xml"/><Relationship Id="rId24" Type="http://schemas.openxmlformats.org/officeDocument/2006/relationships/tags" Target="../tags/tag253.xml"/><Relationship Id="rId32" Type="http://schemas.openxmlformats.org/officeDocument/2006/relationships/image" Target="../media/image36.svg"/><Relationship Id="rId37" Type="http://schemas.openxmlformats.org/officeDocument/2006/relationships/image" Target="../media/image41.png"/><Relationship Id="rId40" Type="http://schemas.openxmlformats.org/officeDocument/2006/relationships/image" Target="../media/image44.svg"/><Relationship Id="rId45" Type="http://schemas.openxmlformats.org/officeDocument/2006/relationships/image" Target="../media/image49.png"/><Relationship Id="rId53" Type="http://schemas.openxmlformats.org/officeDocument/2006/relationships/image" Target="../media/image57.png"/><Relationship Id="rId58" Type="http://schemas.openxmlformats.org/officeDocument/2006/relationships/image" Target="../media/image62.svg"/><Relationship Id="rId66" Type="http://schemas.openxmlformats.org/officeDocument/2006/relationships/image" Target="../media/image70.png"/><Relationship Id="rId5" Type="http://schemas.openxmlformats.org/officeDocument/2006/relationships/tags" Target="../tags/tag234.xml"/><Relationship Id="rId61" Type="http://schemas.openxmlformats.org/officeDocument/2006/relationships/image" Target="../media/image65.png"/><Relationship Id="rId19" Type="http://schemas.openxmlformats.org/officeDocument/2006/relationships/tags" Target="../tags/tag248.xml"/><Relationship Id="rId14" Type="http://schemas.openxmlformats.org/officeDocument/2006/relationships/tags" Target="../tags/tag243.xml"/><Relationship Id="rId22" Type="http://schemas.openxmlformats.org/officeDocument/2006/relationships/tags" Target="../tags/tag251.xml"/><Relationship Id="rId27" Type="http://schemas.openxmlformats.org/officeDocument/2006/relationships/slideLayout" Target="../slideLayouts/slideLayout2.xml"/><Relationship Id="rId30" Type="http://schemas.openxmlformats.org/officeDocument/2006/relationships/image" Target="../media/image6.emf"/><Relationship Id="rId35" Type="http://schemas.openxmlformats.org/officeDocument/2006/relationships/image" Target="../media/image39.png"/><Relationship Id="rId43" Type="http://schemas.openxmlformats.org/officeDocument/2006/relationships/image" Target="../media/image47.png"/><Relationship Id="rId48" Type="http://schemas.openxmlformats.org/officeDocument/2006/relationships/image" Target="../media/image52.svg"/><Relationship Id="rId56" Type="http://schemas.openxmlformats.org/officeDocument/2006/relationships/image" Target="../media/image60.svg"/><Relationship Id="rId64" Type="http://schemas.openxmlformats.org/officeDocument/2006/relationships/image" Target="../media/image68.png"/><Relationship Id="rId69" Type="http://schemas.openxmlformats.org/officeDocument/2006/relationships/image" Target="../media/image73.svg"/><Relationship Id="rId8" Type="http://schemas.openxmlformats.org/officeDocument/2006/relationships/tags" Target="../tags/tag237.xml"/><Relationship Id="rId51" Type="http://schemas.openxmlformats.org/officeDocument/2006/relationships/image" Target="../media/image55.png"/><Relationship Id="rId3" Type="http://schemas.openxmlformats.org/officeDocument/2006/relationships/tags" Target="../tags/tag232.xml"/><Relationship Id="rId12" Type="http://schemas.openxmlformats.org/officeDocument/2006/relationships/tags" Target="../tags/tag241.xml"/><Relationship Id="rId17" Type="http://schemas.openxmlformats.org/officeDocument/2006/relationships/tags" Target="../tags/tag246.xml"/><Relationship Id="rId25" Type="http://schemas.openxmlformats.org/officeDocument/2006/relationships/tags" Target="../tags/tag254.xml"/><Relationship Id="rId33" Type="http://schemas.openxmlformats.org/officeDocument/2006/relationships/image" Target="../media/image37.png"/><Relationship Id="rId38" Type="http://schemas.openxmlformats.org/officeDocument/2006/relationships/image" Target="../media/image42.svg"/><Relationship Id="rId46" Type="http://schemas.openxmlformats.org/officeDocument/2006/relationships/image" Target="../media/image50.svg"/><Relationship Id="rId59" Type="http://schemas.openxmlformats.org/officeDocument/2006/relationships/image" Target="../media/image63.png"/><Relationship Id="rId67" Type="http://schemas.openxmlformats.org/officeDocument/2006/relationships/image" Target="../media/image71.svg"/><Relationship Id="rId20" Type="http://schemas.openxmlformats.org/officeDocument/2006/relationships/tags" Target="../tags/tag249.xml"/><Relationship Id="rId41" Type="http://schemas.openxmlformats.org/officeDocument/2006/relationships/image" Target="../media/image45.png"/><Relationship Id="rId54" Type="http://schemas.openxmlformats.org/officeDocument/2006/relationships/image" Target="../media/image58.svg"/><Relationship Id="rId62" Type="http://schemas.openxmlformats.org/officeDocument/2006/relationships/image" Target="../media/image66.svg"/><Relationship Id="rId70" Type="http://schemas.openxmlformats.org/officeDocument/2006/relationships/image" Target="../media/image74.png"/><Relationship Id="rId1" Type="http://schemas.openxmlformats.org/officeDocument/2006/relationships/vmlDrawing" Target="../drawings/vmlDrawing32.vml"/><Relationship Id="rId6" Type="http://schemas.openxmlformats.org/officeDocument/2006/relationships/tags" Target="../tags/tag235.xml"/><Relationship Id="rId15" Type="http://schemas.openxmlformats.org/officeDocument/2006/relationships/tags" Target="../tags/tag244.xml"/><Relationship Id="rId23" Type="http://schemas.openxmlformats.org/officeDocument/2006/relationships/tags" Target="../tags/tag252.xml"/><Relationship Id="rId28" Type="http://schemas.openxmlformats.org/officeDocument/2006/relationships/notesSlide" Target="../notesSlides/notesSlide4.xml"/><Relationship Id="rId36" Type="http://schemas.openxmlformats.org/officeDocument/2006/relationships/image" Target="../media/image40.svg"/><Relationship Id="rId49" Type="http://schemas.openxmlformats.org/officeDocument/2006/relationships/image" Target="../media/image53.png"/><Relationship Id="rId57" Type="http://schemas.openxmlformats.org/officeDocument/2006/relationships/image" Target="../media/image61.png"/><Relationship Id="rId10" Type="http://schemas.openxmlformats.org/officeDocument/2006/relationships/tags" Target="../tags/tag239.xml"/><Relationship Id="rId31" Type="http://schemas.openxmlformats.org/officeDocument/2006/relationships/image" Target="../media/image35.png"/><Relationship Id="rId44" Type="http://schemas.openxmlformats.org/officeDocument/2006/relationships/image" Target="../media/image48.svg"/><Relationship Id="rId52" Type="http://schemas.openxmlformats.org/officeDocument/2006/relationships/image" Target="../media/image56.svg"/><Relationship Id="rId60" Type="http://schemas.openxmlformats.org/officeDocument/2006/relationships/image" Target="../media/image64.svg"/><Relationship Id="rId65" Type="http://schemas.openxmlformats.org/officeDocument/2006/relationships/image" Target="../media/image69.svg"/><Relationship Id="rId4" Type="http://schemas.openxmlformats.org/officeDocument/2006/relationships/tags" Target="../tags/tag233.xml"/><Relationship Id="rId9" Type="http://schemas.openxmlformats.org/officeDocument/2006/relationships/tags" Target="../tags/tag238.xml"/><Relationship Id="rId13" Type="http://schemas.openxmlformats.org/officeDocument/2006/relationships/tags" Target="../tags/tag242.xml"/><Relationship Id="rId18" Type="http://schemas.openxmlformats.org/officeDocument/2006/relationships/tags" Target="../tags/tag247.xml"/><Relationship Id="rId39" Type="http://schemas.openxmlformats.org/officeDocument/2006/relationships/image" Target="../media/image43.png"/><Relationship Id="rId34" Type="http://schemas.openxmlformats.org/officeDocument/2006/relationships/image" Target="../media/image38.svg"/><Relationship Id="rId50" Type="http://schemas.openxmlformats.org/officeDocument/2006/relationships/image" Target="../media/image54.svg"/><Relationship Id="rId55" Type="http://schemas.openxmlformats.org/officeDocument/2006/relationships/image" Target="../media/image59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267.xml"/><Relationship Id="rId18" Type="http://schemas.openxmlformats.org/officeDocument/2006/relationships/tags" Target="../tags/tag272.xml"/><Relationship Id="rId26" Type="http://schemas.openxmlformats.org/officeDocument/2006/relationships/image" Target="../media/image76.emf"/><Relationship Id="rId39" Type="http://schemas.openxmlformats.org/officeDocument/2006/relationships/image" Target="../media/image89.png"/><Relationship Id="rId21" Type="http://schemas.openxmlformats.org/officeDocument/2006/relationships/tags" Target="../tags/tag275.xml"/><Relationship Id="rId34" Type="http://schemas.openxmlformats.org/officeDocument/2006/relationships/image" Target="../media/image84.svg"/><Relationship Id="rId42" Type="http://schemas.openxmlformats.org/officeDocument/2006/relationships/image" Target="../media/image92.svg"/><Relationship Id="rId7" Type="http://schemas.openxmlformats.org/officeDocument/2006/relationships/tags" Target="../tags/tag261.xml"/><Relationship Id="rId2" Type="http://schemas.openxmlformats.org/officeDocument/2006/relationships/tags" Target="../tags/tag256.xml"/><Relationship Id="rId16" Type="http://schemas.openxmlformats.org/officeDocument/2006/relationships/tags" Target="../tags/tag270.xml"/><Relationship Id="rId29" Type="http://schemas.openxmlformats.org/officeDocument/2006/relationships/image" Target="../media/image79.png"/><Relationship Id="rId1" Type="http://schemas.openxmlformats.org/officeDocument/2006/relationships/vmlDrawing" Target="../drawings/vmlDrawing33.vml"/><Relationship Id="rId6" Type="http://schemas.openxmlformats.org/officeDocument/2006/relationships/tags" Target="../tags/tag260.xml"/><Relationship Id="rId11" Type="http://schemas.openxmlformats.org/officeDocument/2006/relationships/tags" Target="../tags/tag265.xml"/><Relationship Id="rId24" Type="http://schemas.openxmlformats.org/officeDocument/2006/relationships/notesSlide" Target="../notesSlides/notesSlide5.xml"/><Relationship Id="rId32" Type="http://schemas.openxmlformats.org/officeDocument/2006/relationships/image" Target="../media/image82.svg"/><Relationship Id="rId37" Type="http://schemas.openxmlformats.org/officeDocument/2006/relationships/image" Target="../media/image87.png"/><Relationship Id="rId40" Type="http://schemas.openxmlformats.org/officeDocument/2006/relationships/image" Target="../media/image90.svg"/><Relationship Id="rId45" Type="http://schemas.openxmlformats.org/officeDocument/2006/relationships/image" Target="../media/image95.png"/><Relationship Id="rId5" Type="http://schemas.openxmlformats.org/officeDocument/2006/relationships/tags" Target="../tags/tag259.xml"/><Relationship Id="rId15" Type="http://schemas.openxmlformats.org/officeDocument/2006/relationships/tags" Target="../tags/tag269.xml"/><Relationship Id="rId23" Type="http://schemas.openxmlformats.org/officeDocument/2006/relationships/slideLayout" Target="../slideLayouts/slideLayout2.xml"/><Relationship Id="rId28" Type="http://schemas.openxmlformats.org/officeDocument/2006/relationships/image" Target="../media/image78.svg"/><Relationship Id="rId36" Type="http://schemas.openxmlformats.org/officeDocument/2006/relationships/image" Target="../media/image86.svg"/><Relationship Id="rId10" Type="http://schemas.openxmlformats.org/officeDocument/2006/relationships/tags" Target="../tags/tag264.xml"/><Relationship Id="rId19" Type="http://schemas.openxmlformats.org/officeDocument/2006/relationships/tags" Target="../tags/tag273.xml"/><Relationship Id="rId31" Type="http://schemas.openxmlformats.org/officeDocument/2006/relationships/image" Target="../media/image81.png"/><Relationship Id="rId44" Type="http://schemas.openxmlformats.org/officeDocument/2006/relationships/image" Target="../media/image94.svg"/><Relationship Id="rId4" Type="http://schemas.openxmlformats.org/officeDocument/2006/relationships/tags" Target="../tags/tag258.xml"/><Relationship Id="rId9" Type="http://schemas.openxmlformats.org/officeDocument/2006/relationships/tags" Target="../tags/tag263.xml"/><Relationship Id="rId14" Type="http://schemas.openxmlformats.org/officeDocument/2006/relationships/tags" Target="../tags/tag268.xml"/><Relationship Id="rId22" Type="http://schemas.openxmlformats.org/officeDocument/2006/relationships/tags" Target="../tags/tag276.xml"/><Relationship Id="rId27" Type="http://schemas.openxmlformats.org/officeDocument/2006/relationships/image" Target="../media/image77.png"/><Relationship Id="rId30" Type="http://schemas.openxmlformats.org/officeDocument/2006/relationships/image" Target="../media/image80.svg"/><Relationship Id="rId35" Type="http://schemas.openxmlformats.org/officeDocument/2006/relationships/image" Target="../media/image85.png"/><Relationship Id="rId43" Type="http://schemas.openxmlformats.org/officeDocument/2006/relationships/image" Target="../media/image93.png"/><Relationship Id="rId8" Type="http://schemas.openxmlformats.org/officeDocument/2006/relationships/tags" Target="../tags/tag262.xml"/><Relationship Id="rId3" Type="http://schemas.openxmlformats.org/officeDocument/2006/relationships/tags" Target="../tags/tag257.xml"/><Relationship Id="rId12" Type="http://schemas.openxmlformats.org/officeDocument/2006/relationships/tags" Target="../tags/tag266.xml"/><Relationship Id="rId17" Type="http://schemas.openxmlformats.org/officeDocument/2006/relationships/tags" Target="../tags/tag271.xml"/><Relationship Id="rId25" Type="http://schemas.openxmlformats.org/officeDocument/2006/relationships/oleObject" Target="../embeddings/oleObject33.bin"/><Relationship Id="rId33" Type="http://schemas.openxmlformats.org/officeDocument/2006/relationships/image" Target="../media/image83.png"/><Relationship Id="rId38" Type="http://schemas.openxmlformats.org/officeDocument/2006/relationships/image" Target="../media/image88.svg"/><Relationship Id="rId46" Type="http://schemas.openxmlformats.org/officeDocument/2006/relationships/image" Target="../media/image96.svg"/><Relationship Id="rId20" Type="http://schemas.openxmlformats.org/officeDocument/2006/relationships/tags" Target="../tags/tag274.xml"/><Relationship Id="rId41" Type="http://schemas.openxmlformats.org/officeDocument/2006/relationships/image" Target="../media/image91.pn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288.xml"/><Relationship Id="rId18" Type="http://schemas.openxmlformats.org/officeDocument/2006/relationships/image" Target="../media/image76.emf"/><Relationship Id="rId26" Type="http://schemas.openxmlformats.org/officeDocument/2006/relationships/image" Target="../media/image102.svg"/><Relationship Id="rId3" Type="http://schemas.openxmlformats.org/officeDocument/2006/relationships/tags" Target="../tags/tag278.xml"/><Relationship Id="rId21" Type="http://schemas.openxmlformats.org/officeDocument/2006/relationships/image" Target="../media/image98.png"/><Relationship Id="rId34" Type="http://schemas.openxmlformats.org/officeDocument/2006/relationships/image" Target="../media/image110.png"/><Relationship Id="rId7" Type="http://schemas.openxmlformats.org/officeDocument/2006/relationships/tags" Target="../tags/tag282.xml"/><Relationship Id="rId12" Type="http://schemas.openxmlformats.org/officeDocument/2006/relationships/tags" Target="../tags/tag287.xml"/><Relationship Id="rId17" Type="http://schemas.openxmlformats.org/officeDocument/2006/relationships/oleObject" Target="../embeddings/oleObject34.bin"/><Relationship Id="rId25" Type="http://schemas.openxmlformats.org/officeDocument/2006/relationships/image" Target="../media/image101.png"/><Relationship Id="rId33" Type="http://schemas.openxmlformats.org/officeDocument/2006/relationships/image" Target="../media/image109.png"/><Relationship Id="rId2" Type="http://schemas.openxmlformats.org/officeDocument/2006/relationships/tags" Target="../tags/tag277.xml"/><Relationship Id="rId16" Type="http://schemas.openxmlformats.org/officeDocument/2006/relationships/notesSlide" Target="../notesSlides/notesSlide6.xml"/><Relationship Id="rId20" Type="http://schemas.openxmlformats.org/officeDocument/2006/relationships/image" Target="../media/image97.svg"/><Relationship Id="rId29" Type="http://schemas.openxmlformats.org/officeDocument/2006/relationships/image" Target="../media/image105.png"/><Relationship Id="rId1" Type="http://schemas.openxmlformats.org/officeDocument/2006/relationships/vmlDrawing" Target="../drawings/vmlDrawing34.vml"/><Relationship Id="rId6" Type="http://schemas.openxmlformats.org/officeDocument/2006/relationships/tags" Target="../tags/tag281.xml"/><Relationship Id="rId11" Type="http://schemas.openxmlformats.org/officeDocument/2006/relationships/tags" Target="../tags/tag286.xml"/><Relationship Id="rId24" Type="http://schemas.openxmlformats.org/officeDocument/2006/relationships/image" Target="../media/image100.svg"/><Relationship Id="rId32" Type="http://schemas.openxmlformats.org/officeDocument/2006/relationships/image" Target="../media/image108.svg"/><Relationship Id="rId5" Type="http://schemas.openxmlformats.org/officeDocument/2006/relationships/tags" Target="../tags/tag280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70.png"/><Relationship Id="rId28" Type="http://schemas.openxmlformats.org/officeDocument/2006/relationships/image" Target="../media/image104.svg"/><Relationship Id="rId10" Type="http://schemas.openxmlformats.org/officeDocument/2006/relationships/tags" Target="../tags/tag285.xml"/><Relationship Id="rId19" Type="http://schemas.openxmlformats.org/officeDocument/2006/relationships/image" Target="../media/image74.png"/><Relationship Id="rId31" Type="http://schemas.openxmlformats.org/officeDocument/2006/relationships/image" Target="../media/image107.png"/><Relationship Id="rId4" Type="http://schemas.openxmlformats.org/officeDocument/2006/relationships/tags" Target="../tags/tag279.xml"/><Relationship Id="rId9" Type="http://schemas.openxmlformats.org/officeDocument/2006/relationships/tags" Target="../tags/tag284.xml"/><Relationship Id="rId14" Type="http://schemas.openxmlformats.org/officeDocument/2006/relationships/tags" Target="../tags/tag289.xml"/><Relationship Id="rId22" Type="http://schemas.openxmlformats.org/officeDocument/2006/relationships/image" Target="../media/image99.svg"/><Relationship Id="rId27" Type="http://schemas.openxmlformats.org/officeDocument/2006/relationships/image" Target="../media/image103.png"/><Relationship Id="rId30" Type="http://schemas.openxmlformats.org/officeDocument/2006/relationships/image" Target="../media/image106.svg"/><Relationship Id="rId35" Type="http://schemas.openxmlformats.org/officeDocument/2006/relationships/image" Target="../media/image111.png"/><Relationship Id="rId8" Type="http://schemas.openxmlformats.org/officeDocument/2006/relationships/tags" Target="../tags/tag28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manufacturingafrica.org/" TargetMode="External"/><Relationship Id="rId3" Type="http://schemas.openxmlformats.org/officeDocument/2006/relationships/tags" Target="../tags/tag291.xml"/><Relationship Id="rId7" Type="http://schemas.openxmlformats.org/officeDocument/2006/relationships/image" Target="../media/image76.emf"/><Relationship Id="rId2" Type="http://schemas.openxmlformats.org/officeDocument/2006/relationships/tags" Target="../tags/tag290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0.xml"/><Relationship Id="rId9" Type="http://schemas.openxmlformats.org/officeDocument/2006/relationships/hyperlink" Target="mailto:info@manufacturingafrica.or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408340B-8064-4C7D-BD48-615F1C1D09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6378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1" name="think-cell Slide" r:id="rId6" imgW="352" imgH="332" progId="TCLayout.ActiveDocument.1">
                  <p:embed/>
                </p:oleObj>
              </mc:Choice>
              <mc:Fallback>
                <p:oleObj name="think-cell Slide" r:id="rId6" imgW="352" imgH="33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408340B-8064-4C7D-BD48-615F1C1D09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DE9FFFF-2B65-475E-8D8A-474C9F32E0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44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2A33273-D0FE-4657-84D2-0BF2AA281F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342" y="2133414"/>
            <a:ext cx="4924933" cy="1354217"/>
          </a:xfrm>
        </p:spPr>
        <p:txBody>
          <a:bodyPr vert="horz"/>
          <a:lstStyle/>
          <a:p>
            <a:r>
              <a:rPr lang="en-GB" dirty="0"/>
              <a:t>Manufacturing</a:t>
            </a:r>
            <a:br>
              <a:rPr lang="en-GB" dirty="0"/>
            </a:br>
            <a:r>
              <a:rPr lang="en-GB" dirty="0"/>
              <a:t>Africa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8DBDA28-6B4E-491D-A4A7-89742462A9F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8617" y="5103826"/>
            <a:ext cx="952528" cy="1008975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BB25F121-6151-4408-B70F-14974ABE1312}"/>
              </a:ext>
            </a:extLst>
          </p:cNvPr>
          <p:cNvGrpSpPr/>
          <p:nvPr/>
        </p:nvGrpSpPr>
        <p:grpSpPr>
          <a:xfrm>
            <a:off x="158750" y="5103826"/>
            <a:ext cx="5089525" cy="1430612"/>
            <a:chOff x="158750" y="5103826"/>
            <a:chExt cx="5089525" cy="1430612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57645365-A516-4426-9EB4-5BC7F3107EE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58750" y="5103826"/>
              <a:ext cx="5089525" cy="1146147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C3BCB27-ACA3-4827-85AD-44164FA77E8A}"/>
                </a:ext>
              </a:extLst>
            </p:cNvPr>
            <p:cNvSpPr txBox="1"/>
            <p:nvPr/>
          </p:nvSpPr>
          <p:spPr>
            <a:xfrm>
              <a:off x="551942" y="6288217"/>
              <a:ext cx="4179190" cy="246221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0" tIns="0" rIns="0" bIns="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442913" lvl="2" indent="-2143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>
                  <a:cs typeface="Arial" panose="020B0604020202020204" pitchFamily="34" charset="0"/>
                </a:defRPr>
              </a:lvl3pPr>
              <a:lvl4pPr marL="598488" lvl="3" indent="-152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>
                  <a:cs typeface="Arial" panose="020B0604020202020204" pitchFamily="34" charset="0"/>
                </a:defRPr>
              </a:lvl4pPr>
              <a:lvl5pPr marL="817563" lvl="4" indent="-1476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GB" dirty="0"/>
                <a:t>Text</a:t>
              </a: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B8425C9B-0E0F-4D1E-820A-E3296A9BC0F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9596" y="5441979"/>
            <a:ext cx="914479" cy="969348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1CDA865B-D88D-4F01-BB20-9E5FA7C05F46}"/>
              </a:ext>
            </a:extLst>
          </p:cNvPr>
          <p:cNvSpPr txBox="1"/>
          <p:nvPr/>
        </p:nvSpPr>
        <p:spPr>
          <a:xfrm>
            <a:off x="1094881" y="5655943"/>
            <a:ext cx="4064000" cy="5078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" i="1" dirty="0">
                <a:solidFill>
                  <a:schemeClr val="bg2"/>
                </a:solidFill>
              </a:rPr>
              <a:t>This </a:t>
            </a:r>
            <a:r>
              <a:rPr lang="en-US" sz="1100" i="1" dirty="0" err="1">
                <a:solidFill>
                  <a:schemeClr val="bg2"/>
                </a:solidFill>
              </a:rPr>
              <a:t>programme</a:t>
            </a:r>
            <a:r>
              <a:rPr lang="en-US" sz="1100" i="1" dirty="0">
                <a:solidFill>
                  <a:schemeClr val="bg2"/>
                </a:solidFill>
              </a:rPr>
              <a:t> is funded by UK aid from the UK government; however, the views expressed do not necessarily express the UK government’s official policies.</a:t>
            </a:r>
            <a:endParaRPr lang="en-GB" sz="1100" i="1" dirty="0">
              <a:solidFill>
                <a:schemeClr val="bg2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5E95D359-C4AB-4A20-8452-8EEB6DAAC6A9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19342"/>
          <a:stretch/>
        </p:blipFill>
        <p:spPr>
          <a:xfrm>
            <a:off x="5514976" y="0"/>
            <a:ext cx="667702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1862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8733DEB-3F7F-4849-A74E-F9EA28BFA7D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421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2" name="think-cell Slide" r:id="rId11" imgW="352" imgH="332" progId="TCLayout.ActiveDocument.1">
                  <p:embed/>
                </p:oleObj>
              </mc:Choice>
              <mc:Fallback>
                <p:oleObj name="think-cell Slide" r:id="rId11" imgW="352" imgH="33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8733DEB-3F7F-4849-A74E-F9EA28BFA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255C7770-3B22-4B45-AF32-8A0DDB5B91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32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F7FCF86-15BB-427F-A975-DC5D2ABCB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386" y="1915108"/>
            <a:ext cx="3465576" cy="1969770"/>
          </a:xfrm>
        </p:spPr>
        <p:txBody>
          <a:bodyPr vert="horz" wrap="square">
            <a:spAutoFit/>
          </a:bodyPr>
          <a:lstStyle/>
          <a:p>
            <a:r>
              <a:rPr lang="en-GB" sz="3200" dirty="0"/>
              <a:t>Manufacturing Africa addresses two of Africa’s key challeng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BA137F3-ECB6-4381-A272-9EE645C7DD38}"/>
              </a:ext>
            </a:extLst>
          </p:cNvPr>
          <p:cNvSpPr txBox="1">
            <a:spLocks/>
          </p:cNvSpPr>
          <p:nvPr/>
        </p:nvSpPr>
        <p:spPr>
          <a:xfrm>
            <a:off x="4671218" y="4614720"/>
            <a:ext cx="6967728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…and an underdeveloped manufacturing secto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65F2846-0DD7-48A1-88B8-4A8A2F2B2940}"/>
              </a:ext>
            </a:extLst>
          </p:cNvPr>
          <p:cNvSpPr txBox="1">
            <a:spLocks/>
          </p:cNvSpPr>
          <p:nvPr/>
        </p:nvSpPr>
        <p:spPr>
          <a:xfrm>
            <a:off x="5948122" y="5683537"/>
            <a:ext cx="186011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ow manufacturing productivity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5" name="CustomIcon">
            <a:extLst>
              <a:ext uri="{FF2B5EF4-FFF2-40B4-BE49-F238E27FC236}">
                <a16:creationId xmlns:a16="http://schemas.microsoft.com/office/drawing/2014/main" id="{5F2B1599-42A0-4A0B-9B0E-0F016BF17E6F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608181" y="5033017"/>
            <a:ext cx="540000" cy="5400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B82F8A1-7557-47EC-8C8D-3EF14C9C5781}"/>
              </a:ext>
            </a:extLst>
          </p:cNvPr>
          <p:cNvSpPr txBox="1">
            <a:spLocks/>
          </p:cNvSpPr>
          <p:nvPr/>
        </p:nvSpPr>
        <p:spPr>
          <a:xfrm>
            <a:off x="8463509" y="5683537"/>
            <a:ext cx="1936953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truggle to move into high-value services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17" name="CustomIcon">
            <a:extLst>
              <a:ext uri="{FF2B5EF4-FFF2-40B4-BE49-F238E27FC236}">
                <a16:creationId xmlns:a16="http://schemas.microsoft.com/office/drawing/2014/main" id="{78AF36DF-61FF-4ECD-8C04-BD6B4B22D5DC}"/>
              </a:ext>
            </a:extLst>
          </p:cNvPr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161985" y="5033017"/>
            <a:ext cx="540000" cy="5400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6C8F4D6-FCC6-40D6-88F1-9459FCE11F60}"/>
              </a:ext>
            </a:extLst>
          </p:cNvPr>
          <p:cNvSpPr txBox="1">
            <a:spLocks/>
          </p:cNvSpPr>
          <p:nvPr/>
        </p:nvSpPr>
        <p:spPr>
          <a:xfrm>
            <a:off x="4671219" y="1715616"/>
            <a:ext cx="6967728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 growing labour force…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D5B87CC-70B4-4E38-9B70-C8153CC18256}"/>
              </a:ext>
            </a:extLst>
          </p:cNvPr>
          <p:cNvSpPr txBox="1">
            <a:spLocks/>
          </p:cNvSpPr>
          <p:nvPr/>
        </p:nvSpPr>
        <p:spPr>
          <a:xfrm>
            <a:off x="4671219" y="3372269"/>
            <a:ext cx="186011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increase in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opulation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by 2050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7603BC5-1590-433B-A667-F2EA8EB5719A}"/>
              </a:ext>
            </a:extLst>
          </p:cNvPr>
          <p:cNvSpPr txBox="1">
            <a:spLocks/>
          </p:cNvSpPr>
          <p:nvPr/>
        </p:nvSpPr>
        <p:spPr>
          <a:xfrm>
            <a:off x="4671219" y="2710401"/>
            <a:ext cx="1860118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4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00%</a:t>
            </a:r>
          </a:p>
        </p:txBody>
      </p:sp>
      <p:pic>
        <p:nvPicPr>
          <p:cNvPr id="21" name="CustomIcon">
            <a:extLst>
              <a:ext uri="{FF2B5EF4-FFF2-40B4-BE49-F238E27FC236}">
                <a16:creationId xmlns:a16="http://schemas.microsoft.com/office/drawing/2014/main" id="{F868CEA7-4417-4860-AE94-B1D8FC156F5D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361248" y="2169381"/>
            <a:ext cx="480060" cy="48006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87428B6-9A4C-46C7-AF2B-C3901ECFF11C}"/>
              </a:ext>
            </a:extLst>
          </p:cNvPr>
          <p:cNvSpPr txBox="1">
            <a:spLocks/>
          </p:cNvSpPr>
          <p:nvPr/>
        </p:nvSpPr>
        <p:spPr>
          <a:xfrm>
            <a:off x="7225024" y="3372269"/>
            <a:ext cx="186011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increase in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urban population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by 2050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B7009FD-A067-457A-8663-8E0C4829F8FC}"/>
              </a:ext>
            </a:extLst>
          </p:cNvPr>
          <p:cNvSpPr txBox="1">
            <a:spLocks/>
          </p:cNvSpPr>
          <p:nvPr/>
        </p:nvSpPr>
        <p:spPr>
          <a:xfrm>
            <a:off x="7225024" y="2710401"/>
            <a:ext cx="1860118" cy="6771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GB" sz="4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2x</a:t>
            </a:r>
            <a:endParaRPr kumimoji="0" lang="en-GB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28" name="CustomIcon">
            <a:extLst>
              <a:ext uri="{FF2B5EF4-FFF2-40B4-BE49-F238E27FC236}">
                <a16:creationId xmlns:a16="http://schemas.microsoft.com/office/drawing/2014/main" id="{55346C9C-BDCA-4064-BA31-27994E199589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915053" y="2169381"/>
            <a:ext cx="480060" cy="48006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5C67D328-3A31-4014-9A79-39843B6FBDC0}"/>
              </a:ext>
            </a:extLst>
          </p:cNvPr>
          <p:cNvSpPr txBox="1">
            <a:spLocks/>
          </p:cNvSpPr>
          <p:nvPr/>
        </p:nvSpPr>
        <p:spPr>
          <a:xfrm>
            <a:off x="9778829" y="3372269"/>
            <a:ext cx="1860118" cy="49244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new jobs needed a year until 2035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B37467B-FA16-4C84-AB72-31A27264361C}"/>
              </a:ext>
            </a:extLst>
          </p:cNvPr>
          <p:cNvSpPr txBox="1">
            <a:spLocks/>
          </p:cNvSpPr>
          <p:nvPr/>
        </p:nvSpPr>
        <p:spPr>
          <a:xfrm>
            <a:off x="9655504" y="2710401"/>
            <a:ext cx="1941237" cy="67710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GB" sz="4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18 </a:t>
            </a:r>
            <a:r>
              <a:rPr kumimoji="0" lang="en-GB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million</a:t>
            </a:r>
            <a:endParaRPr kumimoji="0" lang="en-GB" sz="4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25" name="CustomIcon">
            <a:extLst>
              <a:ext uri="{FF2B5EF4-FFF2-40B4-BE49-F238E27FC236}">
                <a16:creationId xmlns:a16="http://schemas.microsoft.com/office/drawing/2014/main" id="{8A365A40-1B64-4CA9-8152-691C0193EF1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281142" y="2128541"/>
            <a:ext cx="480060" cy="48006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F97D2802-C807-40D0-90E1-5EEBC88BEA82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54736" y="4202197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0634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B3C523-DFBC-4F15-8DC4-5212F5A9CD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2569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6" name="think-cell Slide" r:id="rId7" imgW="352" imgH="332" progId="TCLayout.ActiveDocument.1">
                  <p:embed/>
                </p:oleObj>
              </mc:Choice>
              <mc:Fallback>
                <p:oleObj name="think-cell Slide" r:id="rId7" imgW="352" imgH="33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B3C523-DFBC-4F15-8DC4-5212F5A9CD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9171BB6-E9FF-4E74-9E96-C1275E2860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25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ACF11B78-B8F6-4B89-B5F9-FE2DB123A232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2260" y="17580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GB" dirty="0"/>
              <a:t>Manufacturing Africa Programme Overview</a:t>
            </a:r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E5E727FE-EC9F-4113-902B-51F37FD65D26}"/>
              </a:ext>
            </a:extLst>
          </p:cNvPr>
          <p:cNvSpPr>
            <a:spLocks/>
          </p:cNvSpPr>
          <p:nvPr/>
        </p:nvSpPr>
        <p:spPr bwMode="auto">
          <a:xfrm>
            <a:off x="6365428" y="987117"/>
            <a:ext cx="1446944" cy="5640329"/>
          </a:xfrm>
          <a:custGeom>
            <a:avLst/>
            <a:gdLst>
              <a:gd name="T0" fmla="*/ 9 w 873"/>
              <a:gd name="T1" fmla="*/ 0 h 2660"/>
              <a:gd name="T2" fmla="*/ 294 w 873"/>
              <a:gd name="T3" fmla="*/ 2369 h 2660"/>
              <a:gd name="T4" fmla="*/ 0 w 873"/>
              <a:gd name="T5" fmla="*/ 2660 h 26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873" h="2660">
                <a:moveTo>
                  <a:pt x="9" y="0"/>
                </a:moveTo>
                <a:cubicBezTo>
                  <a:pt x="745" y="576"/>
                  <a:pt x="873" y="1637"/>
                  <a:pt x="294" y="2369"/>
                </a:cubicBezTo>
                <a:cubicBezTo>
                  <a:pt x="209" y="2478"/>
                  <a:pt x="110" y="2575"/>
                  <a:pt x="0" y="2660"/>
                </a:cubicBezTo>
              </a:path>
            </a:pathLst>
          </a:custGeom>
          <a:noFill/>
          <a:ln w="12700" cap="sq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C0CFCBA-4AFC-4C08-8B02-C78F4C059EBC}"/>
              </a:ext>
            </a:extLst>
          </p:cNvPr>
          <p:cNvSpPr txBox="1"/>
          <p:nvPr/>
        </p:nvSpPr>
        <p:spPr>
          <a:xfrm>
            <a:off x="5254080" y="4348798"/>
            <a:ext cx="517942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Kenya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CF96392-2505-4D52-9131-CBB2908160A9}"/>
              </a:ext>
            </a:extLst>
          </p:cNvPr>
          <p:cNvSpPr txBox="1"/>
          <p:nvPr/>
        </p:nvSpPr>
        <p:spPr>
          <a:xfrm>
            <a:off x="749094" y="4177836"/>
            <a:ext cx="653135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Senegal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D51AD8B5-4FD8-462C-8FAA-7E52682C1ECD}"/>
              </a:ext>
            </a:extLst>
          </p:cNvPr>
          <p:cNvGrpSpPr/>
          <p:nvPr/>
        </p:nvGrpSpPr>
        <p:grpSpPr>
          <a:xfrm>
            <a:off x="316168" y="1386741"/>
            <a:ext cx="5435782" cy="5128122"/>
            <a:chOff x="6011631" y="1358942"/>
            <a:chExt cx="5435782" cy="5128122"/>
          </a:xfrm>
          <a:solidFill>
            <a:schemeClr val="accent1"/>
          </a:solidFill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E3E899F4-671B-42A0-BAE0-E6AC3E9DBFE5}"/>
                </a:ext>
              </a:extLst>
            </p:cNvPr>
            <p:cNvGrpSpPr/>
            <p:nvPr/>
          </p:nvGrpSpPr>
          <p:grpSpPr bwMode="gray">
            <a:xfrm>
              <a:off x="6011631" y="1358942"/>
              <a:ext cx="5435782" cy="5128122"/>
              <a:chOff x="2538341" y="434956"/>
              <a:chExt cx="6170435" cy="5821123"/>
            </a:xfrm>
            <a:grpFill/>
          </p:grpSpPr>
          <p:sp>
            <p:nvSpPr>
              <p:cNvPr id="59" name="Freeform 9">
                <a:extLst>
                  <a:ext uri="{FF2B5EF4-FFF2-40B4-BE49-F238E27FC236}">
                    <a16:creationId xmlns:a16="http://schemas.microsoft.com/office/drawing/2014/main" id="{4A1079E8-2FAD-47EC-8F26-54D5F4FC097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79739" y="469880"/>
                <a:ext cx="1662065" cy="1458853"/>
              </a:xfrm>
              <a:custGeom>
                <a:avLst/>
                <a:gdLst>
                  <a:gd name="T0" fmla="*/ 868 w 1047"/>
                  <a:gd name="T1" fmla="*/ 17 h 919"/>
                  <a:gd name="T2" fmla="*/ 860 w 1047"/>
                  <a:gd name="T3" fmla="*/ 34 h 919"/>
                  <a:gd name="T4" fmla="*/ 858 w 1047"/>
                  <a:gd name="T5" fmla="*/ 58 h 919"/>
                  <a:gd name="T6" fmla="*/ 861 w 1047"/>
                  <a:gd name="T7" fmla="*/ 83 h 919"/>
                  <a:gd name="T8" fmla="*/ 860 w 1047"/>
                  <a:gd name="T9" fmla="*/ 109 h 919"/>
                  <a:gd name="T10" fmla="*/ 855 w 1047"/>
                  <a:gd name="T11" fmla="*/ 128 h 919"/>
                  <a:gd name="T12" fmla="*/ 824 w 1047"/>
                  <a:gd name="T13" fmla="*/ 151 h 919"/>
                  <a:gd name="T14" fmla="*/ 824 w 1047"/>
                  <a:gd name="T15" fmla="*/ 175 h 919"/>
                  <a:gd name="T16" fmla="*/ 861 w 1047"/>
                  <a:gd name="T17" fmla="*/ 233 h 919"/>
                  <a:gd name="T18" fmla="*/ 940 w 1047"/>
                  <a:gd name="T19" fmla="*/ 422 h 919"/>
                  <a:gd name="T20" fmla="*/ 940 w 1047"/>
                  <a:gd name="T21" fmla="*/ 483 h 919"/>
                  <a:gd name="T22" fmla="*/ 940 w 1047"/>
                  <a:gd name="T23" fmla="*/ 524 h 919"/>
                  <a:gd name="T24" fmla="*/ 951 w 1047"/>
                  <a:gd name="T25" fmla="*/ 623 h 919"/>
                  <a:gd name="T26" fmla="*/ 987 w 1047"/>
                  <a:gd name="T27" fmla="*/ 635 h 919"/>
                  <a:gd name="T28" fmla="*/ 895 w 1047"/>
                  <a:gd name="T29" fmla="*/ 776 h 919"/>
                  <a:gd name="T30" fmla="*/ 608 w 1047"/>
                  <a:gd name="T31" fmla="*/ 917 h 919"/>
                  <a:gd name="T32" fmla="*/ 603 w 1047"/>
                  <a:gd name="T33" fmla="*/ 891 h 919"/>
                  <a:gd name="T34" fmla="*/ 583 w 1047"/>
                  <a:gd name="T35" fmla="*/ 868 h 919"/>
                  <a:gd name="T36" fmla="*/ 561 w 1047"/>
                  <a:gd name="T37" fmla="*/ 862 h 919"/>
                  <a:gd name="T38" fmla="*/ 549 w 1047"/>
                  <a:gd name="T39" fmla="*/ 852 h 919"/>
                  <a:gd name="T40" fmla="*/ 528 w 1047"/>
                  <a:gd name="T41" fmla="*/ 849 h 919"/>
                  <a:gd name="T42" fmla="*/ 498 w 1047"/>
                  <a:gd name="T43" fmla="*/ 825 h 919"/>
                  <a:gd name="T44" fmla="*/ 0 w 1047"/>
                  <a:gd name="T45" fmla="*/ 459 h 919"/>
                  <a:gd name="T46" fmla="*/ 52 w 1047"/>
                  <a:gd name="T47" fmla="*/ 391 h 919"/>
                  <a:gd name="T48" fmla="*/ 96 w 1047"/>
                  <a:gd name="T49" fmla="*/ 386 h 919"/>
                  <a:gd name="T50" fmla="*/ 124 w 1047"/>
                  <a:gd name="T51" fmla="*/ 386 h 919"/>
                  <a:gd name="T52" fmla="*/ 151 w 1047"/>
                  <a:gd name="T53" fmla="*/ 383 h 919"/>
                  <a:gd name="T54" fmla="*/ 170 w 1047"/>
                  <a:gd name="T55" fmla="*/ 369 h 919"/>
                  <a:gd name="T56" fmla="*/ 248 w 1047"/>
                  <a:gd name="T57" fmla="*/ 320 h 919"/>
                  <a:gd name="T58" fmla="*/ 255 w 1047"/>
                  <a:gd name="T59" fmla="*/ 305 h 919"/>
                  <a:gd name="T60" fmla="*/ 248 w 1047"/>
                  <a:gd name="T61" fmla="*/ 301 h 919"/>
                  <a:gd name="T62" fmla="*/ 253 w 1047"/>
                  <a:gd name="T63" fmla="*/ 277 h 919"/>
                  <a:gd name="T64" fmla="*/ 326 w 1047"/>
                  <a:gd name="T65" fmla="*/ 250 h 919"/>
                  <a:gd name="T66" fmla="*/ 379 w 1047"/>
                  <a:gd name="T67" fmla="*/ 250 h 919"/>
                  <a:gd name="T68" fmla="*/ 368 w 1047"/>
                  <a:gd name="T69" fmla="*/ 219 h 919"/>
                  <a:gd name="T70" fmla="*/ 357 w 1047"/>
                  <a:gd name="T71" fmla="*/ 182 h 919"/>
                  <a:gd name="T72" fmla="*/ 355 w 1047"/>
                  <a:gd name="T73" fmla="*/ 151 h 919"/>
                  <a:gd name="T74" fmla="*/ 346 w 1047"/>
                  <a:gd name="T75" fmla="*/ 117 h 919"/>
                  <a:gd name="T76" fmla="*/ 326 w 1047"/>
                  <a:gd name="T77" fmla="*/ 104 h 919"/>
                  <a:gd name="T78" fmla="*/ 357 w 1047"/>
                  <a:gd name="T79" fmla="*/ 95 h 919"/>
                  <a:gd name="T80" fmla="*/ 380 w 1047"/>
                  <a:gd name="T81" fmla="*/ 77 h 919"/>
                  <a:gd name="T82" fmla="*/ 401 w 1047"/>
                  <a:gd name="T83" fmla="*/ 68 h 919"/>
                  <a:gd name="T84" fmla="*/ 411 w 1047"/>
                  <a:gd name="T85" fmla="*/ 66 h 919"/>
                  <a:gd name="T86" fmla="*/ 423 w 1047"/>
                  <a:gd name="T87" fmla="*/ 63 h 919"/>
                  <a:gd name="T88" fmla="*/ 477 w 1047"/>
                  <a:gd name="T89" fmla="*/ 39 h 919"/>
                  <a:gd name="T90" fmla="*/ 506 w 1047"/>
                  <a:gd name="T91" fmla="*/ 27 h 919"/>
                  <a:gd name="T92" fmla="*/ 540 w 1047"/>
                  <a:gd name="T93" fmla="*/ 27 h 919"/>
                  <a:gd name="T94" fmla="*/ 586 w 1047"/>
                  <a:gd name="T95" fmla="*/ 15 h 919"/>
                  <a:gd name="T96" fmla="*/ 625 w 1047"/>
                  <a:gd name="T97" fmla="*/ 12 h 919"/>
                  <a:gd name="T98" fmla="*/ 663 w 1047"/>
                  <a:gd name="T99" fmla="*/ 10 h 919"/>
                  <a:gd name="T100" fmla="*/ 697 w 1047"/>
                  <a:gd name="T101" fmla="*/ 17 h 919"/>
                  <a:gd name="T102" fmla="*/ 727 w 1047"/>
                  <a:gd name="T103" fmla="*/ 14 h 919"/>
                  <a:gd name="T104" fmla="*/ 758 w 1047"/>
                  <a:gd name="T105" fmla="*/ 3 h 919"/>
                  <a:gd name="T106" fmla="*/ 775 w 1047"/>
                  <a:gd name="T107" fmla="*/ 5 h 919"/>
                  <a:gd name="T108" fmla="*/ 787 w 1047"/>
                  <a:gd name="T109" fmla="*/ 10 h 919"/>
                  <a:gd name="T110" fmla="*/ 809 w 1047"/>
                  <a:gd name="T111" fmla="*/ 0 h 919"/>
                  <a:gd name="T112" fmla="*/ 829 w 1047"/>
                  <a:gd name="T113" fmla="*/ 7 h 919"/>
                  <a:gd name="T114" fmla="*/ 865 w 1047"/>
                  <a:gd name="T115" fmla="*/ 10 h 9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47" h="919">
                    <a:moveTo>
                      <a:pt x="877" y="7"/>
                    </a:moveTo>
                    <a:lnTo>
                      <a:pt x="877" y="9"/>
                    </a:lnTo>
                    <a:lnTo>
                      <a:pt x="877" y="10"/>
                    </a:lnTo>
                    <a:lnTo>
                      <a:pt x="875" y="12"/>
                    </a:lnTo>
                    <a:lnTo>
                      <a:pt x="878" y="12"/>
                    </a:lnTo>
                    <a:lnTo>
                      <a:pt x="878" y="14"/>
                    </a:lnTo>
                    <a:lnTo>
                      <a:pt x="873" y="15"/>
                    </a:lnTo>
                    <a:lnTo>
                      <a:pt x="868" y="15"/>
                    </a:lnTo>
                    <a:lnTo>
                      <a:pt x="867" y="17"/>
                    </a:lnTo>
                    <a:lnTo>
                      <a:pt x="868" y="17"/>
                    </a:lnTo>
                    <a:lnTo>
                      <a:pt x="868" y="20"/>
                    </a:lnTo>
                    <a:lnTo>
                      <a:pt x="867" y="22"/>
                    </a:lnTo>
                    <a:lnTo>
                      <a:pt x="867" y="24"/>
                    </a:lnTo>
                    <a:lnTo>
                      <a:pt x="865" y="24"/>
                    </a:lnTo>
                    <a:lnTo>
                      <a:pt x="858" y="27"/>
                    </a:lnTo>
                    <a:lnTo>
                      <a:pt x="853" y="29"/>
                    </a:lnTo>
                    <a:lnTo>
                      <a:pt x="851" y="31"/>
                    </a:lnTo>
                    <a:lnTo>
                      <a:pt x="853" y="32"/>
                    </a:lnTo>
                    <a:lnTo>
                      <a:pt x="855" y="32"/>
                    </a:lnTo>
                    <a:lnTo>
                      <a:pt x="860" y="34"/>
                    </a:lnTo>
                    <a:lnTo>
                      <a:pt x="861" y="32"/>
                    </a:lnTo>
                    <a:lnTo>
                      <a:pt x="865" y="34"/>
                    </a:lnTo>
                    <a:lnTo>
                      <a:pt x="863" y="37"/>
                    </a:lnTo>
                    <a:lnTo>
                      <a:pt x="863" y="39"/>
                    </a:lnTo>
                    <a:lnTo>
                      <a:pt x="861" y="43"/>
                    </a:lnTo>
                    <a:lnTo>
                      <a:pt x="861" y="44"/>
                    </a:lnTo>
                    <a:lnTo>
                      <a:pt x="860" y="46"/>
                    </a:lnTo>
                    <a:lnTo>
                      <a:pt x="861" y="49"/>
                    </a:lnTo>
                    <a:lnTo>
                      <a:pt x="860" y="53"/>
                    </a:lnTo>
                    <a:lnTo>
                      <a:pt x="858" y="58"/>
                    </a:lnTo>
                    <a:lnTo>
                      <a:pt x="856" y="60"/>
                    </a:lnTo>
                    <a:lnTo>
                      <a:pt x="858" y="60"/>
                    </a:lnTo>
                    <a:lnTo>
                      <a:pt x="856" y="61"/>
                    </a:lnTo>
                    <a:lnTo>
                      <a:pt x="858" y="61"/>
                    </a:lnTo>
                    <a:lnTo>
                      <a:pt x="858" y="65"/>
                    </a:lnTo>
                    <a:lnTo>
                      <a:pt x="856" y="70"/>
                    </a:lnTo>
                    <a:lnTo>
                      <a:pt x="861" y="73"/>
                    </a:lnTo>
                    <a:lnTo>
                      <a:pt x="861" y="80"/>
                    </a:lnTo>
                    <a:lnTo>
                      <a:pt x="863" y="82"/>
                    </a:lnTo>
                    <a:lnTo>
                      <a:pt x="861" y="83"/>
                    </a:lnTo>
                    <a:lnTo>
                      <a:pt x="860" y="85"/>
                    </a:lnTo>
                    <a:lnTo>
                      <a:pt x="861" y="85"/>
                    </a:lnTo>
                    <a:lnTo>
                      <a:pt x="860" y="90"/>
                    </a:lnTo>
                    <a:lnTo>
                      <a:pt x="860" y="92"/>
                    </a:lnTo>
                    <a:lnTo>
                      <a:pt x="865" y="94"/>
                    </a:lnTo>
                    <a:lnTo>
                      <a:pt x="868" y="94"/>
                    </a:lnTo>
                    <a:lnTo>
                      <a:pt x="865" y="99"/>
                    </a:lnTo>
                    <a:lnTo>
                      <a:pt x="861" y="100"/>
                    </a:lnTo>
                    <a:lnTo>
                      <a:pt x="860" y="105"/>
                    </a:lnTo>
                    <a:lnTo>
                      <a:pt x="860" y="109"/>
                    </a:lnTo>
                    <a:lnTo>
                      <a:pt x="856" y="111"/>
                    </a:lnTo>
                    <a:lnTo>
                      <a:pt x="858" y="114"/>
                    </a:lnTo>
                    <a:lnTo>
                      <a:pt x="858" y="117"/>
                    </a:lnTo>
                    <a:lnTo>
                      <a:pt x="860" y="119"/>
                    </a:lnTo>
                    <a:lnTo>
                      <a:pt x="856" y="122"/>
                    </a:lnTo>
                    <a:lnTo>
                      <a:pt x="858" y="124"/>
                    </a:lnTo>
                    <a:lnTo>
                      <a:pt x="856" y="124"/>
                    </a:lnTo>
                    <a:lnTo>
                      <a:pt x="856" y="126"/>
                    </a:lnTo>
                    <a:lnTo>
                      <a:pt x="855" y="126"/>
                    </a:lnTo>
                    <a:lnTo>
                      <a:pt x="855" y="128"/>
                    </a:lnTo>
                    <a:lnTo>
                      <a:pt x="853" y="128"/>
                    </a:lnTo>
                    <a:lnTo>
                      <a:pt x="853" y="129"/>
                    </a:lnTo>
                    <a:lnTo>
                      <a:pt x="850" y="131"/>
                    </a:lnTo>
                    <a:lnTo>
                      <a:pt x="846" y="131"/>
                    </a:lnTo>
                    <a:lnTo>
                      <a:pt x="841" y="136"/>
                    </a:lnTo>
                    <a:lnTo>
                      <a:pt x="836" y="136"/>
                    </a:lnTo>
                    <a:lnTo>
                      <a:pt x="836" y="140"/>
                    </a:lnTo>
                    <a:lnTo>
                      <a:pt x="834" y="146"/>
                    </a:lnTo>
                    <a:lnTo>
                      <a:pt x="826" y="146"/>
                    </a:lnTo>
                    <a:lnTo>
                      <a:pt x="824" y="151"/>
                    </a:lnTo>
                    <a:lnTo>
                      <a:pt x="821" y="153"/>
                    </a:lnTo>
                    <a:lnTo>
                      <a:pt x="821" y="157"/>
                    </a:lnTo>
                    <a:lnTo>
                      <a:pt x="821" y="160"/>
                    </a:lnTo>
                    <a:lnTo>
                      <a:pt x="821" y="162"/>
                    </a:lnTo>
                    <a:lnTo>
                      <a:pt x="821" y="165"/>
                    </a:lnTo>
                    <a:lnTo>
                      <a:pt x="821" y="167"/>
                    </a:lnTo>
                    <a:lnTo>
                      <a:pt x="824" y="170"/>
                    </a:lnTo>
                    <a:lnTo>
                      <a:pt x="822" y="170"/>
                    </a:lnTo>
                    <a:lnTo>
                      <a:pt x="824" y="172"/>
                    </a:lnTo>
                    <a:lnTo>
                      <a:pt x="824" y="175"/>
                    </a:lnTo>
                    <a:lnTo>
                      <a:pt x="826" y="179"/>
                    </a:lnTo>
                    <a:lnTo>
                      <a:pt x="831" y="185"/>
                    </a:lnTo>
                    <a:lnTo>
                      <a:pt x="831" y="194"/>
                    </a:lnTo>
                    <a:lnTo>
                      <a:pt x="834" y="199"/>
                    </a:lnTo>
                    <a:lnTo>
                      <a:pt x="839" y="199"/>
                    </a:lnTo>
                    <a:lnTo>
                      <a:pt x="846" y="202"/>
                    </a:lnTo>
                    <a:lnTo>
                      <a:pt x="850" y="202"/>
                    </a:lnTo>
                    <a:lnTo>
                      <a:pt x="848" y="204"/>
                    </a:lnTo>
                    <a:lnTo>
                      <a:pt x="860" y="216"/>
                    </a:lnTo>
                    <a:lnTo>
                      <a:pt x="861" y="233"/>
                    </a:lnTo>
                    <a:lnTo>
                      <a:pt x="899" y="253"/>
                    </a:lnTo>
                    <a:lnTo>
                      <a:pt x="919" y="332"/>
                    </a:lnTo>
                    <a:lnTo>
                      <a:pt x="923" y="347"/>
                    </a:lnTo>
                    <a:lnTo>
                      <a:pt x="914" y="350"/>
                    </a:lnTo>
                    <a:lnTo>
                      <a:pt x="914" y="354"/>
                    </a:lnTo>
                    <a:lnTo>
                      <a:pt x="916" y="357"/>
                    </a:lnTo>
                    <a:lnTo>
                      <a:pt x="923" y="364"/>
                    </a:lnTo>
                    <a:lnTo>
                      <a:pt x="934" y="388"/>
                    </a:lnTo>
                    <a:lnTo>
                      <a:pt x="938" y="408"/>
                    </a:lnTo>
                    <a:lnTo>
                      <a:pt x="940" y="422"/>
                    </a:lnTo>
                    <a:lnTo>
                      <a:pt x="940" y="429"/>
                    </a:lnTo>
                    <a:lnTo>
                      <a:pt x="936" y="446"/>
                    </a:lnTo>
                    <a:lnTo>
                      <a:pt x="943" y="468"/>
                    </a:lnTo>
                    <a:lnTo>
                      <a:pt x="943" y="470"/>
                    </a:lnTo>
                    <a:lnTo>
                      <a:pt x="943" y="475"/>
                    </a:lnTo>
                    <a:lnTo>
                      <a:pt x="941" y="476"/>
                    </a:lnTo>
                    <a:lnTo>
                      <a:pt x="940" y="481"/>
                    </a:lnTo>
                    <a:lnTo>
                      <a:pt x="938" y="481"/>
                    </a:lnTo>
                    <a:lnTo>
                      <a:pt x="936" y="483"/>
                    </a:lnTo>
                    <a:lnTo>
                      <a:pt x="940" y="483"/>
                    </a:lnTo>
                    <a:lnTo>
                      <a:pt x="938" y="487"/>
                    </a:lnTo>
                    <a:lnTo>
                      <a:pt x="936" y="487"/>
                    </a:lnTo>
                    <a:lnTo>
                      <a:pt x="936" y="488"/>
                    </a:lnTo>
                    <a:lnTo>
                      <a:pt x="934" y="493"/>
                    </a:lnTo>
                    <a:lnTo>
                      <a:pt x="934" y="498"/>
                    </a:lnTo>
                    <a:lnTo>
                      <a:pt x="934" y="504"/>
                    </a:lnTo>
                    <a:lnTo>
                      <a:pt x="936" y="505"/>
                    </a:lnTo>
                    <a:lnTo>
                      <a:pt x="938" y="514"/>
                    </a:lnTo>
                    <a:lnTo>
                      <a:pt x="941" y="519"/>
                    </a:lnTo>
                    <a:lnTo>
                      <a:pt x="940" y="524"/>
                    </a:lnTo>
                    <a:lnTo>
                      <a:pt x="941" y="529"/>
                    </a:lnTo>
                    <a:lnTo>
                      <a:pt x="938" y="536"/>
                    </a:lnTo>
                    <a:lnTo>
                      <a:pt x="921" y="543"/>
                    </a:lnTo>
                    <a:lnTo>
                      <a:pt x="918" y="549"/>
                    </a:lnTo>
                    <a:lnTo>
                      <a:pt x="914" y="553"/>
                    </a:lnTo>
                    <a:lnTo>
                      <a:pt x="921" y="561"/>
                    </a:lnTo>
                    <a:lnTo>
                      <a:pt x="929" y="572"/>
                    </a:lnTo>
                    <a:lnTo>
                      <a:pt x="946" y="594"/>
                    </a:lnTo>
                    <a:lnTo>
                      <a:pt x="946" y="614"/>
                    </a:lnTo>
                    <a:lnTo>
                      <a:pt x="951" y="623"/>
                    </a:lnTo>
                    <a:lnTo>
                      <a:pt x="957" y="631"/>
                    </a:lnTo>
                    <a:lnTo>
                      <a:pt x="960" y="633"/>
                    </a:lnTo>
                    <a:lnTo>
                      <a:pt x="963" y="636"/>
                    </a:lnTo>
                    <a:lnTo>
                      <a:pt x="974" y="636"/>
                    </a:lnTo>
                    <a:lnTo>
                      <a:pt x="975" y="636"/>
                    </a:lnTo>
                    <a:lnTo>
                      <a:pt x="977" y="635"/>
                    </a:lnTo>
                    <a:lnTo>
                      <a:pt x="980" y="635"/>
                    </a:lnTo>
                    <a:lnTo>
                      <a:pt x="984" y="638"/>
                    </a:lnTo>
                    <a:lnTo>
                      <a:pt x="985" y="636"/>
                    </a:lnTo>
                    <a:lnTo>
                      <a:pt x="987" y="635"/>
                    </a:lnTo>
                    <a:lnTo>
                      <a:pt x="991" y="635"/>
                    </a:lnTo>
                    <a:lnTo>
                      <a:pt x="994" y="636"/>
                    </a:lnTo>
                    <a:lnTo>
                      <a:pt x="999" y="641"/>
                    </a:lnTo>
                    <a:lnTo>
                      <a:pt x="1002" y="643"/>
                    </a:lnTo>
                    <a:lnTo>
                      <a:pt x="1018" y="653"/>
                    </a:lnTo>
                    <a:lnTo>
                      <a:pt x="1026" y="650"/>
                    </a:lnTo>
                    <a:lnTo>
                      <a:pt x="1047" y="687"/>
                    </a:lnTo>
                    <a:lnTo>
                      <a:pt x="999" y="714"/>
                    </a:lnTo>
                    <a:lnTo>
                      <a:pt x="957" y="740"/>
                    </a:lnTo>
                    <a:lnTo>
                      <a:pt x="895" y="776"/>
                    </a:lnTo>
                    <a:lnTo>
                      <a:pt x="817" y="823"/>
                    </a:lnTo>
                    <a:lnTo>
                      <a:pt x="766" y="866"/>
                    </a:lnTo>
                    <a:lnTo>
                      <a:pt x="736" y="891"/>
                    </a:lnTo>
                    <a:lnTo>
                      <a:pt x="734" y="895"/>
                    </a:lnTo>
                    <a:lnTo>
                      <a:pt x="676" y="905"/>
                    </a:lnTo>
                    <a:lnTo>
                      <a:pt x="652" y="910"/>
                    </a:lnTo>
                    <a:lnTo>
                      <a:pt x="620" y="917"/>
                    </a:lnTo>
                    <a:lnTo>
                      <a:pt x="612" y="919"/>
                    </a:lnTo>
                    <a:lnTo>
                      <a:pt x="608" y="919"/>
                    </a:lnTo>
                    <a:lnTo>
                      <a:pt x="608" y="917"/>
                    </a:lnTo>
                    <a:lnTo>
                      <a:pt x="606" y="917"/>
                    </a:lnTo>
                    <a:lnTo>
                      <a:pt x="605" y="915"/>
                    </a:lnTo>
                    <a:lnTo>
                      <a:pt x="596" y="910"/>
                    </a:lnTo>
                    <a:lnTo>
                      <a:pt x="596" y="908"/>
                    </a:lnTo>
                    <a:lnTo>
                      <a:pt x="601" y="903"/>
                    </a:lnTo>
                    <a:lnTo>
                      <a:pt x="600" y="898"/>
                    </a:lnTo>
                    <a:lnTo>
                      <a:pt x="601" y="895"/>
                    </a:lnTo>
                    <a:lnTo>
                      <a:pt x="605" y="895"/>
                    </a:lnTo>
                    <a:lnTo>
                      <a:pt x="605" y="893"/>
                    </a:lnTo>
                    <a:lnTo>
                      <a:pt x="603" y="891"/>
                    </a:lnTo>
                    <a:lnTo>
                      <a:pt x="605" y="890"/>
                    </a:lnTo>
                    <a:lnTo>
                      <a:pt x="603" y="886"/>
                    </a:lnTo>
                    <a:lnTo>
                      <a:pt x="603" y="885"/>
                    </a:lnTo>
                    <a:lnTo>
                      <a:pt x="603" y="881"/>
                    </a:lnTo>
                    <a:lnTo>
                      <a:pt x="605" y="874"/>
                    </a:lnTo>
                    <a:lnTo>
                      <a:pt x="600" y="874"/>
                    </a:lnTo>
                    <a:lnTo>
                      <a:pt x="589" y="869"/>
                    </a:lnTo>
                    <a:lnTo>
                      <a:pt x="586" y="868"/>
                    </a:lnTo>
                    <a:lnTo>
                      <a:pt x="584" y="868"/>
                    </a:lnTo>
                    <a:lnTo>
                      <a:pt x="583" y="868"/>
                    </a:lnTo>
                    <a:lnTo>
                      <a:pt x="578" y="866"/>
                    </a:lnTo>
                    <a:lnTo>
                      <a:pt x="574" y="861"/>
                    </a:lnTo>
                    <a:lnTo>
                      <a:pt x="574" y="864"/>
                    </a:lnTo>
                    <a:lnTo>
                      <a:pt x="572" y="864"/>
                    </a:lnTo>
                    <a:lnTo>
                      <a:pt x="571" y="864"/>
                    </a:lnTo>
                    <a:lnTo>
                      <a:pt x="569" y="864"/>
                    </a:lnTo>
                    <a:lnTo>
                      <a:pt x="567" y="861"/>
                    </a:lnTo>
                    <a:lnTo>
                      <a:pt x="564" y="862"/>
                    </a:lnTo>
                    <a:lnTo>
                      <a:pt x="564" y="861"/>
                    </a:lnTo>
                    <a:lnTo>
                      <a:pt x="561" y="862"/>
                    </a:lnTo>
                    <a:lnTo>
                      <a:pt x="559" y="864"/>
                    </a:lnTo>
                    <a:lnTo>
                      <a:pt x="559" y="861"/>
                    </a:lnTo>
                    <a:lnTo>
                      <a:pt x="561" y="861"/>
                    </a:lnTo>
                    <a:lnTo>
                      <a:pt x="561" y="859"/>
                    </a:lnTo>
                    <a:lnTo>
                      <a:pt x="559" y="857"/>
                    </a:lnTo>
                    <a:lnTo>
                      <a:pt x="559" y="856"/>
                    </a:lnTo>
                    <a:lnTo>
                      <a:pt x="555" y="856"/>
                    </a:lnTo>
                    <a:lnTo>
                      <a:pt x="555" y="852"/>
                    </a:lnTo>
                    <a:lnTo>
                      <a:pt x="550" y="851"/>
                    </a:lnTo>
                    <a:lnTo>
                      <a:pt x="549" y="852"/>
                    </a:lnTo>
                    <a:lnTo>
                      <a:pt x="545" y="854"/>
                    </a:lnTo>
                    <a:lnTo>
                      <a:pt x="542" y="852"/>
                    </a:lnTo>
                    <a:lnTo>
                      <a:pt x="540" y="854"/>
                    </a:lnTo>
                    <a:lnTo>
                      <a:pt x="538" y="852"/>
                    </a:lnTo>
                    <a:lnTo>
                      <a:pt x="537" y="852"/>
                    </a:lnTo>
                    <a:lnTo>
                      <a:pt x="537" y="854"/>
                    </a:lnTo>
                    <a:lnTo>
                      <a:pt x="535" y="854"/>
                    </a:lnTo>
                    <a:lnTo>
                      <a:pt x="533" y="851"/>
                    </a:lnTo>
                    <a:lnTo>
                      <a:pt x="530" y="851"/>
                    </a:lnTo>
                    <a:lnTo>
                      <a:pt x="528" y="849"/>
                    </a:lnTo>
                    <a:lnTo>
                      <a:pt x="523" y="845"/>
                    </a:lnTo>
                    <a:lnTo>
                      <a:pt x="523" y="839"/>
                    </a:lnTo>
                    <a:lnTo>
                      <a:pt x="520" y="835"/>
                    </a:lnTo>
                    <a:lnTo>
                      <a:pt x="513" y="834"/>
                    </a:lnTo>
                    <a:lnTo>
                      <a:pt x="510" y="834"/>
                    </a:lnTo>
                    <a:lnTo>
                      <a:pt x="508" y="832"/>
                    </a:lnTo>
                    <a:lnTo>
                      <a:pt x="506" y="828"/>
                    </a:lnTo>
                    <a:lnTo>
                      <a:pt x="501" y="830"/>
                    </a:lnTo>
                    <a:lnTo>
                      <a:pt x="498" y="828"/>
                    </a:lnTo>
                    <a:lnTo>
                      <a:pt x="498" y="825"/>
                    </a:lnTo>
                    <a:lnTo>
                      <a:pt x="499" y="818"/>
                    </a:lnTo>
                    <a:lnTo>
                      <a:pt x="498" y="810"/>
                    </a:lnTo>
                    <a:lnTo>
                      <a:pt x="438" y="771"/>
                    </a:lnTo>
                    <a:lnTo>
                      <a:pt x="307" y="684"/>
                    </a:lnTo>
                    <a:lnTo>
                      <a:pt x="195" y="612"/>
                    </a:lnTo>
                    <a:lnTo>
                      <a:pt x="193" y="612"/>
                    </a:lnTo>
                    <a:lnTo>
                      <a:pt x="153" y="587"/>
                    </a:lnTo>
                    <a:lnTo>
                      <a:pt x="0" y="495"/>
                    </a:lnTo>
                    <a:lnTo>
                      <a:pt x="0" y="478"/>
                    </a:lnTo>
                    <a:lnTo>
                      <a:pt x="0" y="459"/>
                    </a:lnTo>
                    <a:lnTo>
                      <a:pt x="0" y="446"/>
                    </a:lnTo>
                    <a:lnTo>
                      <a:pt x="0" y="424"/>
                    </a:lnTo>
                    <a:lnTo>
                      <a:pt x="11" y="420"/>
                    </a:lnTo>
                    <a:lnTo>
                      <a:pt x="22" y="412"/>
                    </a:lnTo>
                    <a:lnTo>
                      <a:pt x="35" y="403"/>
                    </a:lnTo>
                    <a:lnTo>
                      <a:pt x="37" y="401"/>
                    </a:lnTo>
                    <a:lnTo>
                      <a:pt x="45" y="396"/>
                    </a:lnTo>
                    <a:lnTo>
                      <a:pt x="51" y="395"/>
                    </a:lnTo>
                    <a:lnTo>
                      <a:pt x="52" y="395"/>
                    </a:lnTo>
                    <a:lnTo>
                      <a:pt x="52" y="391"/>
                    </a:lnTo>
                    <a:lnTo>
                      <a:pt x="54" y="391"/>
                    </a:lnTo>
                    <a:lnTo>
                      <a:pt x="59" y="391"/>
                    </a:lnTo>
                    <a:lnTo>
                      <a:pt x="68" y="390"/>
                    </a:lnTo>
                    <a:lnTo>
                      <a:pt x="71" y="386"/>
                    </a:lnTo>
                    <a:lnTo>
                      <a:pt x="76" y="383"/>
                    </a:lnTo>
                    <a:lnTo>
                      <a:pt x="83" y="384"/>
                    </a:lnTo>
                    <a:lnTo>
                      <a:pt x="90" y="384"/>
                    </a:lnTo>
                    <a:lnTo>
                      <a:pt x="90" y="386"/>
                    </a:lnTo>
                    <a:lnTo>
                      <a:pt x="93" y="386"/>
                    </a:lnTo>
                    <a:lnTo>
                      <a:pt x="96" y="386"/>
                    </a:lnTo>
                    <a:lnTo>
                      <a:pt x="98" y="384"/>
                    </a:lnTo>
                    <a:lnTo>
                      <a:pt x="103" y="383"/>
                    </a:lnTo>
                    <a:lnTo>
                      <a:pt x="108" y="383"/>
                    </a:lnTo>
                    <a:lnTo>
                      <a:pt x="112" y="383"/>
                    </a:lnTo>
                    <a:lnTo>
                      <a:pt x="112" y="384"/>
                    </a:lnTo>
                    <a:lnTo>
                      <a:pt x="113" y="384"/>
                    </a:lnTo>
                    <a:lnTo>
                      <a:pt x="115" y="383"/>
                    </a:lnTo>
                    <a:lnTo>
                      <a:pt x="119" y="384"/>
                    </a:lnTo>
                    <a:lnTo>
                      <a:pt x="122" y="384"/>
                    </a:lnTo>
                    <a:lnTo>
                      <a:pt x="124" y="386"/>
                    </a:lnTo>
                    <a:lnTo>
                      <a:pt x="125" y="386"/>
                    </a:lnTo>
                    <a:lnTo>
                      <a:pt x="132" y="384"/>
                    </a:lnTo>
                    <a:lnTo>
                      <a:pt x="136" y="384"/>
                    </a:lnTo>
                    <a:lnTo>
                      <a:pt x="141" y="384"/>
                    </a:lnTo>
                    <a:lnTo>
                      <a:pt x="146" y="383"/>
                    </a:lnTo>
                    <a:lnTo>
                      <a:pt x="146" y="381"/>
                    </a:lnTo>
                    <a:lnTo>
                      <a:pt x="147" y="379"/>
                    </a:lnTo>
                    <a:lnTo>
                      <a:pt x="149" y="381"/>
                    </a:lnTo>
                    <a:lnTo>
                      <a:pt x="147" y="384"/>
                    </a:lnTo>
                    <a:lnTo>
                      <a:pt x="151" y="383"/>
                    </a:lnTo>
                    <a:lnTo>
                      <a:pt x="153" y="384"/>
                    </a:lnTo>
                    <a:lnTo>
                      <a:pt x="153" y="386"/>
                    </a:lnTo>
                    <a:lnTo>
                      <a:pt x="153" y="388"/>
                    </a:lnTo>
                    <a:lnTo>
                      <a:pt x="154" y="388"/>
                    </a:lnTo>
                    <a:lnTo>
                      <a:pt x="158" y="386"/>
                    </a:lnTo>
                    <a:lnTo>
                      <a:pt x="158" y="384"/>
                    </a:lnTo>
                    <a:lnTo>
                      <a:pt x="161" y="376"/>
                    </a:lnTo>
                    <a:lnTo>
                      <a:pt x="164" y="373"/>
                    </a:lnTo>
                    <a:lnTo>
                      <a:pt x="170" y="371"/>
                    </a:lnTo>
                    <a:lnTo>
                      <a:pt x="170" y="369"/>
                    </a:lnTo>
                    <a:lnTo>
                      <a:pt x="171" y="364"/>
                    </a:lnTo>
                    <a:lnTo>
                      <a:pt x="178" y="359"/>
                    </a:lnTo>
                    <a:lnTo>
                      <a:pt x="181" y="359"/>
                    </a:lnTo>
                    <a:lnTo>
                      <a:pt x="185" y="356"/>
                    </a:lnTo>
                    <a:lnTo>
                      <a:pt x="207" y="345"/>
                    </a:lnTo>
                    <a:lnTo>
                      <a:pt x="221" y="333"/>
                    </a:lnTo>
                    <a:lnTo>
                      <a:pt x="231" y="332"/>
                    </a:lnTo>
                    <a:lnTo>
                      <a:pt x="234" y="330"/>
                    </a:lnTo>
                    <a:lnTo>
                      <a:pt x="244" y="328"/>
                    </a:lnTo>
                    <a:lnTo>
                      <a:pt x="248" y="320"/>
                    </a:lnTo>
                    <a:lnTo>
                      <a:pt x="258" y="311"/>
                    </a:lnTo>
                    <a:lnTo>
                      <a:pt x="258" y="313"/>
                    </a:lnTo>
                    <a:lnTo>
                      <a:pt x="260" y="310"/>
                    </a:lnTo>
                    <a:lnTo>
                      <a:pt x="260" y="306"/>
                    </a:lnTo>
                    <a:lnTo>
                      <a:pt x="258" y="306"/>
                    </a:lnTo>
                    <a:lnTo>
                      <a:pt x="256" y="303"/>
                    </a:lnTo>
                    <a:lnTo>
                      <a:pt x="255" y="303"/>
                    </a:lnTo>
                    <a:lnTo>
                      <a:pt x="255" y="305"/>
                    </a:lnTo>
                    <a:lnTo>
                      <a:pt x="253" y="303"/>
                    </a:lnTo>
                    <a:lnTo>
                      <a:pt x="255" y="305"/>
                    </a:lnTo>
                    <a:lnTo>
                      <a:pt x="253" y="305"/>
                    </a:lnTo>
                    <a:lnTo>
                      <a:pt x="253" y="301"/>
                    </a:lnTo>
                    <a:lnTo>
                      <a:pt x="253" y="299"/>
                    </a:lnTo>
                    <a:lnTo>
                      <a:pt x="251" y="299"/>
                    </a:lnTo>
                    <a:lnTo>
                      <a:pt x="251" y="301"/>
                    </a:lnTo>
                    <a:lnTo>
                      <a:pt x="249" y="301"/>
                    </a:lnTo>
                    <a:lnTo>
                      <a:pt x="251" y="301"/>
                    </a:lnTo>
                    <a:lnTo>
                      <a:pt x="249" y="303"/>
                    </a:lnTo>
                    <a:lnTo>
                      <a:pt x="248" y="303"/>
                    </a:lnTo>
                    <a:lnTo>
                      <a:pt x="248" y="301"/>
                    </a:lnTo>
                    <a:lnTo>
                      <a:pt x="249" y="299"/>
                    </a:lnTo>
                    <a:lnTo>
                      <a:pt x="248" y="296"/>
                    </a:lnTo>
                    <a:lnTo>
                      <a:pt x="249" y="294"/>
                    </a:lnTo>
                    <a:lnTo>
                      <a:pt x="248" y="294"/>
                    </a:lnTo>
                    <a:lnTo>
                      <a:pt x="248" y="293"/>
                    </a:lnTo>
                    <a:lnTo>
                      <a:pt x="249" y="291"/>
                    </a:lnTo>
                    <a:lnTo>
                      <a:pt x="251" y="291"/>
                    </a:lnTo>
                    <a:lnTo>
                      <a:pt x="255" y="289"/>
                    </a:lnTo>
                    <a:lnTo>
                      <a:pt x="253" y="289"/>
                    </a:lnTo>
                    <a:lnTo>
                      <a:pt x="253" y="277"/>
                    </a:lnTo>
                    <a:lnTo>
                      <a:pt x="273" y="274"/>
                    </a:lnTo>
                    <a:lnTo>
                      <a:pt x="295" y="269"/>
                    </a:lnTo>
                    <a:lnTo>
                      <a:pt x="295" y="264"/>
                    </a:lnTo>
                    <a:lnTo>
                      <a:pt x="290" y="257"/>
                    </a:lnTo>
                    <a:lnTo>
                      <a:pt x="292" y="252"/>
                    </a:lnTo>
                    <a:lnTo>
                      <a:pt x="307" y="252"/>
                    </a:lnTo>
                    <a:lnTo>
                      <a:pt x="311" y="250"/>
                    </a:lnTo>
                    <a:lnTo>
                      <a:pt x="312" y="250"/>
                    </a:lnTo>
                    <a:lnTo>
                      <a:pt x="323" y="252"/>
                    </a:lnTo>
                    <a:lnTo>
                      <a:pt x="326" y="250"/>
                    </a:lnTo>
                    <a:lnTo>
                      <a:pt x="331" y="252"/>
                    </a:lnTo>
                    <a:lnTo>
                      <a:pt x="338" y="250"/>
                    </a:lnTo>
                    <a:lnTo>
                      <a:pt x="340" y="250"/>
                    </a:lnTo>
                    <a:lnTo>
                      <a:pt x="343" y="250"/>
                    </a:lnTo>
                    <a:lnTo>
                      <a:pt x="351" y="252"/>
                    </a:lnTo>
                    <a:lnTo>
                      <a:pt x="360" y="252"/>
                    </a:lnTo>
                    <a:lnTo>
                      <a:pt x="368" y="253"/>
                    </a:lnTo>
                    <a:lnTo>
                      <a:pt x="377" y="253"/>
                    </a:lnTo>
                    <a:lnTo>
                      <a:pt x="380" y="252"/>
                    </a:lnTo>
                    <a:lnTo>
                      <a:pt x="379" y="250"/>
                    </a:lnTo>
                    <a:lnTo>
                      <a:pt x="377" y="248"/>
                    </a:lnTo>
                    <a:lnTo>
                      <a:pt x="374" y="250"/>
                    </a:lnTo>
                    <a:lnTo>
                      <a:pt x="375" y="248"/>
                    </a:lnTo>
                    <a:lnTo>
                      <a:pt x="375" y="245"/>
                    </a:lnTo>
                    <a:lnTo>
                      <a:pt x="377" y="245"/>
                    </a:lnTo>
                    <a:lnTo>
                      <a:pt x="379" y="240"/>
                    </a:lnTo>
                    <a:lnTo>
                      <a:pt x="387" y="231"/>
                    </a:lnTo>
                    <a:lnTo>
                      <a:pt x="384" y="231"/>
                    </a:lnTo>
                    <a:lnTo>
                      <a:pt x="379" y="226"/>
                    </a:lnTo>
                    <a:lnTo>
                      <a:pt x="368" y="219"/>
                    </a:lnTo>
                    <a:lnTo>
                      <a:pt x="362" y="209"/>
                    </a:lnTo>
                    <a:lnTo>
                      <a:pt x="363" y="209"/>
                    </a:lnTo>
                    <a:lnTo>
                      <a:pt x="365" y="206"/>
                    </a:lnTo>
                    <a:lnTo>
                      <a:pt x="363" y="204"/>
                    </a:lnTo>
                    <a:lnTo>
                      <a:pt x="360" y="201"/>
                    </a:lnTo>
                    <a:lnTo>
                      <a:pt x="358" y="197"/>
                    </a:lnTo>
                    <a:lnTo>
                      <a:pt x="355" y="192"/>
                    </a:lnTo>
                    <a:lnTo>
                      <a:pt x="355" y="189"/>
                    </a:lnTo>
                    <a:lnTo>
                      <a:pt x="357" y="185"/>
                    </a:lnTo>
                    <a:lnTo>
                      <a:pt x="357" y="182"/>
                    </a:lnTo>
                    <a:lnTo>
                      <a:pt x="358" y="180"/>
                    </a:lnTo>
                    <a:lnTo>
                      <a:pt x="358" y="179"/>
                    </a:lnTo>
                    <a:lnTo>
                      <a:pt x="358" y="177"/>
                    </a:lnTo>
                    <a:lnTo>
                      <a:pt x="357" y="175"/>
                    </a:lnTo>
                    <a:lnTo>
                      <a:pt x="355" y="174"/>
                    </a:lnTo>
                    <a:lnTo>
                      <a:pt x="353" y="174"/>
                    </a:lnTo>
                    <a:lnTo>
                      <a:pt x="351" y="172"/>
                    </a:lnTo>
                    <a:lnTo>
                      <a:pt x="355" y="168"/>
                    </a:lnTo>
                    <a:lnTo>
                      <a:pt x="353" y="163"/>
                    </a:lnTo>
                    <a:lnTo>
                      <a:pt x="355" y="151"/>
                    </a:lnTo>
                    <a:lnTo>
                      <a:pt x="351" y="145"/>
                    </a:lnTo>
                    <a:lnTo>
                      <a:pt x="353" y="141"/>
                    </a:lnTo>
                    <a:lnTo>
                      <a:pt x="348" y="136"/>
                    </a:lnTo>
                    <a:lnTo>
                      <a:pt x="353" y="131"/>
                    </a:lnTo>
                    <a:lnTo>
                      <a:pt x="351" y="131"/>
                    </a:lnTo>
                    <a:lnTo>
                      <a:pt x="346" y="126"/>
                    </a:lnTo>
                    <a:lnTo>
                      <a:pt x="345" y="126"/>
                    </a:lnTo>
                    <a:lnTo>
                      <a:pt x="350" y="121"/>
                    </a:lnTo>
                    <a:lnTo>
                      <a:pt x="351" y="119"/>
                    </a:lnTo>
                    <a:lnTo>
                      <a:pt x="346" y="117"/>
                    </a:lnTo>
                    <a:lnTo>
                      <a:pt x="348" y="117"/>
                    </a:lnTo>
                    <a:lnTo>
                      <a:pt x="346" y="117"/>
                    </a:lnTo>
                    <a:lnTo>
                      <a:pt x="343" y="116"/>
                    </a:lnTo>
                    <a:lnTo>
                      <a:pt x="343" y="114"/>
                    </a:lnTo>
                    <a:lnTo>
                      <a:pt x="340" y="112"/>
                    </a:lnTo>
                    <a:lnTo>
                      <a:pt x="340" y="109"/>
                    </a:lnTo>
                    <a:lnTo>
                      <a:pt x="336" y="111"/>
                    </a:lnTo>
                    <a:lnTo>
                      <a:pt x="331" y="105"/>
                    </a:lnTo>
                    <a:lnTo>
                      <a:pt x="329" y="105"/>
                    </a:lnTo>
                    <a:lnTo>
                      <a:pt x="326" y="104"/>
                    </a:lnTo>
                    <a:lnTo>
                      <a:pt x="328" y="102"/>
                    </a:lnTo>
                    <a:lnTo>
                      <a:pt x="329" y="100"/>
                    </a:lnTo>
                    <a:lnTo>
                      <a:pt x="334" y="102"/>
                    </a:lnTo>
                    <a:lnTo>
                      <a:pt x="340" y="102"/>
                    </a:lnTo>
                    <a:lnTo>
                      <a:pt x="343" y="102"/>
                    </a:lnTo>
                    <a:lnTo>
                      <a:pt x="348" y="99"/>
                    </a:lnTo>
                    <a:lnTo>
                      <a:pt x="350" y="100"/>
                    </a:lnTo>
                    <a:lnTo>
                      <a:pt x="353" y="97"/>
                    </a:lnTo>
                    <a:lnTo>
                      <a:pt x="355" y="97"/>
                    </a:lnTo>
                    <a:lnTo>
                      <a:pt x="357" y="95"/>
                    </a:lnTo>
                    <a:lnTo>
                      <a:pt x="358" y="94"/>
                    </a:lnTo>
                    <a:lnTo>
                      <a:pt x="360" y="92"/>
                    </a:lnTo>
                    <a:lnTo>
                      <a:pt x="362" y="92"/>
                    </a:lnTo>
                    <a:lnTo>
                      <a:pt x="365" y="90"/>
                    </a:lnTo>
                    <a:lnTo>
                      <a:pt x="368" y="90"/>
                    </a:lnTo>
                    <a:lnTo>
                      <a:pt x="372" y="88"/>
                    </a:lnTo>
                    <a:lnTo>
                      <a:pt x="374" y="88"/>
                    </a:lnTo>
                    <a:lnTo>
                      <a:pt x="377" y="83"/>
                    </a:lnTo>
                    <a:lnTo>
                      <a:pt x="379" y="77"/>
                    </a:lnTo>
                    <a:lnTo>
                      <a:pt x="380" y="77"/>
                    </a:lnTo>
                    <a:lnTo>
                      <a:pt x="384" y="75"/>
                    </a:lnTo>
                    <a:lnTo>
                      <a:pt x="385" y="73"/>
                    </a:lnTo>
                    <a:lnTo>
                      <a:pt x="387" y="71"/>
                    </a:lnTo>
                    <a:lnTo>
                      <a:pt x="389" y="71"/>
                    </a:lnTo>
                    <a:lnTo>
                      <a:pt x="392" y="70"/>
                    </a:lnTo>
                    <a:lnTo>
                      <a:pt x="394" y="70"/>
                    </a:lnTo>
                    <a:lnTo>
                      <a:pt x="396" y="70"/>
                    </a:lnTo>
                    <a:lnTo>
                      <a:pt x="397" y="66"/>
                    </a:lnTo>
                    <a:lnTo>
                      <a:pt x="399" y="66"/>
                    </a:lnTo>
                    <a:lnTo>
                      <a:pt x="401" y="68"/>
                    </a:lnTo>
                    <a:lnTo>
                      <a:pt x="402" y="68"/>
                    </a:lnTo>
                    <a:lnTo>
                      <a:pt x="404" y="70"/>
                    </a:lnTo>
                    <a:lnTo>
                      <a:pt x="402" y="68"/>
                    </a:lnTo>
                    <a:lnTo>
                      <a:pt x="404" y="70"/>
                    </a:lnTo>
                    <a:lnTo>
                      <a:pt x="406" y="70"/>
                    </a:lnTo>
                    <a:lnTo>
                      <a:pt x="404" y="70"/>
                    </a:lnTo>
                    <a:lnTo>
                      <a:pt x="408" y="70"/>
                    </a:lnTo>
                    <a:lnTo>
                      <a:pt x="406" y="70"/>
                    </a:lnTo>
                    <a:lnTo>
                      <a:pt x="408" y="70"/>
                    </a:lnTo>
                    <a:lnTo>
                      <a:pt x="411" y="66"/>
                    </a:lnTo>
                    <a:lnTo>
                      <a:pt x="413" y="66"/>
                    </a:lnTo>
                    <a:lnTo>
                      <a:pt x="414" y="63"/>
                    </a:lnTo>
                    <a:lnTo>
                      <a:pt x="414" y="61"/>
                    </a:lnTo>
                    <a:lnTo>
                      <a:pt x="418" y="61"/>
                    </a:lnTo>
                    <a:lnTo>
                      <a:pt x="419" y="60"/>
                    </a:lnTo>
                    <a:lnTo>
                      <a:pt x="421" y="60"/>
                    </a:lnTo>
                    <a:lnTo>
                      <a:pt x="421" y="61"/>
                    </a:lnTo>
                    <a:lnTo>
                      <a:pt x="425" y="61"/>
                    </a:lnTo>
                    <a:lnTo>
                      <a:pt x="425" y="63"/>
                    </a:lnTo>
                    <a:lnTo>
                      <a:pt x="423" y="63"/>
                    </a:lnTo>
                    <a:lnTo>
                      <a:pt x="425" y="65"/>
                    </a:lnTo>
                    <a:lnTo>
                      <a:pt x="433" y="66"/>
                    </a:lnTo>
                    <a:lnTo>
                      <a:pt x="440" y="63"/>
                    </a:lnTo>
                    <a:lnTo>
                      <a:pt x="445" y="53"/>
                    </a:lnTo>
                    <a:lnTo>
                      <a:pt x="450" y="49"/>
                    </a:lnTo>
                    <a:lnTo>
                      <a:pt x="455" y="48"/>
                    </a:lnTo>
                    <a:lnTo>
                      <a:pt x="457" y="46"/>
                    </a:lnTo>
                    <a:lnTo>
                      <a:pt x="464" y="44"/>
                    </a:lnTo>
                    <a:lnTo>
                      <a:pt x="472" y="39"/>
                    </a:lnTo>
                    <a:lnTo>
                      <a:pt x="477" y="39"/>
                    </a:lnTo>
                    <a:lnTo>
                      <a:pt x="479" y="37"/>
                    </a:lnTo>
                    <a:lnTo>
                      <a:pt x="482" y="36"/>
                    </a:lnTo>
                    <a:lnTo>
                      <a:pt x="486" y="36"/>
                    </a:lnTo>
                    <a:lnTo>
                      <a:pt x="486" y="32"/>
                    </a:lnTo>
                    <a:lnTo>
                      <a:pt x="494" y="31"/>
                    </a:lnTo>
                    <a:lnTo>
                      <a:pt x="496" y="31"/>
                    </a:lnTo>
                    <a:lnTo>
                      <a:pt x="499" y="29"/>
                    </a:lnTo>
                    <a:lnTo>
                      <a:pt x="504" y="29"/>
                    </a:lnTo>
                    <a:lnTo>
                      <a:pt x="506" y="29"/>
                    </a:lnTo>
                    <a:lnTo>
                      <a:pt x="506" y="27"/>
                    </a:lnTo>
                    <a:lnTo>
                      <a:pt x="510" y="27"/>
                    </a:lnTo>
                    <a:lnTo>
                      <a:pt x="510" y="29"/>
                    </a:lnTo>
                    <a:lnTo>
                      <a:pt x="513" y="27"/>
                    </a:lnTo>
                    <a:lnTo>
                      <a:pt x="515" y="29"/>
                    </a:lnTo>
                    <a:lnTo>
                      <a:pt x="516" y="27"/>
                    </a:lnTo>
                    <a:lnTo>
                      <a:pt x="520" y="29"/>
                    </a:lnTo>
                    <a:lnTo>
                      <a:pt x="523" y="27"/>
                    </a:lnTo>
                    <a:lnTo>
                      <a:pt x="530" y="27"/>
                    </a:lnTo>
                    <a:lnTo>
                      <a:pt x="535" y="26"/>
                    </a:lnTo>
                    <a:lnTo>
                      <a:pt x="540" y="27"/>
                    </a:lnTo>
                    <a:lnTo>
                      <a:pt x="557" y="22"/>
                    </a:lnTo>
                    <a:lnTo>
                      <a:pt x="561" y="24"/>
                    </a:lnTo>
                    <a:lnTo>
                      <a:pt x="562" y="26"/>
                    </a:lnTo>
                    <a:lnTo>
                      <a:pt x="569" y="26"/>
                    </a:lnTo>
                    <a:lnTo>
                      <a:pt x="572" y="24"/>
                    </a:lnTo>
                    <a:lnTo>
                      <a:pt x="581" y="20"/>
                    </a:lnTo>
                    <a:lnTo>
                      <a:pt x="583" y="19"/>
                    </a:lnTo>
                    <a:lnTo>
                      <a:pt x="583" y="17"/>
                    </a:lnTo>
                    <a:lnTo>
                      <a:pt x="584" y="17"/>
                    </a:lnTo>
                    <a:lnTo>
                      <a:pt x="586" y="15"/>
                    </a:lnTo>
                    <a:lnTo>
                      <a:pt x="591" y="14"/>
                    </a:lnTo>
                    <a:lnTo>
                      <a:pt x="595" y="15"/>
                    </a:lnTo>
                    <a:lnTo>
                      <a:pt x="595" y="17"/>
                    </a:lnTo>
                    <a:lnTo>
                      <a:pt x="596" y="17"/>
                    </a:lnTo>
                    <a:lnTo>
                      <a:pt x="600" y="17"/>
                    </a:lnTo>
                    <a:lnTo>
                      <a:pt x="601" y="17"/>
                    </a:lnTo>
                    <a:lnTo>
                      <a:pt x="603" y="14"/>
                    </a:lnTo>
                    <a:lnTo>
                      <a:pt x="606" y="15"/>
                    </a:lnTo>
                    <a:lnTo>
                      <a:pt x="615" y="17"/>
                    </a:lnTo>
                    <a:lnTo>
                      <a:pt x="625" y="12"/>
                    </a:lnTo>
                    <a:lnTo>
                      <a:pt x="629" y="10"/>
                    </a:lnTo>
                    <a:lnTo>
                      <a:pt x="635" y="9"/>
                    </a:lnTo>
                    <a:lnTo>
                      <a:pt x="637" y="9"/>
                    </a:lnTo>
                    <a:lnTo>
                      <a:pt x="639" y="10"/>
                    </a:lnTo>
                    <a:lnTo>
                      <a:pt x="647" y="10"/>
                    </a:lnTo>
                    <a:lnTo>
                      <a:pt x="649" y="9"/>
                    </a:lnTo>
                    <a:lnTo>
                      <a:pt x="652" y="10"/>
                    </a:lnTo>
                    <a:lnTo>
                      <a:pt x="656" y="9"/>
                    </a:lnTo>
                    <a:lnTo>
                      <a:pt x="657" y="10"/>
                    </a:lnTo>
                    <a:lnTo>
                      <a:pt x="663" y="10"/>
                    </a:lnTo>
                    <a:lnTo>
                      <a:pt x="663" y="9"/>
                    </a:lnTo>
                    <a:lnTo>
                      <a:pt x="669" y="10"/>
                    </a:lnTo>
                    <a:lnTo>
                      <a:pt x="681" y="10"/>
                    </a:lnTo>
                    <a:lnTo>
                      <a:pt x="683" y="10"/>
                    </a:lnTo>
                    <a:lnTo>
                      <a:pt x="688" y="12"/>
                    </a:lnTo>
                    <a:lnTo>
                      <a:pt x="690" y="14"/>
                    </a:lnTo>
                    <a:lnTo>
                      <a:pt x="693" y="14"/>
                    </a:lnTo>
                    <a:lnTo>
                      <a:pt x="693" y="15"/>
                    </a:lnTo>
                    <a:lnTo>
                      <a:pt x="698" y="15"/>
                    </a:lnTo>
                    <a:lnTo>
                      <a:pt x="697" y="17"/>
                    </a:lnTo>
                    <a:lnTo>
                      <a:pt x="697" y="19"/>
                    </a:lnTo>
                    <a:lnTo>
                      <a:pt x="698" y="20"/>
                    </a:lnTo>
                    <a:lnTo>
                      <a:pt x="705" y="22"/>
                    </a:lnTo>
                    <a:lnTo>
                      <a:pt x="708" y="22"/>
                    </a:lnTo>
                    <a:lnTo>
                      <a:pt x="714" y="22"/>
                    </a:lnTo>
                    <a:lnTo>
                      <a:pt x="717" y="20"/>
                    </a:lnTo>
                    <a:lnTo>
                      <a:pt x="720" y="19"/>
                    </a:lnTo>
                    <a:lnTo>
                      <a:pt x="720" y="17"/>
                    </a:lnTo>
                    <a:lnTo>
                      <a:pt x="725" y="15"/>
                    </a:lnTo>
                    <a:lnTo>
                      <a:pt x="727" y="14"/>
                    </a:lnTo>
                    <a:lnTo>
                      <a:pt x="731" y="14"/>
                    </a:lnTo>
                    <a:lnTo>
                      <a:pt x="732" y="14"/>
                    </a:lnTo>
                    <a:lnTo>
                      <a:pt x="734" y="14"/>
                    </a:lnTo>
                    <a:lnTo>
                      <a:pt x="736" y="14"/>
                    </a:lnTo>
                    <a:lnTo>
                      <a:pt x="737" y="14"/>
                    </a:lnTo>
                    <a:lnTo>
                      <a:pt x="753" y="10"/>
                    </a:lnTo>
                    <a:lnTo>
                      <a:pt x="756" y="7"/>
                    </a:lnTo>
                    <a:lnTo>
                      <a:pt x="754" y="5"/>
                    </a:lnTo>
                    <a:lnTo>
                      <a:pt x="756" y="3"/>
                    </a:lnTo>
                    <a:lnTo>
                      <a:pt x="758" y="3"/>
                    </a:lnTo>
                    <a:lnTo>
                      <a:pt x="759" y="2"/>
                    </a:lnTo>
                    <a:lnTo>
                      <a:pt x="766" y="0"/>
                    </a:lnTo>
                    <a:lnTo>
                      <a:pt x="768" y="0"/>
                    </a:lnTo>
                    <a:lnTo>
                      <a:pt x="770" y="2"/>
                    </a:lnTo>
                    <a:lnTo>
                      <a:pt x="771" y="2"/>
                    </a:lnTo>
                    <a:lnTo>
                      <a:pt x="770" y="3"/>
                    </a:lnTo>
                    <a:lnTo>
                      <a:pt x="771" y="3"/>
                    </a:lnTo>
                    <a:lnTo>
                      <a:pt x="773" y="3"/>
                    </a:lnTo>
                    <a:lnTo>
                      <a:pt x="771" y="5"/>
                    </a:lnTo>
                    <a:lnTo>
                      <a:pt x="775" y="5"/>
                    </a:lnTo>
                    <a:lnTo>
                      <a:pt x="775" y="7"/>
                    </a:lnTo>
                    <a:lnTo>
                      <a:pt x="776" y="7"/>
                    </a:lnTo>
                    <a:lnTo>
                      <a:pt x="778" y="7"/>
                    </a:lnTo>
                    <a:lnTo>
                      <a:pt x="780" y="7"/>
                    </a:lnTo>
                    <a:lnTo>
                      <a:pt x="782" y="7"/>
                    </a:lnTo>
                    <a:lnTo>
                      <a:pt x="783" y="7"/>
                    </a:lnTo>
                    <a:lnTo>
                      <a:pt x="785" y="7"/>
                    </a:lnTo>
                    <a:lnTo>
                      <a:pt x="785" y="9"/>
                    </a:lnTo>
                    <a:lnTo>
                      <a:pt x="787" y="9"/>
                    </a:lnTo>
                    <a:lnTo>
                      <a:pt x="787" y="10"/>
                    </a:lnTo>
                    <a:lnTo>
                      <a:pt x="790" y="10"/>
                    </a:lnTo>
                    <a:lnTo>
                      <a:pt x="797" y="9"/>
                    </a:lnTo>
                    <a:lnTo>
                      <a:pt x="800" y="9"/>
                    </a:lnTo>
                    <a:lnTo>
                      <a:pt x="804" y="9"/>
                    </a:lnTo>
                    <a:lnTo>
                      <a:pt x="807" y="3"/>
                    </a:lnTo>
                    <a:lnTo>
                      <a:pt x="805" y="3"/>
                    </a:lnTo>
                    <a:lnTo>
                      <a:pt x="802" y="0"/>
                    </a:lnTo>
                    <a:lnTo>
                      <a:pt x="804" y="0"/>
                    </a:lnTo>
                    <a:lnTo>
                      <a:pt x="807" y="2"/>
                    </a:lnTo>
                    <a:lnTo>
                      <a:pt x="809" y="0"/>
                    </a:lnTo>
                    <a:lnTo>
                      <a:pt x="810" y="2"/>
                    </a:lnTo>
                    <a:lnTo>
                      <a:pt x="814" y="0"/>
                    </a:lnTo>
                    <a:lnTo>
                      <a:pt x="812" y="2"/>
                    </a:lnTo>
                    <a:lnTo>
                      <a:pt x="814" y="3"/>
                    </a:lnTo>
                    <a:lnTo>
                      <a:pt x="819" y="2"/>
                    </a:lnTo>
                    <a:lnTo>
                      <a:pt x="822" y="5"/>
                    </a:lnTo>
                    <a:lnTo>
                      <a:pt x="826" y="7"/>
                    </a:lnTo>
                    <a:lnTo>
                      <a:pt x="827" y="5"/>
                    </a:lnTo>
                    <a:lnTo>
                      <a:pt x="827" y="7"/>
                    </a:lnTo>
                    <a:lnTo>
                      <a:pt x="829" y="7"/>
                    </a:lnTo>
                    <a:lnTo>
                      <a:pt x="834" y="7"/>
                    </a:lnTo>
                    <a:lnTo>
                      <a:pt x="833" y="9"/>
                    </a:lnTo>
                    <a:lnTo>
                      <a:pt x="833" y="10"/>
                    </a:lnTo>
                    <a:lnTo>
                      <a:pt x="834" y="12"/>
                    </a:lnTo>
                    <a:lnTo>
                      <a:pt x="836" y="12"/>
                    </a:lnTo>
                    <a:lnTo>
                      <a:pt x="844" y="12"/>
                    </a:lnTo>
                    <a:lnTo>
                      <a:pt x="855" y="7"/>
                    </a:lnTo>
                    <a:lnTo>
                      <a:pt x="858" y="9"/>
                    </a:lnTo>
                    <a:lnTo>
                      <a:pt x="861" y="9"/>
                    </a:lnTo>
                    <a:lnTo>
                      <a:pt x="865" y="10"/>
                    </a:lnTo>
                    <a:lnTo>
                      <a:pt x="877" y="7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0" name="Freeform 10">
                <a:extLst>
                  <a:ext uri="{FF2B5EF4-FFF2-40B4-BE49-F238E27FC236}">
                    <a16:creationId xmlns:a16="http://schemas.microsoft.com/office/drawing/2014/main" id="{8A11E42F-D45C-4D2F-BB47-D904F3EAC7F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514818" y="3805081"/>
                <a:ext cx="998509" cy="1098504"/>
              </a:xfrm>
              <a:custGeom>
                <a:avLst/>
                <a:gdLst>
                  <a:gd name="T0" fmla="*/ 624 w 629"/>
                  <a:gd name="T1" fmla="*/ 371 h 692"/>
                  <a:gd name="T2" fmla="*/ 620 w 629"/>
                  <a:gd name="T3" fmla="*/ 422 h 692"/>
                  <a:gd name="T4" fmla="*/ 523 w 629"/>
                  <a:gd name="T5" fmla="*/ 600 h 692"/>
                  <a:gd name="T6" fmla="*/ 539 w 629"/>
                  <a:gd name="T7" fmla="*/ 622 h 692"/>
                  <a:gd name="T8" fmla="*/ 578 w 629"/>
                  <a:gd name="T9" fmla="*/ 660 h 692"/>
                  <a:gd name="T10" fmla="*/ 537 w 629"/>
                  <a:gd name="T11" fmla="*/ 684 h 692"/>
                  <a:gd name="T12" fmla="*/ 465 w 629"/>
                  <a:gd name="T13" fmla="*/ 692 h 692"/>
                  <a:gd name="T14" fmla="*/ 435 w 629"/>
                  <a:gd name="T15" fmla="*/ 684 h 692"/>
                  <a:gd name="T16" fmla="*/ 403 w 629"/>
                  <a:gd name="T17" fmla="*/ 684 h 692"/>
                  <a:gd name="T18" fmla="*/ 380 w 629"/>
                  <a:gd name="T19" fmla="*/ 680 h 692"/>
                  <a:gd name="T20" fmla="*/ 348 w 629"/>
                  <a:gd name="T21" fmla="*/ 670 h 692"/>
                  <a:gd name="T22" fmla="*/ 227 w 629"/>
                  <a:gd name="T23" fmla="*/ 660 h 692"/>
                  <a:gd name="T24" fmla="*/ 117 w 629"/>
                  <a:gd name="T25" fmla="*/ 662 h 692"/>
                  <a:gd name="T26" fmla="*/ 61 w 629"/>
                  <a:gd name="T27" fmla="*/ 643 h 692"/>
                  <a:gd name="T28" fmla="*/ 35 w 629"/>
                  <a:gd name="T29" fmla="*/ 651 h 692"/>
                  <a:gd name="T30" fmla="*/ 6 w 629"/>
                  <a:gd name="T31" fmla="*/ 628 h 692"/>
                  <a:gd name="T32" fmla="*/ 10 w 629"/>
                  <a:gd name="T33" fmla="*/ 578 h 692"/>
                  <a:gd name="T34" fmla="*/ 22 w 629"/>
                  <a:gd name="T35" fmla="*/ 546 h 692"/>
                  <a:gd name="T36" fmla="*/ 34 w 629"/>
                  <a:gd name="T37" fmla="*/ 505 h 692"/>
                  <a:gd name="T38" fmla="*/ 44 w 629"/>
                  <a:gd name="T39" fmla="*/ 480 h 692"/>
                  <a:gd name="T40" fmla="*/ 52 w 629"/>
                  <a:gd name="T41" fmla="*/ 449 h 692"/>
                  <a:gd name="T42" fmla="*/ 78 w 629"/>
                  <a:gd name="T43" fmla="*/ 417 h 692"/>
                  <a:gd name="T44" fmla="*/ 97 w 629"/>
                  <a:gd name="T45" fmla="*/ 405 h 692"/>
                  <a:gd name="T46" fmla="*/ 108 w 629"/>
                  <a:gd name="T47" fmla="*/ 352 h 692"/>
                  <a:gd name="T48" fmla="*/ 83 w 629"/>
                  <a:gd name="T49" fmla="*/ 284 h 692"/>
                  <a:gd name="T50" fmla="*/ 74 w 629"/>
                  <a:gd name="T51" fmla="*/ 228 h 692"/>
                  <a:gd name="T52" fmla="*/ 78 w 629"/>
                  <a:gd name="T53" fmla="*/ 224 h 692"/>
                  <a:gd name="T54" fmla="*/ 86 w 629"/>
                  <a:gd name="T55" fmla="*/ 207 h 692"/>
                  <a:gd name="T56" fmla="*/ 64 w 629"/>
                  <a:gd name="T57" fmla="*/ 155 h 692"/>
                  <a:gd name="T58" fmla="*/ 35 w 629"/>
                  <a:gd name="T59" fmla="*/ 90 h 692"/>
                  <a:gd name="T60" fmla="*/ 57 w 629"/>
                  <a:gd name="T61" fmla="*/ 83 h 692"/>
                  <a:gd name="T62" fmla="*/ 85 w 629"/>
                  <a:gd name="T63" fmla="*/ 78 h 692"/>
                  <a:gd name="T64" fmla="*/ 131 w 629"/>
                  <a:gd name="T65" fmla="*/ 76 h 692"/>
                  <a:gd name="T66" fmla="*/ 227 w 629"/>
                  <a:gd name="T67" fmla="*/ 76 h 692"/>
                  <a:gd name="T68" fmla="*/ 251 w 629"/>
                  <a:gd name="T69" fmla="*/ 88 h 692"/>
                  <a:gd name="T70" fmla="*/ 256 w 629"/>
                  <a:gd name="T71" fmla="*/ 105 h 692"/>
                  <a:gd name="T72" fmla="*/ 267 w 629"/>
                  <a:gd name="T73" fmla="*/ 134 h 692"/>
                  <a:gd name="T74" fmla="*/ 277 w 629"/>
                  <a:gd name="T75" fmla="*/ 155 h 692"/>
                  <a:gd name="T76" fmla="*/ 287 w 629"/>
                  <a:gd name="T77" fmla="*/ 172 h 692"/>
                  <a:gd name="T78" fmla="*/ 297 w 629"/>
                  <a:gd name="T79" fmla="*/ 187 h 692"/>
                  <a:gd name="T80" fmla="*/ 329 w 629"/>
                  <a:gd name="T81" fmla="*/ 184 h 692"/>
                  <a:gd name="T82" fmla="*/ 389 w 629"/>
                  <a:gd name="T83" fmla="*/ 180 h 692"/>
                  <a:gd name="T84" fmla="*/ 397 w 629"/>
                  <a:gd name="T85" fmla="*/ 153 h 692"/>
                  <a:gd name="T86" fmla="*/ 448 w 629"/>
                  <a:gd name="T87" fmla="*/ 141 h 692"/>
                  <a:gd name="T88" fmla="*/ 515 w 629"/>
                  <a:gd name="T89" fmla="*/ 156 h 692"/>
                  <a:gd name="T90" fmla="*/ 511 w 629"/>
                  <a:gd name="T91" fmla="*/ 185 h 692"/>
                  <a:gd name="T92" fmla="*/ 518 w 629"/>
                  <a:gd name="T93" fmla="*/ 214 h 692"/>
                  <a:gd name="T94" fmla="*/ 513 w 629"/>
                  <a:gd name="T95" fmla="*/ 252 h 692"/>
                  <a:gd name="T96" fmla="*/ 525 w 629"/>
                  <a:gd name="T97" fmla="*/ 277 h 692"/>
                  <a:gd name="T98" fmla="*/ 537 w 629"/>
                  <a:gd name="T99" fmla="*/ 325 h 692"/>
                  <a:gd name="T100" fmla="*/ 549 w 629"/>
                  <a:gd name="T101" fmla="*/ 338 h 692"/>
                  <a:gd name="T102" fmla="*/ 600 w 629"/>
                  <a:gd name="T103" fmla="*/ 333 h 692"/>
                  <a:gd name="T104" fmla="*/ 69 w 629"/>
                  <a:gd name="T105" fmla="*/ 17 h 692"/>
                  <a:gd name="T106" fmla="*/ 47 w 629"/>
                  <a:gd name="T107" fmla="*/ 34 h 692"/>
                  <a:gd name="T108" fmla="*/ 27 w 629"/>
                  <a:gd name="T109" fmla="*/ 70 h 692"/>
                  <a:gd name="T110" fmla="*/ 25 w 629"/>
                  <a:gd name="T111" fmla="*/ 27 h 692"/>
                  <a:gd name="T112" fmla="*/ 56 w 629"/>
                  <a:gd name="T113" fmla="*/ 7 h 692"/>
                  <a:gd name="T114" fmla="*/ 1 w 629"/>
                  <a:gd name="T115" fmla="*/ 619 h 692"/>
                  <a:gd name="T116" fmla="*/ 34 w 629"/>
                  <a:gd name="T117" fmla="*/ 87 h 692"/>
                  <a:gd name="T118" fmla="*/ 64 w 629"/>
                  <a:gd name="T119" fmla="*/ 80 h 692"/>
                  <a:gd name="T120" fmla="*/ 57 w 629"/>
                  <a:gd name="T121" fmla="*/ 83 h 692"/>
                  <a:gd name="T122" fmla="*/ 64 w 629"/>
                  <a:gd name="T123" fmla="*/ 80 h 692"/>
                  <a:gd name="T124" fmla="*/ 56 w 629"/>
                  <a:gd name="T125" fmla="*/ 83 h 6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29" h="692">
                    <a:moveTo>
                      <a:pt x="624" y="330"/>
                    </a:moveTo>
                    <a:lnTo>
                      <a:pt x="624" y="332"/>
                    </a:lnTo>
                    <a:lnTo>
                      <a:pt x="625" y="335"/>
                    </a:lnTo>
                    <a:lnTo>
                      <a:pt x="625" y="337"/>
                    </a:lnTo>
                    <a:lnTo>
                      <a:pt x="625" y="342"/>
                    </a:lnTo>
                    <a:lnTo>
                      <a:pt x="625" y="343"/>
                    </a:lnTo>
                    <a:lnTo>
                      <a:pt x="625" y="350"/>
                    </a:lnTo>
                    <a:lnTo>
                      <a:pt x="629" y="357"/>
                    </a:lnTo>
                    <a:lnTo>
                      <a:pt x="625" y="359"/>
                    </a:lnTo>
                    <a:lnTo>
                      <a:pt x="625" y="362"/>
                    </a:lnTo>
                    <a:lnTo>
                      <a:pt x="624" y="369"/>
                    </a:lnTo>
                    <a:lnTo>
                      <a:pt x="622" y="369"/>
                    </a:lnTo>
                    <a:lnTo>
                      <a:pt x="624" y="371"/>
                    </a:lnTo>
                    <a:lnTo>
                      <a:pt x="625" y="377"/>
                    </a:lnTo>
                    <a:lnTo>
                      <a:pt x="624" y="379"/>
                    </a:lnTo>
                    <a:lnTo>
                      <a:pt x="624" y="394"/>
                    </a:lnTo>
                    <a:lnTo>
                      <a:pt x="624" y="398"/>
                    </a:lnTo>
                    <a:lnTo>
                      <a:pt x="627" y="400"/>
                    </a:lnTo>
                    <a:lnTo>
                      <a:pt x="627" y="403"/>
                    </a:lnTo>
                    <a:lnTo>
                      <a:pt x="629" y="405"/>
                    </a:lnTo>
                    <a:lnTo>
                      <a:pt x="627" y="408"/>
                    </a:lnTo>
                    <a:lnTo>
                      <a:pt x="625" y="410"/>
                    </a:lnTo>
                    <a:lnTo>
                      <a:pt x="622" y="413"/>
                    </a:lnTo>
                    <a:lnTo>
                      <a:pt x="622" y="417"/>
                    </a:lnTo>
                    <a:lnTo>
                      <a:pt x="620" y="420"/>
                    </a:lnTo>
                    <a:lnTo>
                      <a:pt x="620" y="422"/>
                    </a:lnTo>
                    <a:lnTo>
                      <a:pt x="618" y="425"/>
                    </a:lnTo>
                    <a:lnTo>
                      <a:pt x="618" y="429"/>
                    </a:lnTo>
                    <a:lnTo>
                      <a:pt x="620" y="432"/>
                    </a:lnTo>
                    <a:lnTo>
                      <a:pt x="624" y="432"/>
                    </a:lnTo>
                    <a:lnTo>
                      <a:pt x="625" y="434"/>
                    </a:lnTo>
                    <a:lnTo>
                      <a:pt x="627" y="437"/>
                    </a:lnTo>
                    <a:lnTo>
                      <a:pt x="559" y="437"/>
                    </a:lnTo>
                    <a:lnTo>
                      <a:pt x="523" y="437"/>
                    </a:lnTo>
                    <a:lnTo>
                      <a:pt x="523" y="459"/>
                    </a:lnTo>
                    <a:lnTo>
                      <a:pt x="523" y="473"/>
                    </a:lnTo>
                    <a:lnTo>
                      <a:pt x="523" y="558"/>
                    </a:lnTo>
                    <a:lnTo>
                      <a:pt x="523" y="599"/>
                    </a:lnTo>
                    <a:lnTo>
                      <a:pt x="523" y="600"/>
                    </a:lnTo>
                    <a:lnTo>
                      <a:pt x="527" y="602"/>
                    </a:lnTo>
                    <a:lnTo>
                      <a:pt x="527" y="604"/>
                    </a:lnTo>
                    <a:lnTo>
                      <a:pt x="528" y="607"/>
                    </a:lnTo>
                    <a:lnTo>
                      <a:pt x="530" y="611"/>
                    </a:lnTo>
                    <a:lnTo>
                      <a:pt x="530" y="612"/>
                    </a:lnTo>
                    <a:lnTo>
                      <a:pt x="530" y="614"/>
                    </a:lnTo>
                    <a:lnTo>
                      <a:pt x="528" y="614"/>
                    </a:lnTo>
                    <a:lnTo>
                      <a:pt x="530" y="614"/>
                    </a:lnTo>
                    <a:lnTo>
                      <a:pt x="532" y="616"/>
                    </a:lnTo>
                    <a:lnTo>
                      <a:pt x="533" y="619"/>
                    </a:lnTo>
                    <a:lnTo>
                      <a:pt x="535" y="619"/>
                    </a:lnTo>
                    <a:lnTo>
                      <a:pt x="537" y="621"/>
                    </a:lnTo>
                    <a:lnTo>
                      <a:pt x="539" y="622"/>
                    </a:lnTo>
                    <a:lnTo>
                      <a:pt x="540" y="624"/>
                    </a:lnTo>
                    <a:lnTo>
                      <a:pt x="542" y="624"/>
                    </a:lnTo>
                    <a:lnTo>
                      <a:pt x="547" y="631"/>
                    </a:lnTo>
                    <a:lnTo>
                      <a:pt x="550" y="634"/>
                    </a:lnTo>
                    <a:lnTo>
                      <a:pt x="559" y="643"/>
                    </a:lnTo>
                    <a:lnTo>
                      <a:pt x="561" y="645"/>
                    </a:lnTo>
                    <a:lnTo>
                      <a:pt x="562" y="646"/>
                    </a:lnTo>
                    <a:lnTo>
                      <a:pt x="564" y="648"/>
                    </a:lnTo>
                    <a:lnTo>
                      <a:pt x="567" y="650"/>
                    </a:lnTo>
                    <a:lnTo>
                      <a:pt x="573" y="653"/>
                    </a:lnTo>
                    <a:lnTo>
                      <a:pt x="576" y="658"/>
                    </a:lnTo>
                    <a:lnTo>
                      <a:pt x="576" y="656"/>
                    </a:lnTo>
                    <a:lnTo>
                      <a:pt x="578" y="660"/>
                    </a:lnTo>
                    <a:lnTo>
                      <a:pt x="579" y="662"/>
                    </a:lnTo>
                    <a:lnTo>
                      <a:pt x="581" y="663"/>
                    </a:lnTo>
                    <a:lnTo>
                      <a:pt x="583" y="665"/>
                    </a:lnTo>
                    <a:lnTo>
                      <a:pt x="586" y="668"/>
                    </a:lnTo>
                    <a:lnTo>
                      <a:pt x="588" y="667"/>
                    </a:lnTo>
                    <a:lnTo>
                      <a:pt x="593" y="670"/>
                    </a:lnTo>
                    <a:lnTo>
                      <a:pt x="595" y="670"/>
                    </a:lnTo>
                    <a:lnTo>
                      <a:pt x="596" y="672"/>
                    </a:lnTo>
                    <a:lnTo>
                      <a:pt x="593" y="673"/>
                    </a:lnTo>
                    <a:lnTo>
                      <a:pt x="573" y="677"/>
                    </a:lnTo>
                    <a:lnTo>
                      <a:pt x="554" y="680"/>
                    </a:lnTo>
                    <a:lnTo>
                      <a:pt x="542" y="682"/>
                    </a:lnTo>
                    <a:lnTo>
                      <a:pt x="537" y="684"/>
                    </a:lnTo>
                    <a:lnTo>
                      <a:pt x="523" y="687"/>
                    </a:lnTo>
                    <a:lnTo>
                      <a:pt x="515" y="689"/>
                    </a:lnTo>
                    <a:lnTo>
                      <a:pt x="496" y="692"/>
                    </a:lnTo>
                    <a:lnTo>
                      <a:pt x="494" y="692"/>
                    </a:lnTo>
                    <a:lnTo>
                      <a:pt x="491" y="690"/>
                    </a:lnTo>
                    <a:lnTo>
                      <a:pt x="489" y="690"/>
                    </a:lnTo>
                    <a:lnTo>
                      <a:pt x="484" y="689"/>
                    </a:lnTo>
                    <a:lnTo>
                      <a:pt x="484" y="687"/>
                    </a:lnTo>
                    <a:lnTo>
                      <a:pt x="481" y="687"/>
                    </a:lnTo>
                    <a:lnTo>
                      <a:pt x="477" y="689"/>
                    </a:lnTo>
                    <a:lnTo>
                      <a:pt x="471" y="689"/>
                    </a:lnTo>
                    <a:lnTo>
                      <a:pt x="465" y="690"/>
                    </a:lnTo>
                    <a:lnTo>
                      <a:pt x="465" y="692"/>
                    </a:lnTo>
                    <a:lnTo>
                      <a:pt x="464" y="692"/>
                    </a:lnTo>
                    <a:lnTo>
                      <a:pt x="459" y="692"/>
                    </a:lnTo>
                    <a:lnTo>
                      <a:pt x="459" y="690"/>
                    </a:lnTo>
                    <a:lnTo>
                      <a:pt x="457" y="690"/>
                    </a:lnTo>
                    <a:lnTo>
                      <a:pt x="454" y="689"/>
                    </a:lnTo>
                    <a:lnTo>
                      <a:pt x="448" y="690"/>
                    </a:lnTo>
                    <a:lnTo>
                      <a:pt x="447" y="689"/>
                    </a:lnTo>
                    <a:lnTo>
                      <a:pt x="445" y="689"/>
                    </a:lnTo>
                    <a:lnTo>
                      <a:pt x="445" y="685"/>
                    </a:lnTo>
                    <a:lnTo>
                      <a:pt x="440" y="685"/>
                    </a:lnTo>
                    <a:lnTo>
                      <a:pt x="438" y="684"/>
                    </a:lnTo>
                    <a:lnTo>
                      <a:pt x="437" y="684"/>
                    </a:lnTo>
                    <a:lnTo>
                      <a:pt x="435" y="684"/>
                    </a:lnTo>
                    <a:lnTo>
                      <a:pt x="435" y="685"/>
                    </a:lnTo>
                    <a:lnTo>
                      <a:pt x="430" y="684"/>
                    </a:lnTo>
                    <a:lnTo>
                      <a:pt x="426" y="685"/>
                    </a:lnTo>
                    <a:lnTo>
                      <a:pt x="425" y="685"/>
                    </a:lnTo>
                    <a:lnTo>
                      <a:pt x="423" y="685"/>
                    </a:lnTo>
                    <a:lnTo>
                      <a:pt x="418" y="684"/>
                    </a:lnTo>
                    <a:lnTo>
                      <a:pt x="414" y="685"/>
                    </a:lnTo>
                    <a:lnTo>
                      <a:pt x="413" y="684"/>
                    </a:lnTo>
                    <a:lnTo>
                      <a:pt x="409" y="685"/>
                    </a:lnTo>
                    <a:lnTo>
                      <a:pt x="408" y="684"/>
                    </a:lnTo>
                    <a:lnTo>
                      <a:pt x="406" y="685"/>
                    </a:lnTo>
                    <a:lnTo>
                      <a:pt x="404" y="684"/>
                    </a:lnTo>
                    <a:lnTo>
                      <a:pt x="403" y="684"/>
                    </a:lnTo>
                    <a:lnTo>
                      <a:pt x="401" y="684"/>
                    </a:lnTo>
                    <a:lnTo>
                      <a:pt x="399" y="684"/>
                    </a:lnTo>
                    <a:lnTo>
                      <a:pt x="397" y="684"/>
                    </a:lnTo>
                    <a:lnTo>
                      <a:pt x="396" y="684"/>
                    </a:lnTo>
                    <a:lnTo>
                      <a:pt x="394" y="684"/>
                    </a:lnTo>
                    <a:lnTo>
                      <a:pt x="392" y="684"/>
                    </a:lnTo>
                    <a:lnTo>
                      <a:pt x="389" y="684"/>
                    </a:lnTo>
                    <a:lnTo>
                      <a:pt x="387" y="684"/>
                    </a:lnTo>
                    <a:lnTo>
                      <a:pt x="387" y="682"/>
                    </a:lnTo>
                    <a:lnTo>
                      <a:pt x="386" y="682"/>
                    </a:lnTo>
                    <a:lnTo>
                      <a:pt x="384" y="682"/>
                    </a:lnTo>
                    <a:lnTo>
                      <a:pt x="382" y="682"/>
                    </a:lnTo>
                    <a:lnTo>
                      <a:pt x="380" y="680"/>
                    </a:lnTo>
                    <a:lnTo>
                      <a:pt x="379" y="682"/>
                    </a:lnTo>
                    <a:lnTo>
                      <a:pt x="377" y="680"/>
                    </a:lnTo>
                    <a:lnTo>
                      <a:pt x="377" y="682"/>
                    </a:lnTo>
                    <a:lnTo>
                      <a:pt x="367" y="682"/>
                    </a:lnTo>
                    <a:lnTo>
                      <a:pt x="363" y="680"/>
                    </a:lnTo>
                    <a:lnTo>
                      <a:pt x="363" y="679"/>
                    </a:lnTo>
                    <a:lnTo>
                      <a:pt x="360" y="679"/>
                    </a:lnTo>
                    <a:lnTo>
                      <a:pt x="360" y="677"/>
                    </a:lnTo>
                    <a:lnTo>
                      <a:pt x="358" y="677"/>
                    </a:lnTo>
                    <a:lnTo>
                      <a:pt x="352" y="672"/>
                    </a:lnTo>
                    <a:lnTo>
                      <a:pt x="352" y="670"/>
                    </a:lnTo>
                    <a:lnTo>
                      <a:pt x="350" y="670"/>
                    </a:lnTo>
                    <a:lnTo>
                      <a:pt x="348" y="670"/>
                    </a:lnTo>
                    <a:lnTo>
                      <a:pt x="348" y="667"/>
                    </a:lnTo>
                    <a:lnTo>
                      <a:pt x="345" y="665"/>
                    </a:lnTo>
                    <a:lnTo>
                      <a:pt x="345" y="663"/>
                    </a:lnTo>
                    <a:lnTo>
                      <a:pt x="341" y="660"/>
                    </a:lnTo>
                    <a:lnTo>
                      <a:pt x="321" y="660"/>
                    </a:lnTo>
                    <a:lnTo>
                      <a:pt x="302" y="660"/>
                    </a:lnTo>
                    <a:lnTo>
                      <a:pt x="290" y="660"/>
                    </a:lnTo>
                    <a:lnTo>
                      <a:pt x="289" y="660"/>
                    </a:lnTo>
                    <a:lnTo>
                      <a:pt x="284" y="660"/>
                    </a:lnTo>
                    <a:lnTo>
                      <a:pt x="268" y="660"/>
                    </a:lnTo>
                    <a:lnTo>
                      <a:pt x="255" y="660"/>
                    </a:lnTo>
                    <a:lnTo>
                      <a:pt x="236" y="660"/>
                    </a:lnTo>
                    <a:lnTo>
                      <a:pt x="227" y="660"/>
                    </a:lnTo>
                    <a:lnTo>
                      <a:pt x="214" y="660"/>
                    </a:lnTo>
                    <a:lnTo>
                      <a:pt x="202" y="660"/>
                    </a:lnTo>
                    <a:lnTo>
                      <a:pt x="187" y="660"/>
                    </a:lnTo>
                    <a:lnTo>
                      <a:pt x="176" y="660"/>
                    </a:lnTo>
                    <a:lnTo>
                      <a:pt x="159" y="660"/>
                    </a:lnTo>
                    <a:lnTo>
                      <a:pt x="151" y="660"/>
                    </a:lnTo>
                    <a:lnTo>
                      <a:pt x="129" y="660"/>
                    </a:lnTo>
                    <a:lnTo>
                      <a:pt x="129" y="662"/>
                    </a:lnTo>
                    <a:lnTo>
                      <a:pt x="125" y="662"/>
                    </a:lnTo>
                    <a:lnTo>
                      <a:pt x="124" y="662"/>
                    </a:lnTo>
                    <a:lnTo>
                      <a:pt x="122" y="662"/>
                    </a:lnTo>
                    <a:lnTo>
                      <a:pt x="119" y="662"/>
                    </a:lnTo>
                    <a:lnTo>
                      <a:pt x="117" y="662"/>
                    </a:lnTo>
                    <a:lnTo>
                      <a:pt x="115" y="662"/>
                    </a:lnTo>
                    <a:lnTo>
                      <a:pt x="114" y="662"/>
                    </a:lnTo>
                    <a:lnTo>
                      <a:pt x="112" y="658"/>
                    </a:lnTo>
                    <a:lnTo>
                      <a:pt x="102" y="653"/>
                    </a:lnTo>
                    <a:lnTo>
                      <a:pt x="93" y="646"/>
                    </a:lnTo>
                    <a:lnTo>
                      <a:pt x="93" y="645"/>
                    </a:lnTo>
                    <a:lnTo>
                      <a:pt x="90" y="641"/>
                    </a:lnTo>
                    <a:lnTo>
                      <a:pt x="85" y="639"/>
                    </a:lnTo>
                    <a:lnTo>
                      <a:pt x="80" y="639"/>
                    </a:lnTo>
                    <a:lnTo>
                      <a:pt x="76" y="638"/>
                    </a:lnTo>
                    <a:lnTo>
                      <a:pt x="66" y="639"/>
                    </a:lnTo>
                    <a:lnTo>
                      <a:pt x="66" y="641"/>
                    </a:lnTo>
                    <a:lnTo>
                      <a:pt x="61" y="643"/>
                    </a:lnTo>
                    <a:lnTo>
                      <a:pt x="57" y="645"/>
                    </a:lnTo>
                    <a:lnTo>
                      <a:pt x="57" y="646"/>
                    </a:lnTo>
                    <a:lnTo>
                      <a:pt x="54" y="648"/>
                    </a:lnTo>
                    <a:lnTo>
                      <a:pt x="52" y="648"/>
                    </a:lnTo>
                    <a:lnTo>
                      <a:pt x="51" y="648"/>
                    </a:lnTo>
                    <a:lnTo>
                      <a:pt x="47" y="651"/>
                    </a:lnTo>
                    <a:lnTo>
                      <a:pt x="46" y="651"/>
                    </a:lnTo>
                    <a:lnTo>
                      <a:pt x="46" y="653"/>
                    </a:lnTo>
                    <a:lnTo>
                      <a:pt x="40" y="653"/>
                    </a:lnTo>
                    <a:lnTo>
                      <a:pt x="39" y="653"/>
                    </a:lnTo>
                    <a:lnTo>
                      <a:pt x="39" y="651"/>
                    </a:lnTo>
                    <a:lnTo>
                      <a:pt x="37" y="650"/>
                    </a:lnTo>
                    <a:lnTo>
                      <a:pt x="35" y="651"/>
                    </a:lnTo>
                    <a:lnTo>
                      <a:pt x="34" y="651"/>
                    </a:lnTo>
                    <a:lnTo>
                      <a:pt x="29" y="651"/>
                    </a:lnTo>
                    <a:lnTo>
                      <a:pt x="25" y="650"/>
                    </a:lnTo>
                    <a:lnTo>
                      <a:pt x="25" y="648"/>
                    </a:lnTo>
                    <a:lnTo>
                      <a:pt x="22" y="648"/>
                    </a:lnTo>
                    <a:lnTo>
                      <a:pt x="20" y="648"/>
                    </a:lnTo>
                    <a:lnTo>
                      <a:pt x="13" y="650"/>
                    </a:lnTo>
                    <a:lnTo>
                      <a:pt x="6" y="653"/>
                    </a:lnTo>
                    <a:lnTo>
                      <a:pt x="5" y="653"/>
                    </a:lnTo>
                    <a:lnTo>
                      <a:pt x="5" y="641"/>
                    </a:lnTo>
                    <a:lnTo>
                      <a:pt x="5" y="634"/>
                    </a:lnTo>
                    <a:lnTo>
                      <a:pt x="5" y="629"/>
                    </a:lnTo>
                    <a:lnTo>
                      <a:pt x="6" y="628"/>
                    </a:lnTo>
                    <a:lnTo>
                      <a:pt x="5" y="631"/>
                    </a:lnTo>
                    <a:lnTo>
                      <a:pt x="6" y="631"/>
                    </a:lnTo>
                    <a:lnTo>
                      <a:pt x="6" y="628"/>
                    </a:lnTo>
                    <a:lnTo>
                      <a:pt x="8" y="612"/>
                    </a:lnTo>
                    <a:lnTo>
                      <a:pt x="6" y="595"/>
                    </a:lnTo>
                    <a:lnTo>
                      <a:pt x="6" y="590"/>
                    </a:lnTo>
                    <a:lnTo>
                      <a:pt x="3" y="585"/>
                    </a:lnTo>
                    <a:lnTo>
                      <a:pt x="3" y="583"/>
                    </a:lnTo>
                    <a:lnTo>
                      <a:pt x="5" y="578"/>
                    </a:lnTo>
                    <a:lnTo>
                      <a:pt x="8" y="578"/>
                    </a:lnTo>
                    <a:lnTo>
                      <a:pt x="6" y="578"/>
                    </a:lnTo>
                    <a:lnTo>
                      <a:pt x="8" y="580"/>
                    </a:lnTo>
                    <a:lnTo>
                      <a:pt x="10" y="578"/>
                    </a:lnTo>
                    <a:lnTo>
                      <a:pt x="12" y="577"/>
                    </a:lnTo>
                    <a:lnTo>
                      <a:pt x="13" y="573"/>
                    </a:lnTo>
                    <a:lnTo>
                      <a:pt x="17" y="571"/>
                    </a:lnTo>
                    <a:lnTo>
                      <a:pt x="17" y="568"/>
                    </a:lnTo>
                    <a:lnTo>
                      <a:pt x="18" y="559"/>
                    </a:lnTo>
                    <a:lnTo>
                      <a:pt x="18" y="556"/>
                    </a:lnTo>
                    <a:lnTo>
                      <a:pt x="20" y="551"/>
                    </a:lnTo>
                    <a:lnTo>
                      <a:pt x="22" y="549"/>
                    </a:lnTo>
                    <a:lnTo>
                      <a:pt x="23" y="548"/>
                    </a:lnTo>
                    <a:lnTo>
                      <a:pt x="23" y="549"/>
                    </a:lnTo>
                    <a:lnTo>
                      <a:pt x="23" y="548"/>
                    </a:lnTo>
                    <a:lnTo>
                      <a:pt x="23" y="546"/>
                    </a:lnTo>
                    <a:lnTo>
                      <a:pt x="22" y="546"/>
                    </a:lnTo>
                    <a:lnTo>
                      <a:pt x="23" y="541"/>
                    </a:lnTo>
                    <a:lnTo>
                      <a:pt x="25" y="539"/>
                    </a:lnTo>
                    <a:lnTo>
                      <a:pt x="25" y="537"/>
                    </a:lnTo>
                    <a:lnTo>
                      <a:pt x="27" y="536"/>
                    </a:lnTo>
                    <a:lnTo>
                      <a:pt x="27" y="534"/>
                    </a:lnTo>
                    <a:lnTo>
                      <a:pt x="27" y="531"/>
                    </a:lnTo>
                    <a:lnTo>
                      <a:pt x="29" y="531"/>
                    </a:lnTo>
                    <a:lnTo>
                      <a:pt x="30" y="525"/>
                    </a:lnTo>
                    <a:lnTo>
                      <a:pt x="30" y="524"/>
                    </a:lnTo>
                    <a:lnTo>
                      <a:pt x="32" y="522"/>
                    </a:lnTo>
                    <a:lnTo>
                      <a:pt x="32" y="517"/>
                    </a:lnTo>
                    <a:lnTo>
                      <a:pt x="34" y="508"/>
                    </a:lnTo>
                    <a:lnTo>
                      <a:pt x="34" y="505"/>
                    </a:lnTo>
                    <a:lnTo>
                      <a:pt x="35" y="503"/>
                    </a:lnTo>
                    <a:lnTo>
                      <a:pt x="34" y="497"/>
                    </a:lnTo>
                    <a:lnTo>
                      <a:pt x="35" y="497"/>
                    </a:lnTo>
                    <a:lnTo>
                      <a:pt x="34" y="493"/>
                    </a:lnTo>
                    <a:lnTo>
                      <a:pt x="35" y="491"/>
                    </a:lnTo>
                    <a:lnTo>
                      <a:pt x="37" y="490"/>
                    </a:lnTo>
                    <a:lnTo>
                      <a:pt x="37" y="486"/>
                    </a:lnTo>
                    <a:lnTo>
                      <a:pt x="39" y="485"/>
                    </a:lnTo>
                    <a:lnTo>
                      <a:pt x="37" y="481"/>
                    </a:lnTo>
                    <a:lnTo>
                      <a:pt x="42" y="481"/>
                    </a:lnTo>
                    <a:lnTo>
                      <a:pt x="40" y="481"/>
                    </a:lnTo>
                    <a:lnTo>
                      <a:pt x="42" y="481"/>
                    </a:lnTo>
                    <a:lnTo>
                      <a:pt x="44" y="480"/>
                    </a:lnTo>
                    <a:lnTo>
                      <a:pt x="42" y="476"/>
                    </a:lnTo>
                    <a:lnTo>
                      <a:pt x="44" y="471"/>
                    </a:lnTo>
                    <a:lnTo>
                      <a:pt x="44" y="468"/>
                    </a:lnTo>
                    <a:lnTo>
                      <a:pt x="44" y="466"/>
                    </a:lnTo>
                    <a:lnTo>
                      <a:pt x="44" y="464"/>
                    </a:lnTo>
                    <a:lnTo>
                      <a:pt x="44" y="463"/>
                    </a:lnTo>
                    <a:lnTo>
                      <a:pt x="44" y="459"/>
                    </a:lnTo>
                    <a:lnTo>
                      <a:pt x="46" y="457"/>
                    </a:lnTo>
                    <a:lnTo>
                      <a:pt x="47" y="456"/>
                    </a:lnTo>
                    <a:lnTo>
                      <a:pt x="49" y="454"/>
                    </a:lnTo>
                    <a:lnTo>
                      <a:pt x="49" y="452"/>
                    </a:lnTo>
                    <a:lnTo>
                      <a:pt x="51" y="451"/>
                    </a:lnTo>
                    <a:lnTo>
                      <a:pt x="52" y="449"/>
                    </a:lnTo>
                    <a:lnTo>
                      <a:pt x="54" y="449"/>
                    </a:lnTo>
                    <a:lnTo>
                      <a:pt x="54" y="447"/>
                    </a:lnTo>
                    <a:lnTo>
                      <a:pt x="56" y="447"/>
                    </a:lnTo>
                    <a:lnTo>
                      <a:pt x="57" y="446"/>
                    </a:lnTo>
                    <a:lnTo>
                      <a:pt x="59" y="444"/>
                    </a:lnTo>
                    <a:lnTo>
                      <a:pt x="61" y="442"/>
                    </a:lnTo>
                    <a:lnTo>
                      <a:pt x="63" y="439"/>
                    </a:lnTo>
                    <a:lnTo>
                      <a:pt x="66" y="437"/>
                    </a:lnTo>
                    <a:lnTo>
                      <a:pt x="64" y="430"/>
                    </a:lnTo>
                    <a:lnTo>
                      <a:pt x="64" y="429"/>
                    </a:lnTo>
                    <a:lnTo>
                      <a:pt x="74" y="420"/>
                    </a:lnTo>
                    <a:lnTo>
                      <a:pt x="74" y="418"/>
                    </a:lnTo>
                    <a:lnTo>
                      <a:pt x="78" y="417"/>
                    </a:lnTo>
                    <a:lnTo>
                      <a:pt x="78" y="418"/>
                    </a:lnTo>
                    <a:lnTo>
                      <a:pt x="80" y="418"/>
                    </a:lnTo>
                    <a:lnTo>
                      <a:pt x="81" y="417"/>
                    </a:lnTo>
                    <a:lnTo>
                      <a:pt x="83" y="417"/>
                    </a:lnTo>
                    <a:lnTo>
                      <a:pt x="83" y="418"/>
                    </a:lnTo>
                    <a:lnTo>
                      <a:pt x="85" y="418"/>
                    </a:lnTo>
                    <a:lnTo>
                      <a:pt x="91" y="413"/>
                    </a:lnTo>
                    <a:lnTo>
                      <a:pt x="91" y="412"/>
                    </a:lnTo>
                    <a:lnTo>
                      <a:pt x="91" y="410"/>
                    </a:lnTo>
                    <a:lnTo>
                      <a:pt x="93" y="405"/>
                    </a:lnTo>
                    <a:lnTo>
                      <a:pt x="97" y="403"/>
                    </a:lnTo>
                    <a:lnTo>
                      <a:pt x="95" y="405"/>
                    </a:lnTo>
                    <a:lnTo>
                      <a:pt x="97" y="405"/>
                    </a:lnTo>
                    <a:lnTo>
                      <a:pt x="100" y="400"/>
                    </a:lnTo>
                    <a:lnTo>
                      <a:pt x="102" y="394"/>
                    </a:lnTo>
                    <a:lnTo>
                      <a:pt x="103" y="393"/>
                    </a:lnTo>
                    <a:lnTo>
                      <a:pt x="103" y="386"/>
                    </a:lnTo>
                    <a:lnTo>
                      <a:pt x="105" y="384"/>
                    </a:lnTo>
                    <a:lnTo>
                      <a:pt x="107" y="376"/>
                    </a:lnTo>
                    <a:lnTo>
                      <a:pt x="107" y="367"/>
                    </a:lnTo>
                    <a:lnTo>
                      <a:pt x="107" y="366"/>
                    </a:lnTo>
                    <a:lnTo>
                      <a:pt x="107" y="364"/>
                    </a:lnTo>
                    <a:lnTo>
                      <a:pt x="107" y="360"/>
                    </a:lnTo>
                    <a:lnTo>
                      <a:pt x="108" y="355"/>
                    </a:lnTo>
                    <a:lnTo>
                      <a:pt x="107" y="354"/>
                    </a:lnTo>
                    <a:lnTo>
                      <a:pt x="108" y="352"/>
                    </a:lnTo>
                    <a:lnTo>
                      <a:pt x="108" y="349"/>
                    </a:lnTo>
                    <a:lnTo>
                      <a:pt x="110" y="337"/>
                    </a:lnTo>
                    <a:lnTo>
                      <a:pt x="110" y="332"/>
                    </a:lnTo>
                    <a:lnTo>
                      <a:pt x="103" y="323"/>
                    </a:lnTo>
                    <a:lnTo>
                      <a:pt x="107" y="321"/>
                    </a:lnTo>
                    <a:lnTo>
                      <a:pt x="107" y="320"/>
                    </a:lnTo>
                    <a:lnTo>
                      <a:pt x="100" y="311"/>
                    </a:lnTo>
                    <a:lnTo>
                      <a:pt x="93" y="304"/>
                    </a:lnTo>
                    <a:lnTo>
                      <a:pt x="95" y="304"/>
                    </a:lnTo>
                    <a:lnTo>
                      <a:pt x="93" y="299"/>
                    </a:lnTo>
                    <a:lnTo>
                      <a:pt x="91" y="296"/>
                    </a:lnTo>
                    <a:lnTo>
                      <a:pt x="90" y="291"/>
                    </a:lnTo>
                    <a:lnTo>
                      <a:pt x="83" y="284"/>
                    </a:lnTo>
                    <a:lnTo>
                      <a:pt x="85" y="284"/>
                    </a:lnTo>
                    <a:lnTo>
                      <a:pt x="83" y="279"/>
                    </a:lnTo>
                    <a:lnTo>
                      <a:pt x="78" y="269"/>
                    </a:lnTo>
                    <a:lnTo>
                      <a:pt x="80" y="267"/>
                    </a:lnTo>
                    <a:lnTo>
                      <a:pt x="76" y="264"/>
                    </a:lnTo>
                    <a:lnTo>
                      <a:pt x="78" y="262"/>
                    </a:lnTo>
                    <a:lnTo>
                      <a:pt x="76" y="258"/>
                    </a:lnTo>
                    <a:lnTo>
                      <a:pt x="76" y="255"/>
                    </a:lnTo>
                    <a:lnTo>
                      <a:pt x="74" y="250"/>
                    </a:lnTo>
                    <a:lnTo>
                      <a:pt x="66" y="240"/>
                    </a:lnTo>
                    <a:lnTo>
                      <a:pt x="68" y="236"/>
                    </a:lnTo>
                    <a:lnTo>
                      <a:pt x="69" y="233"/>
                    </a:lnTo>
                    <a:lnTo>
                      <a:pt x="74" y="228"/>
                    </a:lnTo>
                    <a:lnTo>
                      <a:pt x="76" y="228"/>
                    </a:lnTo>
                    <a:lnTo>
                      <a:pt x="74" y="228"/>
                    </a:lnTo>
                    <a:lnTo>
                      <a:pt x="74" y="229"/>
                    </a:lnTo>
                    <a:lnTo>
                      <a:pt x="69" y="235"/>
                    </a:lnTo>
                    <a:lnTo>
                      <a:pt x="68" y="236"/>
                    </a:lnTo>
                    <a:lnTo>
                      <a:pt x="68" y="238"/>
                    </a:lnTo>
                    <a:lnTo>
                      <a:pt x="68" y="240"/>
                    </a:lnTo>
                    <a:lnTo>
                      <a:pt x="73" y="233"/>
                    </a:lnTo>
                    <a:lnTo>
                      <a:pt x="74" y="233"/>
                    </a:lnTo>
                    <a:lnTo>
                      <a:pt x="74" y="229"/>
                    </a:lnTo>
                    <a:lnTo>
                      <a:pt x="78" y="228"/>
                    </a:lnTo>
                    <a:lnTo>
                      <a:pt x="78" y="226"/>
                    </a:lnTo>
                    <a:lnTo>
                      <a:pt x="78" y="224"/>
                    </a:lnTo>
                    <a:lnTo>
                      <a:pt x="78" y="226"/>
                    </a:lnTo>
                    <a:lnTo>
                      <a:pt x="78" y="224"/>
                    </a:lnTo>
                    <a:lnTo>
                      <a:pt x="80" y="224"/>
                    </a:lnTo>
                    <a:lnTo>
                      <a:pt x="81" y="223"/>
                    </a:lnTo>
                    <a:lnTo>
                      <a:pt x="78" y="224"/>
                    </a:lnTo>
                    <a:lnTo>
                      <a:pt x="80" y="224"/>
                    </a:lnTo>
                    <a:lnTo>
                      <a:pt x="81" y="224"/>
                    </a:lnTo>
                    <a:lnTo>
                      <a:pt x="83" y="223"/>
                    </a:lnTo>
                    <a:lnTo>
                      <a:pt x="86" y="223"/>
                    </a:lnTo>
                    <a:lnTo>
                      <a:pt x="88" y="218"/>
                    </a:lnTo>
                    <a:lnTo>
                      <a:pt x="86" y="214"/>
                    </a:lnTo>
                    <a:lnTo>
                      <a:pt x="85" y="207"/>
                    </a:lnTo>
                    <a:lnTo>
                      <a:pt x="86" y="207"/>
                    </a:lnTo>
                    <a:lnTo>
                      <a:pt x="86" y="204"/>
                    </a:lnTo>
                    <a:lnTo>
                      <a:pt x="85" y="201"/>
                    </a:lnTo>
                    <a:lnTo>
                      <a:pt x="81" y="192"/>
                    </a:lnTo>
                    <a:lnTo>
                      <a:pt x="80" y="190"/>
                    </a:lnTo>
                    <a:lnTo>
                      <a:pt x="78" y="187"/>
                    </a:lnTo>
                    <a:lnTo>
                      <a:pt x="76" y="184"/>
                    </a:lnTo>
                    <a:lnTo>
                      <a:pt x="74" y="182"/>
                    </a:lnTo>
                    <a:lnTo>
                      <a:pt x="74" y="180"/>
                    </a:lnTo>
                    <a:lnTo>
                      <a:pt x="73" y="175"/>
                    </a:lnTo>
                    <a:lnTo>
                      <a:pt x="71" y="173"/>
                    </a:lnTo>
                    <a:lnTo>
                      <a:pt x="69" y="170"/>
                    </a:lnTo>
                    <a:lnTo>
                      <a:pt x="68" y="163"/>
                    </a:lnTo>
                    <a:lnTo>
                      <a:pt x="64" y="155"/>
                    </a:lnTo>
                    <a:lnTo>
                      <a:pt x="63" y="150"/>
                    </a:lnTo>
                    <a:lnTo>
                      <a:pt x="59" y="148"/>
                    </a:lnTo>
                    <a:lnTo>
                      <a:pt x="59" y="139"/>
                    </a:lnTo>
                    <a:lnTo>
                      <a:pt x="59" y="133"/>
                    </a:lnTo>
                    <a:lnTo>
                      <a:pt x="54" y="127"/>
                    </a:lnTo>
                    <a:lnTo>
                      <a:pt x="46" y="116"/>
                    </a:lnTo>
                    <a:lnTo>
                      <a:pt x="37" y="99"/>
                    </a:lnTo>
                    <a:lnTo>
                      <a:pt x="30" y="92"/>
                    </a:lnTo>
                    <a:lnTo>
                      <a:pt x="32" y="92"/>
                    </a:lnTo>
                    <a:lnTo>
                      <a:pt x="32" y="90"/>
                    </a:lnTo>
                    <a:lnTo>
                      <a:pt x="34" y="90"/>
                    </a:lnTo>
                    <a:lnTo>
                      <a:pt x="34" y="88"/>
                    </a:lnTo>
                    <a:lnTo>
                      <a:pt x="35" y="90"/>
                    </a:lnTo>
                    <a:lnTo>
                      <a:pt x="35" y="88"/>
                    </a:lnTo>
                    <a:lnTo>
                      <a:pt x="39" y="88"/>
                    </a:lnTo>
                    <a:lnTo>
                      <a:pt x="40" y="88"/>
                    </a:lnTo>
                    <a:lnTo>
                      <a:pt x="40" y="87"/>
                    </a:lnTo>
                    <a:lnTo>
                      <a:pt x="42" y="88"/>
                    </a:lnTo>
                    <a:lnTo>
                      <a:pt x="42" y="87"/>
                    </a:lnTo>
                    <a:lnTo>
                      <a:pt x="46" y="87"/>
                    </a:lnTo>
                    <a:lnTo>
                      <a:pt x="46" y="85"/>
                    </a:lnTo>
                    <a:lnTo>
                      <a:pt x="49" y="87"/>
                    </a:lnTo>
                    <a:lnTo>
                      <a:pt x="51" y="85"/>
                    </a:lnTo>
                    <a:lnTo>
                      <a:pt x="54" y="85"/>
                    </a:lnTo>
                    <a:lnTo>
                      <a:pt x="56" y="85"/>
                    </a:lnTo>
                    <a:lnTo>
                      <a:pt x="57" y="83"/>
                    </a:lnTo>
                    <a:lnTo>
                      <a:pt x="59" y="85"/>
                    </a:lnTo>
                    <a:lnTo>
                      <a:pt x="61" y="83"/>
                    </a:lnTo>
                    <a:lnTo>
                      <a:pt x="63" y="83"/>
                    </a:lnTo>
                    <a:lnTo>
                      <a:pt x="64" y="81"/>
                    </a:lnTo>
                    <a:lnTo>
                      <a:pt x="66" y="80"/>
                    </a:lnTo>
                    <a:lnTo>
                      <a:pt x="66" y="78"/>
                    </a:lnTo>
                    <a:lnTo>
                      <a:pt x="68" y="78"/>
                    </a:lnTo>
                    <a:lnTo>
                      <a:pt x="69" y="78"/>
                    </a:lnTo>
                    <a:lnTo>
                      <a:pt x="73" y="76"/>
                    </a:lnTo>
                    <a:lnTo>
                      <a:pt x="73" y="78"/>
                    </a:lnTo>
                    <a:lnTo>
                      <a:pt x="74" y="76"/>
                    </a:lnTo>
                    <a:lnTo>
                      <a:pt x="80" y="76"/>
                    </a:lnTo>
                    <a:lnTo>
                      <a:pt x="85" y="78"/>
                    </a:lnTo>
                    <a:lnTo>
                      <a:pt x="86" y="76"/>
                    </a:lnTo>
                    <a:lnTo>
                      <a:pt x="88" y="75"/>
                    </a:lnTo>
                    <a:lnTo>
                      <a:pt x="93" y="76"/>
                    </a:lnTo>
                    <a:lnTo>
                      <a:pt x="95" y="76"/>
                    </a:lnTo>
                    <a:lnTo>
                      <a:pt x="97" y="76"/>
                    </a:lnTo>
                    <a:lnTo>
                      <a:pt x="107" y="76"/>
                    </a:lnTo>
                    <a:lnTo>
                      <a:pt x="115" y="75"/>
                    </a:lnTo>
                    <a:lnTo>
                      <a:pt x="119" y="75"/>
                    </a:lnTo>
                    <a:lnTo>
                      <a:pt x="120" y="75"/>
                    </a:lnTo>
                    <a:lnTo>
                      <a:pt x="124" y="75"/>
                    </a:lnTo>
                    <a:lnTo>
                      <a:pt x="127" y="75"/>
                    </a:lnTo>
                    <a:lnTo>
                      <a:pt x="129" y="76"/>
                    </a:lnTo>
                    <a:lnTo>
                      <a:pt x="131" y="76"/>
                    </a:lnTo>
                    <a:lnTo>
                      <a:pt x="132" y="75"/>
                    </a:lnTo>
                    <a:lnTo>
                      <a:pt x="134" y="76"/>
                    </a:lnTo>
                    <a:lnTo>
                      <a:pt x="136" y="76"/>
                    </a:lnTo>
                    <a:lnTo>
                      <a:pt x="141" y="78"/>
                    </a:lnTo>
                    <a:lnTo>
                      <a:pt x="142" y="76"/>
                    </a:lnTo>
                    <a:lnTo>
                      <a:pt x="149" y="78"/>
                    </a:lnTo>
                    <a:lnTo>
                      <a:pt x="153" y="76"/>
                    </a:lnTo>
                    <a:lnTo>
                      <a:pt x="166" y="76"/>
                    </a:lnTo>
                    <a:lnTo>
                      <a:pt x="178" y="76"/>
                    </a:lnTo>
                    <a:lnTo>
                      <a:pt x="190" y="76"/>
                    </a:lnTo>
                    <a:lnTo>
                      <a:pt x="202" y="75"/>
                    </a:lnTo>
                    <a:lnTo>
                      <a:pt x="210" y="76"/>
                    </a:lnTo>
                    <a:lnTo>
                      <a:pt x="227" y="76"/>
                    </a:lnTo>
                    <a:lnTo>
                      <a:pt x="236" y="76"/>
                    </a:lnTo>
                    <a:lnTo>
                      <a:pt x="238" y="75"/>
                    </a:lnTo>
                    <a:lnTo>
                      <a:pt x="241" y="76"/>
                    </a:lnTo>
                    <a:lnTo>
                      <a:pt x="244" y="75"/>
                    </a:lnTo>
                    <a:lnTo>
                      <a:pt x="248" y="76"/>
                    </a:lnTo>
                    <a:lnTo>
                      <a:pt x="248" y="80"/>
                    </a:lnTo>
                    <a:lnTo>
                      <a:pt x="250" y="80"/>
                    </a:lnTo>
                    <a:lnTo>
                      <a:pt x="250" y="81"/>
                    </a:lnTo>
                    <a:lnTo>
                      <a:pt x="250" y="85"/>
                    </a:lnTo>
                    <a:lnTo>
                      <a:pt x="251" y="85"/>
                    </a:lnTo>
                    <a:lnTo>
                      <a:pt x="250" y="85"/>
                    </a:lnTo>
                    <a:lnTo>
                      <a:pt x="251" y="87"/>
                    </a:lnTo>
                    <a:lnTo>
                      <a:pt x="251" y="88"/>
                    </a:lnTo>
                    <a:lnTo>
                      <a:pt x="253" y="87"/>
                    </a:lnTo>
                    <a:lnTo>
                      <a:pt x="253" y="88"/>
                    </a:lnTo>
                    <a:lnTo>
                      <a:pt x="255" y="88"/>
                    </a:lnTo>
                    <a:lnTo>
                      <a:pt x="256" y="92"/>
                    </a:lnTo>
                    <a:lnTo>
                      <a:pt x="255" y="93"/>
                    </a:lnTo>
                    <a:lnTo>
                      <a:pt x="255" y="99"/>
                    </a:lnTo>
                    <a:lnTo>
                      <a:pt x="255" y="100"/>
                    </a:lnTo>
                    <a:lnTo>
                      <a:pt x="253" y="100"/>
                    </a:lnTo>
                    <a:lnTo>
                      <a:pt x="255" y="100"/>
                    </a:lnTo>
                    <a:lnTo>
                      <a:pt x="253" y="102"/>
                    </a:lnTo>
                    <a:lnTo>
                      <a:pt x="256" y="104"/>
                    </a:lnTo>
                    <a:lnTo>
                      <a:pt x="255" y="104"/>
                    </a:lnTo>
                    <a:lnTo>
                      <a:pt x="256" y="105"/>
                    </a:lnTo>
                    <a:lnTo>
                      <a:pt x="255" y="107"/>
                    </a:lnTo>
                    <a:lnTo>
                      <a:pt x="256" y="109"/>
                    </a:lnTo>
                    <a:lnTo>
                      <a:pt x="256" y="112"/>
                    </a:lnTo>
                    <a:lnTo>
                      <a:pt x="258" y="114"/>
                    </a:lnTo>
                    <a:lnTo>
                      <a:pt x="258" y="119"/>
                    </a:lnTo>
                    <a:lnTo>
                      <a:pt x="260" y="119"/>
                    </a:lnTo>
                    <a:lnTo>
                      <a:pt x="260" y="122"/>
                    </a:lnTo>
                    <a:lnTo>
                      <a:pt x="261" y="124"/>
                    </a:lnTo>
                    <a:lnTo>
                      <a:pt x="261" y="127"/>
                    </a:lnTo>
                    <a:lnTo>
                      <a:pt x="263" y="127"/>
                    </a:lnTo>
                    <a:lnTo>
                      <a:pt x="265" y="129"/>
                    </a:lnTo>
                    <a:lnTo>
                      <a:pt x="265" y="134"/>
                    </a:lnTo>
                    <a:lnTo>
                      <a:pt x="267" y="134"/>
                    </a:lnTo>
                    <a:lnTo>
                      <a:pt x="267" y="136"/>
                    </a:lnTo>
                    <a:lnTo>
                      <a:pt x="268" y="136"/>
                    </a:lnTo>
                    <a:lnTo>
                      <a:pt x="267" y="139"/>
                    </a:lnTo>
                    <a:lnTo>
                      <a:pt x="265" y="138"/>
                    </a:lnTo>
                    <a:lnTo>
                      <a:pt x="267" y="143"/>
                    </a:lnTo>
                    <a:lnTo>
                      <a:pt x="267" y="144"/>
                    </a:lnTo>
                    <a:lnTo>
                      <a:pt x="268" y="146"/>
                    </a:lnTo>
                    <a:lnTo>
                      <a:pt x="268" y="148"/>
                    </a:lnTo>
                    <a:lnTo>
                      <a:pt x="272" y="148"/>
                    </a:lnTo>
                    <a:lnTo>
                      <a:pt x="272" y="150"/>
                    </a:lnTo>
                    <a:lnTo>
                      <a:pt x="275" y="151"/>
                    </a:lnTo>
                    <a:lnTo>
                      <a:pt x="275" y="155"/>
                    </a:lnTo>
                    <a:lnTo>
                      <a:pt x="277" y="155"/>
                    </a:lnTo>
                    <a:lnTo>
                      <a:pt x="277" y="153"/>
                    </a:lnTo>
                    <a:lnTo>
                      <a:pt x="278" y="155"/>
                    </a:lnTo>
                    <a:lnTo>
                      <a:pt x="277" y="156"/>
                    </a:lnTo>
                    <a:lnTo>
                      <a:pt x="280" y="158"/>
                    </a:lnTo>
                    <a:lnTo>
                      <a:pt x="280" y="160"/>
                    </a:lnTo>
                    <a:lnTo>
                      <a:pt x="280" y="163"/>
                    </a:lnTo>
                    <a:lnTo>
                      <a:pt x="282" y="163"/>
                    </a:lnTo>
                    <a:lnTo>
                      <a:pt x="285" y="165"/>
                    </a:lnTo>
                    <a:lnTo>
                      <a:pt x="285" y="168"/>
                    </a:lnTo>
                    <a:lnTo>
                      <a:pt x="284" y="168"/>
                    </a:lnTo>
                    <a:lnTo>
                      <a:pt x="287" y="170"/>
                    </a:lnTo>
                    <a:lnTo>
                      <a:pt x="285" y="172"/>
                    </a:lnTo>
                    <a:lnTo>
                      <a:pt x="287" y="172"/>
                    </a:lnTo>
                    <a:lnTo>
                      <a:pt x="287" y="173"/>
                    </a:lnTo>
                    <a:lnTo>
                      <a:pt x="289" y="173"/>
                    </a:lnTo>
                    <a:lnTo>
                      <a:pt x="289" y="175"/>
                    </a:lnTo>
                    <a:lnTo>
                      <a:pt x="290" y="175"/>
                    </a:lnTo>
                    <a:lnTo>
                      <a:pt x="289" y="175"/>
                    </a:lnTo>
                    <a:lnTo>
                      <a:pt x="290" y="175"/>
                    </a:lnTo>
                    <a:lnTo>
                      <a:pt x="290" y="177"/>
                    </a:lnTo>
                    <a:lnTo>
                      <a:pt x="292" y="177"/>
                    </a:lnTo>
                    <a:lnTo>
                      <a:pt x="292" y="180"/>
                    </a:lnTo>
                    <a:lnTo>
                      <a:pt x="294" y="182"/>
                    </a:lnTo>
                    <a:lnTo>
                      <a:pt x="294" y="184"/>
                    </a:lnTo>
                    <a:lnTo>
                      <a:pt x="295" y="184"/>
                    </a:lnTo>
                    <a:lnTo>
                      <a:pt x="297" y="187"/>
                    </a:lnTo>
                    <a:lnTo>
                      <a:pt x="295" y="187"/>
                    </a:lnTo>
                    <a:lnTo>
                      <a:pt x="295" y="189"/>
                    </a:lnTo>
                    <a:lnTo>
                      <a:pt x="299" y="190"/>
                    </a:lnTo>
                    <a:lnTo>
                      <a:pt x="301" y="190"/>
                    </a:lnTo>
                    <a:lnTo>
                      <a:pt x="306" y="189"/>
                    </a:lnTo>
                    <a:lnTo>
                      <a:pt x="311" y="190"/>
                    </a:lnTo>
                    <a:lnTo>
                      <a:pt x="314" y="189"/>
                    </a:lnTo>
                    <a:lnTo>
                      <a:pt x="319" y="189"/>
                    </a:lnTo>
                    <a:lnTo>
                      <a:pt x="326" y="189"/>
                    </a:lnTo>
                    <a:lnTo>
                      <a:pt x="324" y="187"/>
                    </a:lnTo>
                    <a:lnTo>
                      <a:pt x="326" y="185"/>
                    </a:lnTo>
                    <a:lnTo>
                      <a:pt x="328" y="185"/>
                    </a:lnTo>
                    <a:lnTo>
                      <a:pt x="329" y="184"/>
                    </a:lnTo>
                    <a:lnTo>
                      <a:pt x="331" y="182"/>
                    </a:lnTo>
                    <a:lnTo>
                      <a:pt x="335" y="184"/>
                    </a:lnTo>
                    <a:lnTo>
                      <a:pt x="336" y="185"/>
                    </a:lnTo>
                    <a:lnTo>
                      <a:pt x="338" y="185"/>
                    </a:lnTo>
                    <a:lnTo>
                      <a:pt x="341" y="184"/>
                    </a:lnTo>
                    <a:lnTo>
                      <a:pt x="346" y="184"/>
                    </a:lnTo>
                    <a:lnTo>
                      <a:pt x="348" y="180"/>
                    </a:lnTo>
                    <a:lnTo>
                      <a:pt x="360" y="180"/>
                    </a:lnTo>
                    <a:lnTo>
                      <a:pt x="360" y="182"/>
                    </a:lnTo>
                    <a:lnTo>
                      <a:pt x="360" y="184"/>
                    </a:lnTo>
                    <a:lnTo>
                      <a:pt x="391" y="184"/>
                    </a:lnTo>
                    <a:lnTo>
                      <a:pt x="389" y="182"/>
                    </a:lnTo>
                    <a:lnTo>
                      <a:pt x="389" y="180"/>
                    </a:lnTo>
                    <a:lnTo>
                      <a:pt x="389" y="178"/>
                    </a:lnTo>
                    <a:lnTo>
                      <a:pt x="389" y="177"/>
                    </a:lnTo>
                    <a:lnTo>
                      <a:pt x="389" y="175"/>
                    </a:lnTo>
                    <a:lnTo>
                      <a:pt x="391" y="173"/>
                    </a:lnTo>
                    <a:lnTo>
                      <a:pt x="392" y="168"/>
                    </a:lnTo>
                    <a:lnTo>
                      <a:pt x="389" y="163"/>
                    </a:lnTo>
                    <a:lnTo>
                      <a:pt x="391" y="163"/>
                    </a:lnTo>
                    <a:lnTo>
                      <a:pt x="396" y="163"/>
                    </a:lnTo>
                    <a:lnTo>
                      <a:pt x="396" y="160"/>
                    </a:lnTo>
                    <a:lnTo>
                      <a:pt x="396" y="158"/>
                    </a:lnTo>
                    <a:lnTo>
                      <a:pt x="397" y="156"/>
                    </a:lnTo>
                    <a:lnTo>
                      <a:pt x="397" y="155"/>
                    </a:lnTo>
                    <a:lnTo>
                      <a:pt x="397" y="153"/>
                    </a:lnTo>
                    <a:lnTo>
                      <a:pt x="396" y="153"/>
                    </a:lnTo>
                    <a:lnTo>
                      <a:pt x="396" y="151"/>
                    </a:lnTo>
                    <a:lnTo>
                      <a:pt x="396" y="150"/>
                    </a:lnTo>
                    <a:lnTo>
                      <a:pt x="397" y="146"/>
                    </a:lnTo>
                    <a:lnTo>
                      <a:pt x="396" y="141"/>
                    </a:lnTo>
                    <a:lnTo>
                      <a:pt x="399" y="136"/>
                    </a:lnTo>
                    <a:lnTo>
                      <a:pt x="399" y="133"/>
                    </a:lnTo>
                    <a:lnTo>
                      <a:pt x="420" y="133"/>
                    </a:lnTo>
                    <a:lnTo>
                      <a:pt x="437" y="133"/>
                    </a:lnTo>
                    <a:lnTo>
                      <a:pt x="438" y="129"/>
                    </a:lnTo>
                    <a:lnTo>
                      <a:pt x="454" y="129"/>
                    </a:lnTo>
                    <a:lnTo>
                      <a:pt x="452" y="136"/>
                    </a:lnTo>
                    <a:lnTo>
                      <a:pt x="448" y="141"/>
                    </a:lnTo>
                    <a:lnTo>
                      <a:pt x="450" y="141"/>
                    </a:lnTo>
                    <a:lnTo>
                      <a:pt x="450" y="144"/>
                    </a:lnTo>
                    <a:lnTo>
                      <a:pt x="450" y="148"/>
                    </a:lnTo>
                    <a:lnTo>
                      <a:pt x="464" y="148"/>
                    </a:lnTo>
                    <a:lnTo>
                      <a:pt x="472" y="148"/>
                    </a:lnTo>
                    <a:lnTo>
                      <a:pt x="488" y="148"/>
                    </a:lnTo>
                    <a:lnTo>
                      <a:pt x="513" y="148"/>
                    </a:lnTo>
                    <a:lnTo>
                      <a:pt x="513" y="150"/>
                    </a:lnTo>
                    <a:lnTo>
                      <a:pt x="515" y="150"/>
                    </a:lnTo>
                    <a:lnTo>
                      <a:pt x="515" y="153"/>
                    </a:lnTo>
                    <a:lnTo>
                      <a:pt x="515" y="155"/>
                    </a:lnTo>
                    <a:lnTo>
                      <a:pt x="516" y="155"/>
                    </a:lnTo>
                    <a:lnTo>
                      <a:pt x="515" y="156"/>
                    </a:lnTo>
                    <a:lnTo>
                      <a:pt x="516" y="158"/>
                    </a:lnTo>
                    <a:lnTo>
                      <a:pt x="515" y="160"/>
                    </a:lnTo>
                    <a:lnTo>
                      <a:pt x="516" y="161"/>
                    </a:lnTo>
                    <a:lnTo>
                      <a:pt x="515" y="163"/>
                    </a:lnTo>
                    <a:lnTo>
                      <a:pt x="515" y="165"/>
                    </a:lnTo>
                    <a:lnTo>
                      <a:pt x="515" y="167"/>
                    </a:lnTo>
                    <a:lnTo>
                      <a:pt x="513" y="167"/>
                    </a:lnTo>
                    <a:lnTo>
                      <a:pt x="513" y="170"/>
                    </a:lnTo>
                    <a:lnTo>
                      <a:pt x="511" y="173"/>
                    </a:lnTo>
                    <a:lnTo>
                      <a:pt x="511" y="178"/>
                    </a:lnTo>
                    <a:lnTo>
                      <a:pt x="510" y="180"/>
                    </a:lnTo>
                    <a:lnTo>
                      <a:pt x="511" y="182"/>
                    </a:lnTo>
                    <a:lnTo>
                      <a:pt x="511" y="185"/>
                    </a:lnTo>
                    <a:lnTo>
                      <a:pt x="513" y="187"/>
                    </a:lnTo>
                    <a:lnTo>
                      <a:pt x="515" y="190"/>
                    </a:lnTo>
                    <a:lnTo>
                      <a:pt x="516" y="194"/>
                    </a:lnTo>
                    <a:lnTo>
                      <a:pt x="518" y="199"/>
                    </a:lnTo>
                    <a:lnTo>
                      <a:pt x="520" y="199"/>
                    </a:lnTo>
                    <a:lnTo>
                      <a:pt x="520" y="201"/>
                    </a:lnTo>
                    <a:lnTo>
                      <a:pt x="518" y="202"/>
                    </a:lnTo>
                    <a:lnTo>
                      <a:pt x="518" y="204"/>
                    </a:lnTo>
                    <a:lnTo>
                      <a:pt x="520" y="206"/>
                    </a:lnTo>
                    <a:lnTo>
                      <a:pt x="520" y="209"/>
                    </a:lnTo>
                    <a:lnTo>
                      <a:pt x="520" y="211"/>
                    </a:lnTo>
                    <a:lnTo>
                      <a:pt x="520" y="212"/>
                    </a:lnTo>
                    <a:lnTo>
                      <a:pt x="518" y="214"/>
                    </a:lnTo>
                    <a:lnTo>
                      <a:pt x="520" y="214"/>
                    </a:lnTo>
                    <a:lnTo>
                      <a:pt x="518" y="216"/>
                    </a:lnTo>
                    <a:lnTo>
                      <a:pt x="518" y="218"/>
                    </a:lnTo>
                    <a:lnTo>
                      <a:pt x="518" y="219"/>
                    </a:lnTo>
                    <a:lnTo>
                      <a:pt x="518" y="224"/>
                    </a:lnTo>
                    <a:lnTo>
                      <a:pt x="516" y="228"/>
                    </a:lnTo>
                    <a:lnTo>
                      <a:pt x="515" y="229"/>
                    </a:lnTo>
                    <a:lnTo>
                      <a:pt x="515" y="236"/>
                    </a:lnTo>
                    <a:lnTo>
                      <a:pt x="515" y="238"/>
                    </a:lnTo>
                    <a:lnTo>
                      <a:pt x="515" y="240"/>
                    </a:lnTo>
                    <a:lnTo>
                      <a:pt x="516" y="243"/>
                    </a:lnTo>
                    <a:lnTo>
                      <a:pt x="516" y="247"/>
                    </a:lnTo>
                    <a:lnTo>
                      <a:pt x="513" y="252"/>
                    </a:lnTo>
                    <a:lnTo>
                      <a:pt x="513" y="253"/>
                    </a:lnTo>
                    <a:lnTo>
                      <a:pt x="513" y="255"/>
                    </a:lnTo>
                    <a:lnTo>
                      <a:pt x="515" y="258"/>
                    </a:lnTo>
                    <a:lnTo>
                      <a:pt x="515" y="260"/>
                    </a:lnTo>
                    <a:lnTo>
                      <a:pt x="516" y="264"/>
                    </a:lnTo>
                    <a:lnTo>
                      <a:pt x="516" y="267"/>
                    </a:lnTo>
                    <a:lnTo>
                      <a:pt x="520" y="269"/>
                    </a:lnTo>
                    <a:lnTo>
                      <a:pt x="520" y="270"/>
                    </a:lnTo>
                    <a:lnTo>
                      <a:pt x="522" y="272"/>
                    </a:lnTo>
                    <a:lnTo>
                      <a:pt x="522" y="274"/>
                    </a:lnTo>
                    <a:lnTo>
                      <a:pt x="523" y="272"/>
                    </a:lnTo>
                    <a:lnTo>
                      <a:pt x="523" y="275"/>
                    </a:lnTo>
                    <a:lnTo>
                      <a:pt x="525" y="277"/>
                    </a:lnTo>
                    <a:lnTo>
                      <a:pt x="527" y="279"/>
                    </a:lnTo>
                    <a:lnTo>
                      <a:pt x="528" y="279"/>
                    </a:lnTo>
                    <a:lnTo>
                      <a:pt x="532" y="281"/>
                    </a:lnTo>
                    <a:lnTo>
                      <a:pt x="533" y="286"/>
                    </a:lnTo>
                    <a:lnTo>
                      <a:pt x="533" y="294"/>
                    </a:lnTo>
                    <a:lnTo>
                      <a:pt x="539" y="304"/>
                    </a:lnTo>
                    <a:lnTo>
                      <a:pt x="537" y="311"/>
                    </a:lnTo>
                    <a:lnTo>
                      <a:pt x="539" y="313"/>
                    </a:lnTo>
                    <a:lnTo>
                      <a:pt x="539" y="318"/>
                    </a:lnTo>
                    <a:lnTo>
                      <a:pt x="539" y="320"/>
                    </a:lnTo>
                    <a:lnTo>
                      <a:pt x="540" y="323"/>
                    </a:lnTo>
                    <a:lnTo>
                      <a:pt x="539" y="325"/>
                    </a:lnTo>
                    <a:lnTo>
                      <a:pt x="537" y="325"/>
                    </a:lnTo>
                    <a:lnTo>
                      <a:pt x="533" y="326"/>
                    </a:lnTo>
                    <a:lnTo>
                      <a:pt x="532" y="330"/>
                    </a:lnTo>
                    <a:lnTo>
                      <a:pt x="533" y="333"/>
                    </a:lnTo>
                    <a:lnTo>
                      <a:pt x="533" y="342"/>
                    </a:lnTo>
                    <a:lnTo>
                      <a:pt x="535" y="343"/>
                    </a:lnTo>
                    <a:lnTo>
                      <a:pt x="537" y="345"/>
                    </a:lnTo>
                    <a:lnTo>
                      <a:pt x="535" y="349"/>
                    </a:lnTo>
                    <a:lnTo>
                      <a:pt x="539" y="349"/>
                    </a:lnTo>
                    <a:lnTo>
                      <a:pt x="540" y="345"/>
                    </a:lnTo>
                    <a:lnTo>
                      <a:pt x="545" y="345"/>
                    </a:lnTo>
                    <a:lnTo>
                      <a:pt x="549" y="342"/>
                    </a:lnTo>
                    <a:lnTo>
                      <a:pt x="547" y="338"/>
                    </a:lnTo>
                    <a:lnTo>
                      <a:pt x="549" y="338"/>
                    </a:lnTo>
                    <a:lnTo>
                      <a:pt x="554" y="338"/>
                    </a:lnTo>
                    <a:lnTo>
                      <a:pt x="557" y="340"/>
                    </a:lnTo>
                    <a:lnTo>
                      <a:pt x="559" y="342"/>
                    </a:lnTo>
                    <a:lnTo>
                      <a:pt x="562" y="342"/>
                    </a:lnTo>
                    <a:lnTo>
                      <a:pt x="567" y="338"/>
                    </a:lnTo>
                    <a:lnTo>
                      <a:pt x="569" y="340"/>
                    </a:lnTo>
                    <a:lnTo>
                      <a:pt x="576" y="340"/>
                    </a:lnTo>
                    <a:lnTo>
                      <a:pt x="578" y="342"/>
                    </a:lnTo>
                    <a:lnTo>
                      <a:pt x="581" y="340"/>
                    </a:lnTo>
                    <a:lnTo>
                      <a:pt x="583" y="342"/>
                    </a:lnTo>
                    <a:lnTo>
                      <a:pt x="593" y="333"/>
                    </a:lnTo>
                    <a:lnTo>
                      <a:pt x="598" y="333"/>
                    </a:lnTo>
                    <a:lnTo>
                      <a:pt x="600" y="333"/>
                    </a:lnTo>
                    <a:lnTo>
                      <a:pt x="603" y="335"/>
                    </a:lnTo>
                    <a:lnTo>
                      <a:pt x="607" y="335"/>
                    </a:lnTo>
                    <a:lnTo>
                      <a:pt x="607" y="337"/>
                    </a:lnTo>
                    <a:lnTo>
                      <a:pt x="612" y="335"/>
                    </a:lnTo>
                    <a:lnTo>
                      <a:pt x="617" y="338"/>
                    </a:lnTo>
                    <a:lnTo>
                      <a:pt x="618" y="335"/>
                    </a:lnTo>
                    <a:lnTo>
                      <a:pt x="622" y="333"/>
                    </a:lnTo>
                    <a:lnTo>
                      <a:pt x="624" y="330"/>
                    </a:lnTo>
                    <a:close/>
                    <a:moveTo>
                      <a:pt x="73" y="13"/>
                    </a:moveTo>
                    <a:lnTo>
                      <a:pt x="73" y="15"/>
                    </a:lnTo>
                    <a:lnTo>
                      <a:pt x="73" y="17"/>
                    </a:lnTo>
                    <a:lnTo>
                      <a:pt x="69" y="15"/>
                    </a:lnTo>
                    <a:lnTo>
                      <a:pt x="69" y="17"/>
                    </a:lnTo>
                    <a:lnTo>
                      <a:pt x="66" y="17"/>
                    </a:lnTo>
                    <a:lnTo>
                      <a:pt x="64" y="19"/>
                    </a:lnTo>
                    <a:lnTo>
                      <a:pt x="63" y="19"/>
                    </a:lnTo>
                    <a:lnTo>
                      <a:pt x="61" y="19"/>
                    </a:lnTo>
                    <a:lnTo>
                      <a:pt x="61" y="20"/>
                    </a:lnTo>
                    <a:lnTo>
                      <a:pt x="59" y="19"/>
                    </a:lnTo>
                    <a:lnTo>
                      <a:pt x="57" y="24"/>
                    </a:lnTo>
                    <a:lnTo>
                      <a:pt x="56" y="25"/>
                    </a:lnTo>
                    <a:lnTo>
                      <a:pt x="54" y="27"/>
                    </a:lnTo>
                    <a:lnTo>
                      <a:pt x="52" y="29"/>
                    </a:lnTo>
                    <a:lnTo>
                      <a:pt x="51" y="30"/>
                    </a:lnTo>
                    <a:lnTo>
                      <a:pt x="49" y="29"/>
                    </a:lnTo>
                    <a:lnTo>
                      <a:pt x="47" y="34"/>
                    </a:lnTo>
                    <a:lnTo>
                      <a:pt x="46" y="34"/>
                    </a:lnTo>
                    <a:lnTo>
                      <a:pt x="44" y="34"/>
                    </a:lnTo>
                    <a:lnTo>
                      <a:pt x="44" y="36"/>
                    </a:lnTo>
                    <a:lnTo>
                      <a:pt x="42" y="34"/>
                    </a:lnTo>
                    <a:lnTo>
                      <a:pt x="40" y="37"/>
                    </a:lnTo>
                    <a:lnTo>
                      <a:pt x="42" y="39"/>
                    </a:lnTo>
                    <a:lnTo>
                      <a:pt x="44" y="39"/>
                    </a:lnTo>
                    <a:lnTo>
                      <a:pt x="42" y="41"/>
                    </a:lnTo>
                    <a:lnTo>
                      <a:pt x="44" y="41"/>
                    </a:lnTo>
                    <a:lnTo>
                      <a:pt x="44" y="64"/>
                    </a:lnTo>
                    <a:lnTo>
                      <a:pt x="44" y="70"/>
                    </a:lnTo>
                    <a:lnTo>
                      <a:pt x="32" y="70"/>
                    </a:lnTo>
                    <a:lnTo>
                      <a:pt x="27" y="70"/>
                    </a:lnTo>
                    <a:lnTo>
                      <a:pt x="27" y="71"/>
                    </a:lnTo>
                    <a:lnTo>
                      <a:pt x="23" y="66"/>
                    </a:lnTo>
                    <a:lnTo>
                      <a:pt x="23" y="64"/>
                    </a:lnTo>
                    <a:lnTo>
                      <a:pt x="25" y="59"/>
                    </a:lnTo>
                    <a:lnTo>
                      <a:pt x="27" y="59"/>
                    </a:lnTo>
                    <a:lnTo>
                      <a:pt x="29" y="59"/>
                    </a:lnTo>
                    <a:lnTo>
                      <a:pt x="29" y="56"/>
                    </a:lnTo>
                    <a:lnTo>
                      <a:pt x="25" y="49"/>
                    </a:lnTo>
                    <a:lnTo>
                      <a:pt x="25" y="47"/>
                    </a:lnTo>
                    <a:lnTo>
                      <a:pt x="23" y="44"/>
                    </a:lnTo>
                    <a:lnTo>
                      <a:pt x="23" y="42"/>
                    </a:lnTo>
                    <a:lnTo>
                      <a:pt x="17" y="34"/>
                    </a:lnTo>
                    <a:lnTo>
                      <a:pt x="25" y="27"/>
                    </a:lnTo>
                    <a:lnTo>
                      <a:pt x="27" y="20"/>
                    </a:lnTo>
                    <a:lnTo>
                      <a:pt x="29" y="22"/>
                    </a:lnTo>
                    <a:lnTo>
                      <a:pt x="32" y="22"/>
                    </a:lnTo>
                    <a:lnTo>
                      <a:pt x="34" y="22"/>
                    </a:lnTo>
                    <a:lnTo>
                      <a:pt x="37" y="15"/>
                    </a:lnTo>
                    <a:lnTo>
                      <a:pt x="37" y="12"/>
                    </a:lnTo>
                    <a:lnTo>
                      <a:pt x="39" y="12"/>
                    </a:lnTo>
                    <a:lnTo>
                      <a:pt x="47" y="8"/>
                    </a:lnTo>
                    <a:lnTo>
                      <a:pt x="49" y="7"/>
                    </a:lnTo>
                    <a:lnTo>
                      <a:pt x="51" y="5"/>
                    </a:lnTo>
                    <a:lnTo>
                      <a:pt x="54" y="5"/>
                    </a:lnTo>
                    <a:lnTo>
                      <a:pt x="54" y="7"/>
                    </a:lnTo>
                    <a:lnTo>
                      <a:pt x="56" y="7"/>
                    </a:lnTo>
                    <a:lnTo>
                      <a:pt x="56" y="5"/>
                    </a:lnTo>
                    <a:lnTo>
                      <a:pt x="52" y="3"/>
                    </a:lnTo>
                    <a:lnTo>
                      <a:pt x="54" y="0"/>
                    </a:lnTo>
                    <a:lnTo>
                      <a:pt x="57" y="2"/>
                    </a:lnTo>
                    <a:lnTo>
                      <a:pt x="63" y="2"/>
                    </a:lnTo>
                    <a:lnTo>
                      <a:pt x="61" y="5"/>
                    </a:lnTo>
                    <a:lnTo>
                      <a:pt x="66" y="8"/>
                    </a:lnTo>
                    <a:lnTo>
                      <a:pt x="68" y="12"/>
                    </a:lnTo>
                    <a:lnTo>
                      <a:pt x="69" y="13"/>
                    </a:lnTo>
                    <a:lnTo>
                      <a:pt x="71" y="13"/>
                    </a:lnTo>
                    <a:lnTo>
                      <a:pt x="73" y="13"/>
                    </a:lnTo>
                    <a:close/>
                    <a:moveTo>
                      <a:pt x="3" y="616"/>
                    </a:moveTo>
                    <a:lnTo>
                      <a:pt x="1" y="619"/>
                    </a:lnTo>
                    <a:lnTo>
                      <a:pt x="3" y="626"/>
                    </a:lnTo>
                    <a:lnTo>
                      <a:pt x="1" y="624"/>
                    </a:lnTo>
                    <a:lnTo>
                      <a:pt x="0" y="619"/>
                    </a:lnTo>
                    <a:lnTo>
                      <a:pt x="0" y="617"/>
                    </a:lnTo>
                    <a:lnTo>
                      <a:pt x="1" y="616"/>
                    </a:lnTo>
                    <a:lnTo>
                      <a:pt x="3" y="616"/>
                    </a:lnTo>
                    <a:close/>
                    <a:moveTo>
                      <a:pt x="32" y="88"/>
                    </a:moveTo>
                    <a:lnTo>
                      <a:pt x="30" y="88"/>
                    </a:lnTo>
                    <a:lnTo>
                      <a:pt x="32" y="88"/>
                    </a:lnTo>
                    <a:lnTo>
                      <a:pt x="32" y="90"/>
                    </a:lnTo>
                    <a:lnTo>
                      <a:pt x="30" y="90"/>
                    </a:lnTo>
                    <a:lnTo>
                      <a:pt x="30" y="88"/>
                    </a:lnTo>
                    <a:lnTo>
                      <a:pt x="34" y="87"/>
                    </a:lnTo>
                    <a:lnTo>
                      <a:pt x="32" y="88"/>
                    </a:lnTo>
                    <a:close/>
                    <a:moveTo>
                      <a:pt x="57" y="81"/>
                    </a:moveTo>
                    <a:lnTo>
                      <a:pt x="56" y="83"/>
                    </a:lnTo>
                    <a:lnTo>
                      <a:pt x="52" y="83"/>
                    </a:lnTo>
                    <a:lnTo>
                      <a:pt x="57" y="81"/>
                    </a:lnTo>
                    <a:close/>
                    <a:moveTo>
                      <a:pt x="47" y="85"/>
                    </a:moveTo>
                    <a:lnTo>
                      <a:pt x="51" y="85"/>
                    </a:lnTo>
                    <a:lnTo>
                      <a:pt x="51" y="87"/>
                    </a:lnTo>
                    <a:lnTo>
                      <a:pt x="47" y="87"/>
                    </a:lnTo>
                    <a:lnTo>
                      <a:pt x="47" y="85"/>
                    </a:lnTo>
                    <a:close/>
                    <a:moveTo>
                      <a:pt x="63" y="81"/>
                    </a:moveTo>
                    <a:lnTo>
                      <a:pt x="59" y="81"/>
                    </a:lnTo>
                    <a:lnTo>
                      <a:pt x="64" y="80"/>
                    </a:lnTo>
                    <a:lnTo>
                      <a:pt x="63" y="81"/>
                    </a:lnTo>
                    <a:close/>
                    <a:moveTo>
                      <a:pt x="69" y="76"/>
                    </a:moveTo>
                    <a:lnTo>
                      <a:pt x="71" y="76"/>
                    </a:lnTo>
                    <a:lnTo>
                      <a:pt x="69" y="76"/>
                    </a:lnTo>
                    <a:close/>
                    <a:moveTo>
                      <a:pt x="73" y="229"/>
                    </a:moveTo>
                    <a:lnTo>
                      <a:pt x="73" y="231"/>
                    </a:lnTo>
                    <a:lnTo>
                      <a:pt x="73" y="229"/>
                    </a:lnTo>
                    <a:close/>
                    <a:moveTo>
                      <a:pt x="59" y="80"/>
                    </a:moveTo>
                    <a:lnTo>
                      <a:pt x="59" y="81"/>
                    </a:lnTo>
                    <a:lnTo>
                      <a:pt x="59" y="80"/>
                    </a:lnTo>
                    <a:close/>
                    <a:moveTo>
                      <a:pt x="57" y="83"/>
                    </a:moveTo>
                    <a:lnTo>
                      <a:pt x="59" y="83"/>
                    </a:lnTo>
                    <a:lnTo>
                      <a:pt x="57" y="83"/>
                    </a:lnTo>
                    <a:close/>
                    <a:moveTo>
                      <a:pt x="30" y="90"/>
                    </a:moveTo>
                    <a:lnTo>
                      <a:pt x="32" y="90"/>
                    </a:lnTo>
                    <a:lnTo>
                      <a:pt x="30" y="90"/>
                    </a:lnTo>
                    <a:close/>
                    <a:moveTo>
                      <a:pt x="61" y="80"/>
                    </a:moveTo>
                    <a:lnTo>
                      <a:pt x="63" y="80"/>
                    </a:lnTo>
                    <a:lnTo>
                      <a:pt x="61" y="80"/>
                    </a:lnTo>
                    <a:close/>
                    <a:moveTo>
                      <a:pt x="54" y="81"/>
                    </a:moveTo>
                    <a:lnTo>
                      <a:pt x="56" y="81"/>
                    </a:lnTo>
                    <a:lnTo>
                      <a:pt x="54" y="81"/>
                    </a:lnTo>
                    <a:close/>
                    <a:moveTo>
                      <a:pt x="59" y="83"/>
                    </a:moveTo>
                    <a:lnTo>
                      <a:pt x="59" y="85"/>
                    </a:lnTo>
                    <a:lnTo>
                      <a:pt x="59" y="83"/>
                    </a:lnTo>
                    <a:close/>
                    <a:moveTo>
                      <a:pt x="64" y="80"/>
                    </a:moveTo>
                    <a:lnTo>
                      <a:pt x="66" y="80"/>
                    </a:lnTo>
                    <a:lnTo>
                      <a:pt x="66" y="81"/>
                    </a:lnTo>
                    <a:lnTo>
                      <a:pt x="64" y="81"/>
                    </a:lnTo>
                    <a:lnTo>
                      <a:pt x="64" y="80"/>
                    </a:lnTo>
                    <a:close/>
                    <a:moveTo>
                      <a:pt x="57" y="81"/>
                    </a:moveTo>
                    <a:lnTo>
                      <a:pt x="59" y="81"/>
                    </a:lnTo>
                    <a:lnTo>
                      <a:pt x="59" y="83"/>
                    </a:lnTo>
                    <a:lnTo>
                      <a:pt x="57" y="83"/>
                    </a:lnTo>
                    <a:lnTo>
                      <a:pt x="57" y="81"/>
                    </a:lnTo>
                    <a:close/>
                    <a:moveTo>
                      <a:pt x="54" y="85"/>
                    </a:moveTo>
                    <a:lnTo>
                      <a:pt x="56" y="85"/>
                    </a:lnTo>
                    <a:lnTo>
                      <a:pt x="54" y="85"/>
                    </a:lnTo>
                    <a:close/>
                    <a:moveTo>
                      <a:pt x="56" y="83"/>
                    </a:moveTo>
                    <a:lnTo>
                      <a:pt x="57" y="83"/>
                    </a:lnTo>
                    <a:lnTo>
                      <a:pt x="56" y="83"/>
                    </a:lnTo>
                    <a:close/>
                    <a:moveTo>
                      <a:pt x="68" y="76"/>
                    </a:moveTo>
                    <a:lnTo>
                      <a:pt x="69" y="76"/>
                    </a:lnTo>
                    <a:lnTo>
                      <a:pt x="68" y="7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1" name="Freeform 11">
                <a:extLst>
                  <a:ext uri="{FF2B5EF4-FFF2-40B4-BE49-F238E27FC236}">
                    <a16:creationId xmlns:a16="http://schemas.microsoft.com/office/drawing/2014/main" id="{0194BD08-63CD-486C-82B2-67523BFA0A9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538341" y="2068427"/>
                <a:ext cx="215893" cy="195255"/>
              </a:xfrm>
              <a:custGeom>
                <a:avLst/>
                <a:gdLst>
                  <a:gd name="T0" fmla="*/ 85 w 136"/>
                  <a:gd name="T1" fmla="*/ 99 h 123"/>
                  <a:gd name="T2" fmla="*/ 91 w 136"/>
                  <a:gd name="T3" fmla="*/ 106 h 123"/>
                  <a:gd name="T4" fmla="*/ 97 w 136"/>
                  <a:gd name="T5" fmla="*/ 111 h 123"/>
                  <a:gd name="T6" fmla="*/ 95 w 136"/>
                  <a:gd name="T7" fmla="*/ 117 h 123"/>
                  <a:gd name="T8" fmla="*/ 83 w 136"/>
                  <a:gd name="T9" fmla="*/ 112 h 123"/>
                  <a:gd name="T10" fmla="*/ 80 w 136"/>
                  <a:gd name="T11" fmla="*/ 104 h 123"/>
                  <a:gd name="T12" fmla="*/ 81 w 136"/>
                  <a:gd name="T13" fmla="*/ 97 h 123"/>
                  <a:gd name="T14" fmla="*/ 17 w 136"/>
                  <a:gd name="T15" fmla="*/ 2 h 123"/>
                  <a:gd name="T16" fmla="*/ 18 w 136"/>
                  <a:gd name="T17" fmla="*/ 9 h 123"/>
                  <a:gd name="T18" fmla="*/ 8 w 136"/>
                  <a:gd name="T19" fmla="*/ 15 h 123"/>
                  <a:gd name="T20" fmla="*/ 1 w 136"/>
                  <a:gd name="T21" fmla="*/ 14 h 123"/>
                  <a:gd name="T22" fmla="*/ 1 w 136"/>
                  <a:gd name="T23" fmla="*/ 7 h 123"/>
                  <a:gd name="T24" fmla="*/ 13 w 136"/>
                  <a:gd name="T25" fmla="*/ 0 h 123"/>
                  <a:gd name="T26" fmla="*/ 129 w 136"/>
                  <a:gd name="T27" fmla="*/ 51 h 123"/>
                  <a:gd name="T28" fmla="*/ 136 w 136"/>
                  <a:gd name="T29" fmla="*/ 54 h 123"/>
                  <a:gd name="T30" fmla="*/ 131 w 136"/>
                  <a:gd name="T31" fmla="*/ 63 h 123"/>
                  <a:gd name="T32" fmla="*/ 120 w 136"/>
                  <a:gd name="T33" fmla="*/ 61 h 123"/>
                  <a:gd name="T34" fmla="*/ 124 w 136"/>
                  <a:gd name="T35" fmla="*/ 53 h 123"/>
                  <a:gd name="T36" fmla="*/ 52 w 136"/>
                  <a:gd name="T37" fmla="*/ 111 h 123"/>
                  <a:gd name="T38" fmla="*/ 52 w 136"/>
                  <a:gd name="T39" fmla="*/ 121 h 123"/>
                  <a:gd name="T40" fmla="*/ 42 w 136"/>
                  <a:gd name="T41" fmla="*/ 116 h 123"/>
                  <a:gd name="T42" fmla="*/ 52 w 136"/>
                  <a:gd name="T43" fmla="*/ 111 h 123"/>
                  <a:gd name="T44" fmla="*/ 61 w 136"/>
                  <a:gd name="T45" fmla="*/ 31 h 123"/>
                  <a:gd name="T46" fmla="*/ 68 w 136"/>
                  <a:gd name="T47" fmla="*/ 34 h 123"/>
                  <a:gd name="T48" fmla="*/ 57 w 136"/>
                  <a:gd name="T49" fmla="*/ 32 h 123"/>
                  <a:gd name="T50" fmla="*/ 51 w 136"/>
                  <a:gd name="T51" fmla="*/ 32 h 123"/>
                  <a:gd name="T52" fmla="*/ 51 w 136"/>
                  <a:gd name="T53" fmla="*/ 27 h 123"/>
                  <a:gd name="T54" fmla="*/ 112 w 136"/>
                  <a:gd name="T55" fmla="*/ 95 h 123"/>
                  <a:gd name="T56" fmla="*/ 115 w 136"/>
                  <a:gd name="T57" fmla="*/ 102 h 123"/>
                  <a:gd name="T58" fmla="*/ 108 w 136"/>
                  <a:gd name="T59" fmla="*/ 106 h 123"/>
                  <a:gd name="T60" fmla="*/ 107 w 136"/>
                  <a:gd name="T61" fmla="*/ 99 h 123"/>
                  <a:gd name="T62" fmla="*/ 110 w 136"/>
                  <a:gd name="T63" fmla="*/ 95 h 123"/>
                  <a:gd name="T64" fmla="*/ 22 w 136"/>
                  <a:gd name="T65" fmla="*/ 17 h 123"/>
                  <a:gd name="T66" fmla="*/ 18 w 136"/>
                  <a:gd name="T67" fmla="*/ 22 h 123"/>
                  <a:gd name="T68" fmla="*/ 18 w 136"/>
                  <a:gd name="T69" fmla="*/ 17 h 123"/>
                  <a:gd name="T70" fmla="*/ 22 w 136"/>
                  <a:gd name="T71" fmla="*/ 15 h 123"/>
                  <a:gd name="T72" fmla="*/ 125 w 136"/>
                  <a:gd name="T73" fmla="*/ 22 h 123"/>
                  <a:gd name="T74" fmla="*/ 124 w 136"/>
                  <a:gd name="T75" fmla="*/ 29 h 123"/>
                  <a:gd name="T76" fmla="*/ 124 w 136"/>
                  <a:gd name="T77" fmla="*/ 32 h 123"/>
                  <a:gd name="T78" fmla="*/ 120 w 136"/>
                  <a:gd name="T79" fmla="*/ 26 h 123"/>
                  <a:gd name="T80" fmla="*/ 120 w 136"/>
                  <a:gd name="T81" fmla="*/ 20 h 123"/>
                  <a:gd name="T82" fmla="*/ 35 w 136"/>
                  <a:gd name="T83" fmla="*/ 121 h 123"/>
                  <a:gd name="T84" fmla="*/ 30 w 136"/>
                  <a:gd name="T85" fmla="*/ 119 h 123"/>
                  <a:gd name="T86" fmla="*/ 34 w 136"/>
                  <a:gd name="T87" fmla="*/ 117 h 123"/>
                  <a:gd name="T88" fmla="*/ 32 w 136"/>
                  <a:gd name="T89" fmla="*/ 24 h 123"/>
                  <a:gd name="T90" fmla="*/ 29 w 136"/>
                  <a:gd name="T91" fmla="*/ 22 h 123"/>
                  <a:gd name="T92" fmla="*/ 37 w 136"/>
                  <a:gd name="T93" fmla="*/ 31 h 123"/>
                  <a:gd name="T94" fmla="*/ 34 w 136"/>
                  <a:gd name="T95" fmla="*/ 27 h 123"/>
                  <a:gd name="T96" fmla="*/ 34 w 136"/>
                  <a:gd name="T97" fmla="*/ 29 h 123"/>
                  <a:gd name="T98" fmla="*/ 124 w 136"/>
                  <a:gd name="T99" fmla="*/ 53 h 123"/>
                  <a:gd name="T100" fmla="*/ 37 w 136"/>
                  <a:gd name="T101" fmla="*/ 114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36" h="123">
                    <a:moveTo>
                      <a:pt x="85" y="95"/>
                    </a:moveTo>
                    <a:lnTo>
                      <a:pt x="85" y="97"/>
                    </a:lnTo>
                    <a:lnTo>
                      <a:pt x="85" y="99"/>
                    </a:lnTo>
                    <a:lnTo>
                      <a:pt x="88" y="100"/>
                    </a:lnTo>
                    <a:lnTo>
                      <a:pt x="90" y="104"/>
                    </a:lnTo>
                    <a:lnTo>
                      <a:pt x="91" y="106"/>
                    </a:lnTo>
                    <a:lnTo>
                      <a:pt x="93" y="106"/>
                    </a:lnTo>
                    <a:lnTo>
                      <a:pt x="95" y="109"/>
                    </a:lnTo>
                    <a:lnTo>
                      <a:pt x="97" y="111"/>
                    </a:lnTo>
                    <a:lnTo>
                      <a:pt x="97" y="112"/>
                    </a:lnTo>
                    <a:lnTo>
                      <a:pt x="97" y="114"/>
                    </a:lnTo>
                    <a:lnTo>
                      <a:pt x="95" y="117"/>
                    </a:lnTo>
                    <a:lnTo>
                      <a:pt x="93" y="117"/>
                    </a:lnTo>
                    <a:lnTo>
                      <a:pt x="88" y="117"/>
                    </a:lnTo>
                    <a:lnTo>
                      <a:pt x="83" y="112"/>
                    </a:lnTo>
                    <a:lnTo>
                      <a:pt x="80" y="109"/>
                    </a:lnTo>
                    <a:lnTo>
                      <a:pt x="81" y="106"/>
                    </a:lnTo>
                    <a:lnTo>
                      <a:pt x="80" y="104"/>
                    </a:lnTo>
                    <a:lnTo>
                      <a:pt x="81" y="100"/>
                    </a:lnTo>
                    <a:lnTo>
                      <a:pt x="80" y="97"/>
                    </a:lnTo>
                    <a:lnTo>
                      <a:pt x="81" y="97"/>
                    </a:lnTo>
                    <a:lnTo>
                      <a:pt x="81" y="95"/>
                    </a:lnTo>
                    <a:lnTo>
                      <a:pt x="85" y="95"/>
                    </a:lnTo>
                    <a:close/>
                    <a:moveTo>
                      <a:pt x="17" y="2"/>
                    </a:moveTo>
                    <a:lnTo>
                      <a:pt x="18" y="5"/>
                    </a:lnTo>
                    <a:lnTo>
                      <a:pt x="20" y="5"/>
                    </a:lnTo>
                    <a:lnTo>
                      <a:pt x="18" y="9"/>
                    </a:lnTo>
                    <a:lnTo>
                      <a:pt x="15" y="10"/>
                    </a:lnTo>
                    <a:lnTo>
                      <a:pt x="13" y="10"/>
                    </a:lnTo>
                    <a:lnTo>
                      <a:pt x="8" y="15"/>
                    </a:lnTo>
                    <a:lnTo>
                      <a:pt x="5" y="15"/>
                    </a:lnTo>
                    <a:lnTo>
                      <a:pt x="3" y="15"/>
                    </a:lnTo>
                    <a:lnTo>
                      <a:pt x="1" y="14"/>
                    </a:lnTo>
                    <a:lnTo>
                      <a:pt x="1" y="10"/>
                    </a:lnTo>
                    <a:lnTo>
                      <a:pt x="0" y="9"/>
                    </a:lnTo>
                    <a:lnTo>
                      <a:pt x="1" y="7"/>
                    </a:lnTo>
                    <a:lnTo>
                      <a:pt x="5" y="5"/>
                    </a:lnTo>
                    <a:lnTo>
                      <a:pt x="8" y="3"/>
                    </a:lnTo>
                    <a:lnTo>
                      <a:pt x="13" y="0"/>
                    </a:lnTo>
                    <a:lnTo>
                      <a:pt x="17" y="2"/>
                    </a:lnTo>
                    <a:close/>
                    <a:moveTo>
                      <a:pt x="125" y="51"/>
                    </a:moveTo>
                    <a:lnTo>
                      <a:pt x="129" y="51"/>
                    </a:lnTo>
                    <a:lnTo>
                      <a:pt x="131" y="49"/>
                    </a:lnTo>
                    <a:lnTo>
                      <a:pt x="134" y="51"/>
                    </a:lnTo>
                    <a:lnTo>
                      <a:pt x="136" y="54"/>
                    </a:lnTo>
                    <a:lnTo>
                      <a:pt x="136" y="58"/>
                    </a:lnTo>
                    <a:lnTo>
                      <a:pt x="136" y="60"/>
                    </a:lnTo>
                    <a:lnTo>
                      <a:pt x="131" y="63"/>
                    </a:lnTo>
                    <a:lnTo>
                      <a:pt x="129" y="63"/>
                    </a:lnTo>
                    <a:lnTo>
                      <a:pt x="125" y="63"/>
                    </a:lnTo>
                    <a:lnTo>
                      <a:pt x="120" y="61"/>
                    </a:lnTo>
                    <a:lnTo>
                      <a:pt x="122" y="58"/>
                    </a:lnTo>
                    <a:lnTo>
                      <a:pt x="124" y="56"/>
                    </a:lnTo>
                    <a:lnTo>
                      <a:pt x="124" y="53"/>
                    </a:lnTo>
                    <a:lnTo>
                      <a:pt x="124" y="49"/>
                    </a:lnTo>
                    <a:lnTo>
                      <a:pt x="125" y="51"/>
                    </a:lnTo>
                    <a:close/>
                    <a:moveTo>
                      <a:pt x="52" y="111"/>
                    </a:moveTo>
                    <a:lnTo>
                      <a:pt x="54" y="112"/>
                    </a:lnTo>
                    <a:lnTo>
                      <a:pt x="54" y="119"/>
                    </a:lnTo>
                    <a:lnTo>
                      <a:pt x="52" y="121"/>
                    </a:lnTo>
                    <a:lnTo>
                      <a:pt x="49" y="123"/>
                    </a:lnTo>
                    <a:lnTo>
                      <a:pt x="44" y="119"/>
                    </a:lnTo>
                    <a:lnTo>
                      <a:pt x="42" y="116"/>
                    </a:lnTo>
                    <a:lnTo>
                      <a:pt x="44" y="112"/>
                    </a:lnTo>
                    <a:lnTo>
                      <a:pt x="49" y="111"/>
                    </a:lnTo>
                    <a:lnTo>
                      <a:pt x="52" y="111"/>
                    </a:lnTo>
                    <a:close/>
                    <a:moveTo>
                      <a:pt x="54" y="29"/>
                    </a:moveTo>
                    <a:lnTo>
                      <a:pt x="57" y="29"/>
                    </a:lnTo>
                    <a:lnTo>
                      <a:pt x="61" y="31"/>
                    </a:lnTo>
                    <a:lnTo>
                      <a:pt x="66" y="31"/>
                    </a:lnTo>
                    <a:lnTo>
                      <a:pt x="68" y="32"/>
                    </a:lnTo>
                    <a:lnTo>
                      <a:pt x="68" y="34"/>
                    </a:lnTo>
                    <a:lnTo>
                      <a:pt x="63" y="34"/>
                    </a:lnTo>
                    <a:lnTo>
                      <a:pt x="59" y="32"/>
                    </a:lnTo>
                    <a:lnTo>
                      <a:pt x="57" y="32"/>
                    </a:lnTo>
                    <a:lnTo>
                      <a:pt x="54" y="34"/>
                    </a:lnTo>
                    <a:lnTo>
                      <a:pt x="52" y="37"/>
                    </a:lnTo>
                    <a:lnTo>
                      <a:pt x="51" y="32"/>
                    </a:lnTo>
                    <a:lnTo>
                      <a:pt x="47" y="31"/>
                    </a:lnTo>
                    <a:lnTo>
                      <a:pt x="47" y="29"/>
                    </a:lnTo>
                    <a:lnTo>
                      <a:pt x="51" y="27"/>
                    </a:lnTo>
                    <a:lnTo>
                      <a:pt x="54" y="29"/>
                    </a:lnTo>
                    <a:close/>
                    <a:moveTo>
                      <a:pt x="110" y="95"/>
                    </a:moveTo>
                    <a:lnTo>
                      <a:pt x="112" y="95"/>
                    </a:lnTo>
                    <a:lnTo>
                      <a:pt x="112" y="97"/>
                    </a:lnTo>
                    <a:lnTo>
                      <a:pt x="114" y="97"/>
                    </a:lnTo>
                    <a:lnTo>
                      <a:pt x="115" y="102"/>
                    </a:lnTo>
                    <a:lnTo>
                      <a:pt x="115" y="104"/>
                    </a:lnTo>
                    <a:lnTo>
                      <a:pt x="112" y="107"/>
                    </a:lnTo>
                    <a:lnTo>
                      <a:pt x="108" y="106"/>
                    </a:lnTo>
                    <a:lnTo>
                      <a:pt x="107" y="104"/>
                    </a:lnTo>
                    <a:lnTo>
                      <a:pt x="108" y="100"/>
                    </a:lnTo>
                    <a:lnTo>
                      <a:pt x="107" y="99"/>
                    </a:lnTo>
                    <a:lnTo>
                      <a:pt x="108" y="97"/>
                    </a:lnTo>
                    <a:lnTo>
                      <a:pt x="110" y="97"/>
                    </a:lnTo>
                    <a:lnTo>
                      <a:pt x="110" y="95"/>
                    </a:lnTo>
                    <a:close/>
                    <a:moveTo>
                      <a:pt x="22" y="15"/>
                    </a:moveTo>
                    <a:lnTo>
                      <a:pt x="23" y="15"/>
                    </a:lnTo>
                    <a:lnTo>
                      <a:pt x="22" y="17"/>
                    </a:lnTo>
                    <a:lnTo>
                      <a:pt x="25" y="19"/>
                    </a:lnTo>
                    <a:lnTo>
                      <a:pt x="25" y="20"/>
                    </a:lnTo>
                    <a:lnTo>
                      <a:pt x="18" y="22"/>
                    </a:lnTo>
                    <a:lnTo>
                      <a:pt x="13" y="20"/>
                    </a:lnTo>
                    <a:lnTo>
                      <a:pt x="15" y="17"/>
                    </a:lnTo>
                    <a:lnTo>
                      <a:pt x="18" y="17"/>
                    </a:lnTo>
                    <a:lnTo>
                      <a:pt x="18" y="15"/>
                    </a:lnTo>
                    <a:lnTo>
                      <a:pt x="20" y="15"/>
                    </a:lnTo>
                    <a:lnTo>
                      <a:pt x="22" y="15"/>
                    </a:lnTo>
                    <a:close/>
                    <a:moveTo>
                      <a:pt x="125" y="19"/>
                    </a:moveTo>
                    <a:lnTo>
                      <a:pt x="124" y="20"/>
                    </a:lnTo>
                    <a:lnTo>
                      <a:pt x="125" y="22"/>
                    </a:lnTo>
                    <a:lnTo>
                      <a:pt x="124" y="24"/>
                    </a:lnTo>
                    <a:lnTo>
                      <a:pt x="125" y="27"/>
                    </a:lnTo>
                    <a:lnTo>
                      <a:pt x="124" y="29"/>
                    </a:lnTo>
                    <a:lnTo>
                      <a:pt x="125" y="32"/>
                    </a:lnTo>
                    <a:lnTo>
                      <a:pt x="124" y="31"/>
                    </a:lnTo>
                    <a:lnTo>
                      <a:pt x="124" y="32"/>
                    </a:lnTo>
                    <a:lnTo>
                      <a:pt x="122" y="29"/>
                    </a:lnTo>
                    <a:lnTo>
                      <a:pt x="122" y="27"/>
                    </a:lnTo>
                    <a:lnTo>
                      <a:pt x="120" y="26"/>
                    </a:lnTo>
                    <a:lnTo>
                      <a:pt x="120" y="24"/>
                    </a:lnTo>
                    <a:lnTo>
                      <a:pt x="119" y="22"/>
                    </a:lnTo>
                    <a:lnTo>
                      <a:pt x="120" y="20"/>
                    </a:lnTo>
                    <a:lnTo>
                      <a:pt x="124" y="19"/>
                    </a:lnTo>
                    <a:lnTo>
                      <a:pt x="125" y="19"/>
                    </a:lnTo>
                    <a:close/>
                    <a:moveTo>
                      <a:pt x="35" y="121"/>
                    </a:moveTo>
                    <a:lnTo>
                      <a:pt x="34" y="123"/>
                    </a:lnTo>
                    <a:lnTo>
                      <a:pt x="30" y="121"/>
                    </a:lnTo>
                    <a:lnTo>
                      <a:pt x="30" y="119"/>
                    </a:lnTo>
                    <a:lnTo>
                      <a:pt x="32" y="119"/>
                    </a:lnTo>
                    <a:lnTo>
                      <a:pt x="32" y="117"/>
                    </a:lnTo>
                    <a:lnTo>
                      <a:pt x="34" y="117"/>
                    </a:lnTo>
                    <a:lnTo>
                      <a:pt x="35" y="121"/>
                    </a:lnTo>
                    <a:close/>
                    <a:moveTo>
                      <a:pt x="30" y="22"/>
                    </a:moveTo>
                    <a:lnTo>
                      <a:pt x="32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29" y="22"/>
                    </a:lnTo>
                    <a:lnTo>
                      <a:pt x="29" y="20"/>
                    </a:lnTo>
                    <a:lnTo>
                      <a:pt x="30" y="22"/>
                    </a:lnTo>
                    <a:close/>
                    <a:moveTo>
                      <a:pt x="37" y="31"/>
                    </a:moveTo>
                    <a:lnTo>
                      <a:pt x="39" y="31"/>
                    </a:lnTo>
                    <a:lnTo>
                      <a:pt x="37" y="31"/>
                    </a:lnTo>
                    <a:close/>
                    <a:moveTo>
                      <a:pt x="34" y="27"/>
                    </a:moveTo>
                    <a:lnTo>
                      <a:pt x="35" y="27"/>
                    </a:lnTo>
                    <a:lnTo>
                      <a:pt x="35" y="29"/>
                    </a:lnTo>
                    <a:lnTo>
                      <a:pt x="34" y="29"/>
                    </a:lnTo>
                    <a:lnTo>
                      <a:pt x="34" y="27"/>
                    </a:lnTo>
                    <a:close/>
                    <a:moveTo>
                      <a:pt x="122" y="53"/>
                    </a:moveTo>
                    <a:lnTo>
                      <a:pt x="124" y="53"/>
                    </a:lnTo>
                    <a:lnTo>
                      <a:pt x="122" y="53"/>
                    </a:lnTo>
                    <a:close/>
                    <a:moveTo>
                      <a:pt x="35" y="114"/>
                    </a:moveTo>
                    <a:lnTo>
                      <a:pt x="37" y="114"/>
                    </a:lnTo>
                    <a:lnTo>
                      <a:pt x="35" y="11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2" name="Freeform 12">
                <a:extLst>
                  <a:ext uri="{FF2B5EF4-FFF2-40B4-BE49-F238E27FC236}">
                    <a16:creationId xmlns:a16="http://schemas.microsoft.com/office/drawing/2014/main" id="{89C28C5F-981F-4143-A5CC-FFCEE88D8E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40130" y="2454173"/>
                <a:ext cx="246055" cy="496868"/>
              </a:xfrm>
              <a:custGeom>
                <a:avLst/>
                <a:gdLst>
                  <a:gd name="T0" fmla="*/ 148 w 155"/>
                  <a:gd name="T1" fmla="*/ 70 h 313"/>
                  <a:gd name="T2" fmla="*/ 155 w 155"/>
                  <a:gd name="T3" fmla="*/ 87 h 313"/>
                  <a:gd name="T4" fmla="*/ 144 w 155"/>
                  <a:gd name="T5" fmla="*/ 101 h 313"/>
                  <a:gd name="T6" fmla="*/ 143 w 155"/>
                  <a:gd name="T7" fmla="*/ 119 h 313"/>
                  <a:gd name="T8" fmla="*/ 129 w 155"/>
                  <a:gd name="T9" fmla="*/ 133 h 313"/>
                  <a:gd name="T10" fmla="*/ 121 w 155"/>
                  <a:gd name="T11" fmla="*/ 148 h 313"/>
                  <a:gd name="T12" fmla="*/ 119 w 155"/>
                  <a:gd name="T13" fmla="*/ 160 h 313"/>
                  <a:gd name="T14" fmla="*/ 107 w 155"/>
                  <a:gd name="T15" fmla="*/ 169 h 313"/>
                  <a:gd name="T16" fmla="*/ 102 w 155"/>
                  <a:gd name="T17" fmla="*/ 172 h 313"/>
                  <a:gd name="T18" fmla="*/ 99 w 155"/>
                  <a:gd name="T19" fmla="*/ 177 h 313"/>
                  <a:gd name="T20" fmla="*/ 100 w 155"/>
                  <a:gd name="T21" fmla="*/ 182 h 313"/>
                  <a:gd name="T22" fmla="*/ 99 w 155"/>
                  <a:gd name="T23" fmla="*/ 191 h 313"/>
                  <a:gd name="T24" fmla="*/ 99 w 155"/>
                  <a:gd name="T25" fmla="*/ 199 h 313"/>
                  <a:gd name="T26" fmla="*/ 97 w 155"/>
                  <a:gd name="T27" fmla="*/ 206 h 313"/>
                  <a:gd name="T28" fmla="*/ 99 w 155"/>
                  <a:gd name="T29" fmla="*/ 216 h 313"/>
                  <a:gd name="T30" fmla="*/ 99 w 155"/>
                  <a:gd name="T31" fmla="*/ 245 h 313"/>
                  <a:gd name="T32" fmla="*/ 99 w 155"/>
                  <a:gd name="T33" fmla="*/ 254 h 313"/>
                  <a:gd name="T34" fmla="*/ 102 w 155"/>
                  <a:gd name="T35" fmla="*/ 272 h 313"/>
                  <a:gd name="T36" fmla="*/ 99 w 155"/>
                  <a:gd name="T37" fmla="*/ 284 h 313"/>
                  <a:gd name="T38" fmla="*/ 99 w 155"/>
                  <a:gd name="T39" fmla="*/ 293 h 313"/>
                  <a:gd name="T40" fmla="*/ 83 w 155"/>
                  <a:gd name="T41" fmla="*/ 308 h 313"/>
                  <a:gd name="T42" fmla="*/ 51 w 155"/>
                  <a:gd name="T43" fmla="*/ 312 h 313"/>
                  <a:gd name="T44" fmla="*/ 49 w 155"/>
                  <a:gd name="T45" fmla="*/ 303 h 313"/>
                  <a:gd name="T46" fmla="*/ 44 w 155"/>
                  <a:gd name="T47" fmla="*/ 296 h 313"/>
                  <a:gd name="T48" fmla="*/ 41 w 155"/>
                  <a:gd name="T49" fmla="*/ 289 h 313"/>
                  <a:gd name="T50" fmla="*/ 41 w 155"/>
                  <a:gd name="T51" fmla="*/ 284 h 313"/>
                  <a:gd name="T52" fmla="*/ 42 w 155"/>
                  <a:gd name="T53" fmla="*/ 254 h 313"/>
                  <a:gd name="T54" fmla="*/ 42 w 155"/>
                  <a:gd name="T55" fmla="*/ 240 h 313"/>
                  <a:gd name="T56" fmla="*/ 44 w 155"/>
                  <a:gd name="T57" fmla="*/ 199 h 313"/>
                  <a:gd name="T58" fmla="*/ 39 w 155"/>
                  <a:gd name="T59" fmla="*/ 165 h 313"/>
                  <a:gd name="T60" fmla="*/ 27 w 155"/>
                  <a:gd name="T61" fmla="*/ 147 h 313"/>
                  <a:gd name="T62" fmla="*/ 0 w 155"/>
                  <a:gd name="T63" fmla="*/ 97 h 313"/>
                  <a:gd name="T64" fmla="*/ 8 w 155"/>
                  <a:gd name="T65" fmla="*/ 70 h 313"/>
                  <a:gd name="T66" fmla="*/ 17 w 155"/>
                  <a:gd name="T67" fmla="*/ 70 h 313"/>
                  <a:gd name="T68" fmla="*/ 17 w 155"/>
                  <a:gd name="T69" fmla="*/ 63 h 313"/>
                  <a:gd name="T70" fmla="*/ 19 w 155"/>
                  <a:gd name="T71" fmla="*/ 58 h 313"/>
                  <a:gd name="T72" fmla="*/ 24 w 155"/>
                  <a:gd name="T73" fmla="*/ 55 h 313"/>
                  <a:gd name="T74" fmla="*/ 29 w 155"/>
                  <a:gd name="T75" fmla="*/ 56 h 313"/>
                  <a:gd name="T76" fmla="*/ 31 w 155"/>
                  <a:gd name="T77" fmla="*/ 51 h 313"/>
                  <a:gd name="T78" fmla="*/ 36 w 155"/>
                  <a:gd name="T79" fmla="*/ 50 h 313"/>
                  <a:gd name="T80" fmla="*/ 41 w 155"/>
                  <a:gd name="T81" fmla="*/ 50 h 313"/>
                  <a:gd name="T82" fmla="*/ 46 w 155"/>
                  <a:gd name="T83" fmla="*/ 51 h 313"/>
                  <a:gd name="T84" fmla="*/ 56 w 155"/>
                  <a:gd name="T85" fmla="*/ 50 h 313"/>
                  <a:gd name="T86" fmla="*/ 78 w 155"/>
                  <a:gd name="T87" fmla="*/ 33 h 313"/>
                  <a:gd name="T88" fmla="*/ 82 w 155"/>
                  <a:gd name="T89" fmla="*/ 26 h 313"/>
                  <a:gd name="T90" fmla="*/ 82 w 155"/>
                  <a:gd name="T91" fmla="*/ 16 h 313"/>
                  <a:gd name="T92" fmla="*/ 82 w 155"/>
                  <a:gd name="T93" fmla="*/ 11 h 313"/>
                  <a:gd name="T94" fmla="*/ 87 w 155"/>
                  <a:gd name="T95" fmla="*/ 9 h 313"/>
                  <a:gd name="T96" fmla="*/ 95 w 155"/>
                  <a:gd name="T97" fmla="*/ 7 h 313"/>
                  <a:gd name="T98" fmla="*/ 104 w 155"/>
                  <a:gd name="T99" fmla="*/ 0 h 313"/>
                  <a:gd name="T100" fmla="*/ 119 w 155"/>
                  <a:gd name="T101" fmla="*/ 14 h 313"/>
                  <a:gd name="T102" fmla="*/ 136 w 155"/>
                  <a:gd name="T103" fmla="*/ 29 h 313"/>
                  <a:gd name="T104" fmla="*/ 143 w 155"/>
                  <a:gd name="T105" fmla="*/ 36 h 3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55" h="313">
                    <a:moveTo>
                      <a:pt x="143" y="36"/>
                    </a:moveTo>
                    <a:lnTo>
                      <a:pt x="136" y="50"/>
                    </a:lnTo>
                    <a:lnTo>
                      <a:pt x="146" y="65"/>
                    </a:lnTo>
                    <a:lnTo>
                      <a:pt x="150" y="67"/>
                    </a:lnTo>
                    <a:lnTo>
                      <a:pt x="148" y="70"/>
                    </a:lnTo>
                    <a:lnTo>
                      <a:pt x="151" y="72"/>
                    </a:lnTo>
                    <a:lnTo>
                      <a:pt x="151" y="75"/>
                    </a:lnTo>
                    <a:lnTo>
                      <a:pt x="150" y="82"/>
                    </a:lnTo>
                    <a:lnTo>
                      <a:pt x="151" y="85"/>
                    </a:lnTo>
                    <a:lnTo>
                      <a:pt x="155" y="87"/>
                    </a:lnTo>
                    <a:lnTo>
                      <a:pt x="155" y="92"/>
                    </a:lnTo>
                    <a:lnTo>
                      <a:pt x="153" y="97"/>
                    </a:lnTo>
                    <a:lnTo>
                      <a:pt x="151" y="102"/>
                    </a:lnTo>
                    <a:lnTo>
                      <a:pt x="146" y="99"/>
                    </a:lnTo>
                    <a:lnTo>
                      <a:pt x="144" y="101"/>
                    </a:lnTo>
                    <a:lnTo>
                      <a:pt x="141" y="109"/>
                    </a:lnTo>
                    <a:lnTo>
                      <a:pt x="143" y="111"/>
                    </a:lnTo>
                    <a:lnTo>
                      <a:pt x="146" y="114"/>
                    </a:lnTo>
                    <a:lnTo>
                      <a:pt x="146" y="118"/>
                    </a:lnTo>
                    <a:lnTo>
                      <a:pt x="143" y="119"/>
                    </a:lnTo>
                    <a:lnTo>
                      <a:pt x="143" y="124"/>
                    </a:lnTo>
                    <a:lnTo>
                      <a:pt x="139" y="130"/>
                    </a:lnTo>
                    <a:lnTo>
                      <a:pt x="134" y="130"/>
                    </a:lnTo>
                    <a:lnTo>
                      <a:pt x="129" y="131"/>
                    </a:lnTo>
                    <a:lnTo>
                      <a:pt x="129" y="133"/>
                    </a:lnTo>
                    <a:lnTo>
                      <a:pt x="127" y="135"/>
                    </a:lnTo>
                    <a:lnTo>
                      <a:pt x="129" y="138"/>
                    </a:lnTo>
                    <a:lnTo>
                      <a:pt x="127" y="140"/>
                    </a:lnTo>
                    <a:lnTo>
                      <a:pt x="126" y="140"/>
                    </a:lnTo>
                    <a:lnTo>
                      <a:pt x="121" y="148"/>
                    </a:lnTo>
                    <a:lnTo>
                      <a:pt x="119" y="150"/>
                    </a:lnTo>
                    <a:lnTo>
                      <a:pt x="119" y="152"/>
                    </a:lnTo>
                    <a:lnTo>
                      <a:pt x="119" y="155"/>
                    </a:lnTo>
                    <a:lnTo>
                      <a:pt x="121" y="159"/>
                    </a:lnTo>
                    <a:lnTo>
                      <a:pt x="119" y="160"/>
                    </a:lnTo>
                    <a:lnTo>
                      <a:pt x="119" y="164"/>
                    </a:lnTo>
                    <a:lnTo>
                      <a:pt x="116" y="169"/>
                    </a:lnTo>
                    <a:lnTo>
                      <a:pt x="110" y="170"/>
                    </a:lnTo>
                    <a:lnTo>
                      <a:pt x="109" y="169"/>
                    </a:lnTo>
                    <a:lnTo>
                      <a:pt x="107" y="169"/>
                    </a:lnTo>
                    <a:lnTo>
                      <a:pt x="105" y="170"/>
                    </a:lnTo>
                    <a:lnTo>
                      <a:pt x="100" y="170"/>
                    </a:lnTo>
                    <a:lnTo>
                      <a:pt x="102" y="170"/>
                    </a:lnTo>
                    <a:lnTo>
                      <a:pt x="100" y="172"/>
                    </a:lnTo>
                    <a:lnTo>
                      <a:pt x="102" y="172"/>
                    </a:lnTo>
                    <a:lnTo>
                      <a:pt x="100" y="172"/>
                    </a:lnTo>
                    <a:lnTo>
                      <a:pt x="102" y="174"/>
                    </a:lnTo>
                    <a:lnTo>
                      <a:pt x="100" y="176"/>
                    </a:lnTo>
                    <a:lnTo>
                      <a:pt x="100" y="177"/>
                    </a:lnTo>
                    <a:lnTo>
                      <a:pt x="99" y="177"/>
                    </a:lnTo>
                    <a:lnTo>
                      <a:pt x="100" y="179"/>
                    </a:lnTo>
                    <a:lnTo>
                      <a:pt x="100" y="181"/>
                    </a:lnTo>
                    <a:lnTo>
                      <a:pt x="99" y="181"/>
                    </a:lnTo>
                    <a:lnTo>
                      <a:pt x="100" y="181"/>
                    </a:lnTo>
                    <a:lnTo>
                      <a:pt x="100" y="182"/>
                    </a:lnTo>
                    <a:lnTo>
                      <a:pt x="99" y="184"/>
                    </a:lnTo>
                    <a:lnTo>
                      <a:pt x="99" y="186"/>
                    </a:lnTo>
                    <a:lnTo>
                      <a:pt x="99" y="187"/>
                    </a:lnTo>
                    <a:lnTo>
                      <a:pt x="100" y="187"/>
                    </a:lnTo>
                    <a:lnTo>
                      <a:pt x="99" y="191"/>
                    </a:lnTo>
                    <a:lnTo>
                      <a:pt x="99" y="194"/>
                    </a:lnTo>
                    <a:lnTo>
                      <a:pt x="100" y="196"/>
                    </a:lnTo>
                    <a:lnTo>
                      <a:pt x="99" y="196"/>
                    </a:lnTo>
                    <a:lnTo>
                      <a:pt x="100" y="198"/>
                    </a:lnTo>
                    <a:lnTo>
                      <a:pt x="99" y="199"/>
                    </a:lnTo>
                    <a:lnTo>
                      <a:pt x="100" y="199"/>
                    </a:lnTo>
                    <a:lnTo>
                      <a:pt x="99" y="201"/>
                    </a:lnTo>
                    <a:lnTo>
                      <a:pt x="97" y="203"/>
                    </a:lnTo>
                    <a:lnTo>
                      <a:pt x="97" y="204"/>
                    </a:lnTo>
                    <a:lnTo>
                      <a:pt x="97" y="206"/>
                    </a:lnTo>
                    <a:lnTo>
                      <a:pt x="97" y="208"/>
                    </a:lnTo>
                    <a:lnTo>
                      <a:pt x="97" y="211"/>
                    </a:lnTo>
                    <a:lnTo>
                      <a:pt x="99" y="213"/>
                    </a:lnTo>
                    <a:lnTo>
                      <a:pt x="99" y="215"/>
                    </a:lnTo>
                    <a:lnTo>
                      <a:pt x="99" y="216"/>
                    </a:lnTo>
                    <a:lnTo>
                      <a:pt x="99" y="220"/>
                    </a:lnTo>
                    <a:lnTo>
                      <a:pt x="97" y="228"/>
                    </a:lnTo>
                    <a:lnTo>
                      <a:pt x="95" y="230"/>
                    </a:lnTo>
                    <a:lnTo>
                      <a:pt x="99" y="235"/>
                    </a:lnTo>
                    <a:lnTo>
                      <a:pt x="99" y="245"/>
                    </a:lnTo>
                    <a:lnTo>
                      <a:pt x="99" y="249"/>
                    </a:lnTo>
                    <a:lnTo>
                      <a:pt x="102" y="250"/>
                    </a:lnTo>
                    <a:lnTo>
                      <a:pt x="102" y="254"/>
                    </a:lnTo>
                    <a:lnTo>
                      <a:pt x="100" y="254"/>
                    </a:lnTo>
                    <a:lnTo>
                      <a:pt x="99" y="254"/>
                    </a:lnTo>
                    <a:lnTo>
                      <a:pt x="99" y="262"/>
                    </a:lnTo>
                    <a:lnTo>
                      <a:pt x="100" y="262"/>
                    </a:lnTo>
                    <a:lnTo>
                      <a:pt x="100" y="267"/>
                    </a:lnTo>
                    <a:lnTo>
                      <a:pt x="99" y="271"/>
                    </a:lnTo>
                    <a:lnTo>
                      <a:pt x="102" y="272"/>
                    </a:lnTo>
                    <a:lnTo>
                      <a:pt x="99" y="276"/>
                    </a:lnTo>
                    <a:lnTo>
                      <a:pt x="97" y="278"/>
                    </a:lnTo>
                    <a:lnTo>
                      <a:pt x="99" y="279"/>
                    </a:lnTo>
                    <a:lnTo>
                      <a:pt x="99" y="283"/>
                    </a:lnTo>
                    <a:lnTo>
                      <a:pt x="99" y="284"/>
                    </a:lnTo>
                    <a:lnTo>
                      <a:pt x="99" y="286"/>
                    </a:lnTo>
                    <a:lnTo>
                      <a:pt x="100" y="288"/>
                    </a:lnTo>
                    <a:lnTo>
                      <a:pt x="102" y="288"/>
                    </a:lnTo>
                    <a:lnTo>
                      <a:pt x="100" y="289"/>
                    </a:lnTo>
                    <a:lnTo>
                      <a:pt x="99" y="293"/>
                    </a:lnTo>
                    <a:lnTo>
                      <a:pt x="99" y="296"/>
                    </a:lnTo>
                    <a:lnTo>
                      <a:pt x="97" y="300"/>
                    </a:lnTo>
                    <a:lnTo>
                      <a:pt x="97" y="307"/>
                    </a:lnTo>
                    <a:lnTo>
                      <a:pt x="85" y="307"/>
                    </a:lnTo>
                    <a:lnTo>
                      <a:pt x="83" y="308"/>
                    </a:lnTo>
                    <a:lnTo>
                      <a:pt x="78" y="308"/>
                    </a:lnTo>
                    <a:lnTo>
                      <a:pt x="68" y="308"/>
                    </a:lnTo>
                    <a:lnTo>
                      <a:pt x="58" y="310"/>
                    </a:lnTo>
                    <a:lnTo>
                      <a:pt x="42" y="313"/>
                    </a:lnTo>
                    <a:lnTo>
                      <a:pt x="51" y="312"/>
                    </a:lnTo>
                    <a:lnTo>
                      <a:pt x="51" y="310"/>
                    </a:lnTo>
                    <a:lnTo>
                      <a:pt x="49" y="308"/>
                    </a:lnTo>
                    <a:lnTo>
                      <a:pt x="51" y="307"/>
                    </a:lnTo>
                    <a:lnTo>
                      <a:pt x="49" y="305"/>
                    </a:lnTo>
                    <a:lnTo>
                      <a:pt x="49" y="303"/>
                    </a:lnTo>
                    <a:lnTo>
                      <a:pt x="49" y="301"/>
                    </a:lnTo>
                    <a:lnTo>
                      <a:pt x="46" y="300"/>
                    </a:lnTo>
                    <a:lnTo>
                      <a:pt x="46" y="298"/>
                    </a:lnTo>
                    <a:lnTo>
                      <a:pt x="44" y="298"/>
                    </a:lnTo>
                    <a:lnTo>
                      <a:pt x="44" y="296"/>
                    </a:lnTo>
                    <a:lnTo>
                      <a:pt x="41" y="295"/>
                    </a:lnTo>
                    <a:lnTo>
                      <a:pt x="41" y="293"/>
                    </a:lnTo>
                    <a:lnTo>
                      <a:pt x="42" y="293"/>
                    </a:lnTo>
                    <a:lnTo>
                      <a:pt x="39" y="291"/>
                    </a:lnTo>
                    <a:lnTo>
                      <a:pt x="41" y="289"/>
                    </a:lnTo>
                    <a:lnTo>
                      <a:pt x="41" y="288"/>
                    </a:lnTo>
                    <a:lnTo>
                      <a:pt x="42" y="288"/>
                    </a:lnTo>
                    <a:lnTo>
                      <a:pt x="42" y="286"/>
                    </a:lnTo>
                    <a:lnTo>
                      <a:pt x="41" y="286"/>
                    </a:lnTo>
                    <a:lnTo>
                      <a:pt x="41" y="284"/>
                    </a:lnTo>
                    <a:lnTo>
                      <a:pt x="41" y="283"/>
                    </a:lnTo>
                    <a:lnTo>
                      <a:pt x="41" y="279"/>
                    </a:lnTo>
                    <a:lnTo>
                      <a:pt x="39" y="274"/>
                    </a:lnTo>
                    <a:lnTo>
                      <a:pt x="42" y="276"/>
                    </a:lnTo>
                    <a:lnTo>
                      <a:pt x="42" y="254"/>
                    </a:lnTo>
                    <a:lnTo>
                      <a:pt x="42" y="250"/>
                    </a:lnTo>
                    <a:lnTo>
                      <a:pt x="44" y="250"/>
                    </a:lnTo>
                    <a:lnTo>
                      <a:pt x="44" y="247"/>
                    </a:lnTo>
                    <a:lnTo>
                      <a:pt x="44" y="244"/>
                    </a:lnTo>
                    <a:lnTo>
                      <a:pt x="42" y="240"/>
                    </a:lnTo>
                    <a:lnTo>
                      <a:pt x="42" y="233"/>
                    </a:lnTo>
                    <a:lnTo>
                      <a:pt x="42" y="215"/>
                    </a:lnTo>
                    <a:lnTo>
                      <a:pt x="42" y="206"/>
                    </a:lnTo>
                    <a:lnTo>
                      <a:pt x="42" y="201"/>
                    </a:lnTo>
                    <a:lnTo>
                      <a:pt x="44" y="199"/>
                    </a:lnTo>
                    <a:lnTo>
                      <a:pt x="42" y="198"/>
                    </a:lnTo>
                    <a:lnTo>
                      <a:pt x="42" y="194"/>
                    </a:lnTo>
                    <a:lnTo>
                      <a:pt x="42" y="172"/>
                    </a:lnTo>
                    <a:lnTo>
                      <a:pt x="42" y="169"/>
                    </a:lnTo>
                    <a:lnTo>
                      <a:pt x="39" y="165"/>
                    </a:lnTo>
                    <a:lnTo>
                      <a:pt x="34" y="160"/>
                    </a:lnTo>
                    <a:lnTo>
                      <a:pt x="32" y="157"/>
                    </a:lnTo>
                    <a:lnTo>
                      <a:pt x="31" y="148"/>
                    </a:lnTo>
                    <a:lnTo>
                      <a:pt x="29" y="148"/>
                    </a:lnTo>
                    <a:lnTo>
                      <a:pt x="27" y="147"/>
                    </a:lnTo>
                    <a:lnTo>
                      <a:pt x="29" y="140"/>
                    </a:lnTo>
                    <a:lnTo>
                      <a:pt x="29" y="123"/>
                    </a:lnTo>
                    <a:lnTo>
                      <a:pt x="10" y="113"/>
                    </a:lnTo>
                    <a:lnTo>
                      <a:pt x="0" y="102"/>
                    </a:lnTo>
                    <a:lnTo>
                      <a:pt x="0" y="97"/>
                    </a:lnTo>
                    <a:lnTo>
                      <a:pt x="0" y="94"/>
                    </a:lnTo>
                    <a:lnTo>
                      <a:pt x="0" y="85"/>
                    </a:lnTo>
                    <a:lnTo>
                      <a:pt x="5" y="82"/>
                    </a:lnTo>
                    <a:lnTo>
                      <a:pt x="7" y="72"/>
                    </a:lnTo>
                    <a:lnTo>
                      <a:pt x="8" y="70"/>
                    </a:lnTo>
                    <a:lnTo>
                      <a:pt x="10" y="67"/>
                    </a:lnTo>
                    <a:lnTo>
                      <a:pt x="12" y="68"/>
                    </a:lnTo>
                    <a:lnTo>
                      <a:pt x="12" y="70"/>
                    </a:lnTo>
                    <a:lnTo>
                      <a:pt x="14" y="68"/>
                    </a:lnTo>
                    <a:lnTo>
                      <a:pt x="17" y="70"/>
                    </a:lnTo>
                    <a:lnTo>
                      <a:pt x="15" y="68"/>
                    </a:lnTo>
                    <a:lnTo>
                      <a:pt x="15" y="67"/>
                    </a:lnTo>
                    <a:lnTo>
                      <a:pt x="14" y="65"/>
                    </a:lnTo>
                    <a:lnTo>
                      <a:pt x="15" y="65"/>
                    </a:lnTo>
                    <a:lnTo>
                      <a:pt x="17" y="63"/>
                    </a:lnTo>
                    <a:lnTo>
                      <a:pt x="19" y="63"/>
                    </a:lnTo>
                    <a:lnTo>
                      <a:pt x="19" y="60"/>
                    </a:lnTo>
                    <a:lnTo>
                      <a:pt x="17" y="60"/>
                    </a:lnTo>
                    <a:lnTo>
                      <a:pt x="17" y="58"/>
                    </a:lnTo>
                    <a:lnTo>
                      <a:pt x="19" y="58"/>
                    </a:lnTo>
                    <a:lnTo>
                      <a:pt x="22" y="58"/>
                    </a:lnTo>
                    <a:lnTo>
                      <a:pt x="24" y="60"/>
                    </a:lnTo>
                    <a:lnTo>
                      <a:pt x="25" y="58"/>
                    </a:lnTo>
                    <a:lnTo>
                      <a:pt x="24" y="56"/>
                    </a:lnTo>
                    <a:lnTo>
                      <a:pt x="24" y="55"/>
                    </a:lnTo>
                    <a:lnTo>
                      <a:pt x="25" y="56"/>
                    </a:lnTo>
                    <a:lnTo>
                      <a:pt x="27" y="56"/>
                    </a:lnTo>
                    <a:lnTo>
                      <a:pt x="27" y="58"/>
                    </a:lnTo>
                    <a:lnTo>
                      <a:pt x="27" y="56"/>
                    </a:lnTo>
                    <a:lnTo>
                      <a:pt x="29" y="56"/>
                    </a:lnTo>
                    <a:lnTo>
                      <a:pt x="27" y="53"/>
                    </a:lnTo>
                    <a:lnTo>
                      <a:pt x="29" y="53"/>
                    </a:lnTo>
                    <a:lnTo>
                      <a:pt x="29" y="51"/>
                    </a:lnTo>
                    <a:lnTo>
                      <a:pt x="31" y="53"/>
                    </a:lnTo>
                    <a:lnTo>
                      <a:pt x="31" y="51"/>
                    </a:lnTo>
                    <a:lnTo>
                      <a:pt x="31" y="50"/>
                    </a:lnTo>
                    <a:lnTo>
                      <a:pt x="32" y="50"/>
                    </a:lnTo>
                    <a:lnTo>
                      <a:pt x="32" y="48"/>
                    </a:lnTo>
                    <a:lnTo>
                      <a:pt x="34" y="48"/>
                    </a:lnTo>
                    <a:lnTo>
                      <a:pt x="36" y="50"/>
                    </a:lnTo>
                    <a:lnTo>
                      <a:pt x="36" y="48"/>
                    </a:lnTo>
                    <a:lnTo>
                      <a:pt x="36" y="50"/>
                    </a:lnTo>
                    <a:lnTo>
                      <a:pt x="37" y="50"/>
                    </a:lnTo>
                    <a:lnTo>
                      <a:pt x="39" y="48"/>
                    </a:lnTo>
                    <a:lnTo>
                      <a:pt x="41" y="50"/>
                    </a:lnTo>
                    <a:lnTo>
                      <a:pt x="41" y="51"/>
                    </a:lnTo>
                    <a:lnTo>
                      <a:pt x="42" y="53"/>
                    </a:lnTo>
                    <a:lnTo>
                      <a:pt x="42" y="51"/>
                    </a:lnTo>
                    <a:lnTo>
                      <a:pt x="44" y="51"/>
                    </a:lnTo>
                    <a:lnTo>
                      <a:pt x="46" y="51"/>
                    </a:lnTo>
                    <a:lnTo>
                      <a:pt x="46" y="50"/>
                    </a:lnTo>
                    <a:lnTo>
                      <a:pt x="49" y="51"/>
                    </a:lnTo>
                    <a:lnTo>
                      <a:pt x="51" y="50"/>
                    </a:lnTo>
                    <a:lnTo>
                      <a:pt x="54" y="50"/>
                    </a:lnTo>
                    <a:lnTo>
                      <a:pt x="56" y="50"/>
                    </a:lnTo>
                    <a:lnTo>
                      <a:pt x="63" y="50"/>
                    </a:lnTo>
                    <a:lnTo>
                      <a:pt x="71" y="41"/>
                    </a:lnTo>
                    <a:lnTo>
                      <a:pt x="76" y="38"/>
                    </a:lnTo>
                    <a:lnTo>
                      <a:pt x="76" y="36"/>
                    </a:lnTo>
                    <a:lnTo>
                      <a:pt x="78" y="33"/>
                    </a:lnTo>
                    <a:lnTo>
                      <a:pt x="80" y="33"/>
                    </a:lnTo>
                    <a:lnTo>
                      <a:pt x="80" y="31"/>
                    </a:lnTo>
                    <a:lnTo>
                      <a:pt x="80" y="29"/>
                    </a:lnTo>
                    <a:lnTo>
                      <a:pt x="82" y="28"/>
                    </a:lnTo>
                    <a:lnTo>
                      <a:pt x="82" y="26"/>
                    </a:lnTo>
                    <a:lnTo>
                      <a:pt x="82" y="24"/>
                    </a:lnTo>
                    <a:lnTo>
                      <a:pt x="83" y="24"/>
                    </a:lnTo>
                    <a:lnTo>
                      <a:pt x="83" y="22"/>
                    </a:lnTo>
                    <a:lnTo>
                      <a:pt x="85" y="22"/>
                    </a:lnTo>
                    <a:lnTo>
                      <a:pt x="82" y="16"/>
                    </a:lnTo>
                    <a:lnTo>
                      <a:pt x="82" y="14"/>
                    </a:lnTo>
                    <a:lnTo>
                      <a:pt x="80" y="12"/>
                    </a:lnTo>
                    <a:lnTo>
                      <a:pt x="82" y="12"/>
                    </a:lnTo>
                    <a:lnTo>
                      <a:pt x="80" y="11"/>
                    </a:lnTo>
                    <a:lnTo>
                      <a:pt x="82" y="11"/>
                    </a:lnTo>
                    <a:lnTo>
                      <a:pt x="80" y="9"/>
                    </a:lnTo>
                    <a:lnTo>
                      <a:pt x="83" y="9"/>
                    </a:lnTo>
                    <a:lnTo>
                      <a:pt x="85" y="9"/>
                    </a:lnTo>
                    <a:lnTo>
                      <a:pt x="85" y="7"/>
                    </a:lnTo>
                    <a:lnTo>
                      <a:pt x="87" y="9"/>
                    </a:lnTo>
                    <a:lnTo>
                      <a:pt x="88" y="7"/>
                    </a:lnTo>
                    <a:lnTo>
                      <a:pt x="90" y="7"/>
                    </a:lnTo>
                    <a:lnTo>
                      <a:pt x="92" y="5"/>
                    </a:lnTo>
                    <a:lnTo>
                      <a:pt x="95" y="5"/>
                    </a:lnTo>
                    <a:lnTo>
                      <a:pt x="95" y="7"/>
                    </a:lnTo>
                    <a:lnTo>
                      <a:pt x="99" y="4"/>
                    </a:lnTo>
                    <a:lnTo>
                      <a:pt x="100" y="4"/>
                    </a:lnTo>
                    <a:lnTo>
                      <a:pt x="100" y="2"/>
                    </a:lnTo>
                    <a:lnTo>
                      <a:pt x="104" y="2"/>
                    </a:lnTo>
                    <a:lnTo>
                      <a:pt x="104" y="0"/>
                    </a:lnTo>
                    <a:lnTo>
                      <a:pt x="105" y="2"/>
                    </a:lnTo>
                    <a:lnTo>
                      <a:pt x="110" y="7"/>
                    </a:lnTo>
                    <a:lnTo>
                      <a:pt x="112" y="7"/>
                    </a:lnTo>
                    <a:lnTo>
                      <a:pt x="116" y="12"/>
                    </a:lnTo>
                    <a:lnTo>
                      <a:pt x="119" y="14"/>
                    </a:lnTo>
                    <a:lnTo>
                      <a:pt x="126" y="21"/>
                    </a:lnTo>
                    <a:lnTo>
                      <a:pt x="124" y="22"/>
                    </a:lnTo>
                    <a:lnTo>
                      <a:pt x="127" y="28"/>
                    </a:lnTo>
                    <a:lnTo>
                      <a:pt x="134" y="28"/>
                    </a:lnTo>
                    <a:lnTo>
                      <a:pt x="136" y="29"/>
                    </a:lnTo>
                    <a:lnTo>
                      <a:pt x="138" y="31"/>
                    </a:lnTo>
                    <a:lnTo>
                      <a:pt x="139" y="33"/>
                    </a:lnTo>
                    <a:lnTo>
                      <a:pt x="141" y="33"/>
                    </a:lnTo>
                    <a:lnTo>
                      <a:pt x="139" y="36"/>
                    </a:lnTo>
                    <a:lnTo>
                      <a:pt x="143" y="36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3" name="Freeform 13">
                <a:extLst>
                  <a:ext uri="{FF2B5EF4-FFF2-40B4-BE49-F238E27FC236}">
                    <a16:creationId xmlns:a16="http://schemas.microsoft.com/office/drawing/2014/main" id="{3AD70C83-91BB-42FC-8F68-A4200493019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183137" y="4884536"/>
                <a:ext cx="754040" cy="731808"/>
              </a:xfrm>
              <a:custGeom>
                <a:avLst/>
                <a:gdLst>
                  <a:gd name="T0" fmla="*/ 284 w 475"/>
                  <a:gd name="T1" fmla="*/ 34 h 461"/>
                  <a:gd name="T2" fmla="*/ 303 w 475"/>
                  <a:gd name="T3" fmla="*/ 60 h 461"/>
                  <a:gd name="T4" fmla="*/ 323 w 475"/>
                  <a:gd name="T5" fmla="*/ 92 h 461"/>
                  <a:gd name="T6" fmla="*/ 345 w 475"/>
                  <a:gd name="T7" fmla="*/ 111 h 461"/>
                  <a:gd name="T8" fmla="*/ 369 w 475"/>
                  <a:gd name="T9" fmla="*/ 138 h 461"/>
                  <a:gd name="T10" fmla="*/ 391 w 475"/>
                  <a:gd name="T11" fmla="*/ 140 h 461"/>
                  <a:gd name="T12" fmla="*/ 391 w 475"/>
                  <a:gd name="T13" fmla="*/ 160 h 461"/>
                  <a:gd name="T14" fmla="*/ 403 w 475"/>
                  <a:gd name="T15" fmla="*/ 184 h 461"/>
                  <a:gd name="T16" fmla="*/ 420 w 475"/>
                  <a:gd name="T17" fmla="*/ 192 h 461"/>
                  <a:gd name="T18" fmla="*/ 458 w 475"/>
                  <a:gd name="T19" fmla="*/ 206 h 461"/>
                  <a:gd name="T20" fmla="*/ 475 w 475"/>
                  <a:gd name="T21" fmla="*/ 223 h 461"/>
                  <a:gd name="T22" fmla="*/ 449 w 475"/>
                  <a:gd name="T23" fmla="*/ 237 h 461"/>
                  <a:gd name="T24" fmla="*/ 422 w 475"/>
                  <a:gd name="T25" fmla="*/ 244 h 461"/>
                  <a:gd name="T26" fmla="*/ 403 w 475"/>
                  <a:gd name="T27" fmla="*/ 262 h 461"/>
                  <a:gd name="T28" fmla="*/ 390 w 475"/>
                  <a:gd name="T29" fmla="*/ 274 h 461"/>
                  <a:gd name="T30" fmla="*/ 374 w 475"/>
                  <a:gd name="T31" fmla="*/ 284 h 461"/>
                  <a:gd name="T32" fmla="*/ 366 w 475"/>
                  <a:gd name="T33" fmla="*/ 291 h 461"/>
                  <a:gd name="T34" fmla="*/ 357 w 475"/>
                  <a:gd name="T35" fmla="*/ 298 h 461"/>
                  <a:gd name="T36" fmla="*/ 352 w 475"/>
                  <a:gd name="T37" fmla="*/ 313 h 461"/>
                  <a:gd name="T38" fmla="*/ 339 w 475"/>
                  <a:gd name="T39" fmla="*/ 332 h 461"/>
                  <a:gd name="T40" fmla="*/ 296 w 475"/>
                  <a:gd name="T41" fmla="*/ 352 h 461"/>
                  <a:gd name="T42" fmla="*/ 282 w 475"/>
                  <a:gd name="T43" fmla="*/ 398 h 461"/>
                  <a:gd name="T44" fmla="*/ 248 w 475"/>
                  <a:gd name="T45" fmla="*/ 407 h 461"/>
                  <a:gd name="T46" fmla="*/ 220 w 475"/>
                  <a:gd name="T47" fmla="*/ 402 h 461"/>
                  <a:gd name="T48" fmla="*/ 206 w 475"/>
                  <a:gd name="T49" fmla="*/ 397 h 461"/>
                  <a:gd name="T50" fmla="*/ 194 w 475"/>
                  <a:gd name="T51" fmla="*/ 393 h 461"/>
                  <a:gd name="T52" fmla="*/ 184 w 475"/>
                  <a:gd name="T53" fmla="*/ 385 h 461"/>
                  <a:gd name="T54" fmla="*/ 174 w 475"/>
                  <a:gd name="T55" fmla="*/ 381 h 461"/>
                  <a:gd name="T56" fmla="*/ 155 w 475"/>
                  <a:gd name="T57" fmla="*/ 381 h 461"/>
                  <a:gd name="T58" fmla="*/ 148 w 475"/>
                  <a:gd name="T59" fmla="*/ 390 h 461"/>
                  <a:gd name="T60" fmla="*/ 143 w 475"/>
                  <a:gd name="T61" fmla="*/ 400 h 461"/>
                  <a:gd name="T62" fmla="*/ 138 w 475"/>
                  <a:gd name="T63" fmla="*/ 414 h 461"/>
                  <a:gd name="T64" fmla="*/ 131 w 475"/>
                  <a:gd name="T65" fmla="*/ 426 h 461"/>
                  <a:gd name="T66" fmla="*/ 118 w 475"/>
                  <a:gd name="T67" fmla="*/ 432 h 461"/>
                  <a:gd name="T68" fmla="*/ 104 w 475"/>
                  <a:gd name="T69" fmla="*/ 448 h 461"/>
                  <a:gd name="T70" fmla="*/ 78 w 475"/>
                  <a:gd name="T71" fmla="*/ 460 h 461"/>
                  <a:gd name="T72" fmla="*/ 50 w 475"/>
                  <a:gd name="T73" fmla="*/ 456 h 461"/>
                  <a:gd name="T74" fmla="*/ 36 w 475"/>
                  <a:gd name="T75" fmla="*/ 458 h 461"/>
                  <a:gd name="T76" fmla="*/ 31 w 475"/>
                  <a:gd name="T77" fmla="*/ 443 h 461"/>
                  <a:gd name="T78" fmla="*/ 43 w 475"/>
                  <a:gd name="T79" fmla="*/ 419 h 461"/>
                  <a:gd name="T80" fmla="*/ 38 w 475"/>
                  <a:gd name="T81" fmla="*/ 405 h 461"/>
                  <a:gd name="T82" fmla="*/ 33 w 475"/>
                  <a:gd name="T83" fmla="*/ 390 h 461"/>
                  <a:gd name="T84" fmla="*/ 27 w 475"/>
                  <a:gd name="T85" fmla="*/ 381 h 461"/>
                  <a:gd name="T86" fmla="*/ 21 w 475"/>
                  <a:gd name="T87" fmla="*/ 369 h 461"/>
                  <a:gd name="T88" fmla="*/ 5 w 475"/>
                  <a:gd name="T89" fmla="*/ 358 h 461"/>
                  <a:gd name="T90" fmla="*/ 0 w 475"/>
                  <a:gd name="T91" fmla="*/ 279 h 461"/>
                  <a:gd name="T92" fmla="*/ 51 w 475"/>
                  <a:gd name="T93" fmla="*/ 213 h 461"/>
                  <a:gd name="T94" fmla="*/ 51 w 475"/>
                  <a:gd name="T95" fmla="*/ 73 h 461"/>
                  <a:gd name="T96" fmla="*/ 140 w 475"/>
                  <a:gd name="T97" fmla="*/ 14 h 461"/>
                  <a:gd name="T98" fmla="*/ 174 w 475"/>
                  <a:gd name="T99" fmla="*/ 19 h 461"/>
                  <a:gd name="T100" fmla="*/ 180 w 475"/>
                  <a:gd name="T101" fmla="*/ 34 h 461"/>
                  <a:gd name="T102" fmla="*/ 199 w 475"/>
                  <a:gd name="T103" fmla="*/ 24 h 461"/>
                  <a:gd name="T104" fmla="*/ 211 w 475"/>
                  <a:gd name="T105" fmla="*/ 14 h 461"/>
                  <a:gd name="T106" fmla="*/ 228 w 475"/>
                  <a:gd name="T107" fmla="*/ 10 h 461"/>
                  <a:gd name="T108" fmla="*/ 238 w 475"/>
                  <a:gd name="T109" fmla="*/ 7 h 461"/>
                  <a:gd name="T110" fmla="*/ 252 w 475"/>
                  <a:gd name="T111" fmla="*/ 0 h 461"/>
                  <a:gd name="T112" fmla="*/ 267 w 475"/>
                  <a:gd name="T113" fmla="*/ 0 h 4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75" h="461">
                    <a:moveTo>
                      <a:pt x="267" y="0"/>
                    </a:moveTo>
                    <a:lnTo>
                      <a:pt x="265" y="5"/>
                    </a:lnTo>
                    <a:lnTo>
                      <a:pt x="267" y="9"/>
                    </a:lnTo>
                    <a:lnTo>
                      <a:pt x="269" y="12"/>
                    </a:lnTo>
                    <a:lnTo>
                      <a:pt x="271" y="14"/>
                    </a:lnTo>
                    <a:lnTo>
                      <a:pt x="272" y="16"/>
                    </a:lnTo>
                    <a:lnTo>
                      <a:pt x="276" y="19"/>
                    </a:lnTo>
                    <a:lnTo>
                      <a:pt x="281" y="31"/>
                    </a:lnTo>
                    <a:lnTo>
                      <a:pt x="284" y="34"/>
                    </a:lnTo>
                    <a:lnTo>
                      <a:pt x="286" y="36"/>
                    </a:lnTo>
                    <a:lnTo>
                      <a:pt x="289" y="39"/>
                    </a:lnTo>
                    <a:lnTo>
                      <a:pt x="293" y="43"/>
                    </a:lnTo>
                    <a:lnTo>
                      <a:pt x="294" y="46"/>
                    </a:lnTo>
                    <a:lnTo>
                      <a:pt x="294" y="48"/>
                    </a:lnTo>
                    <a:lnTo>
                      <a:pt x="294" y="50"/>
                    </a:lnTo>
                    <a:lnTo>
                      <a:pt x="296" y="53"/>
                    </a:lnTo>
                    <a:lnTo>
                      <a:pt x="301" y="56"/>
                    </a:lnTo>
                    <a:lnTo>
                      <a:pt x="303" y="60"/>
                    </a:lnTo>
                    <a:lnTo>
                      <a:pt x="305" y="63"/>
                    </a:lnTo>
                    <a:lnTo>
                      <a:pt x="303" y="65"/>
                    </a:lnTo>
                    <a:lnTo>
                      <a:pt x="303" y="67"/>
                    </a:lnTo>
                    <a:lnTo>
                      <a:pt x="308" y="75"/>
                    </a:lnTo>
                    <a:lnTo>
                      <a:pt x="311" y="84"/>
                    </a:lnTo>
                    <a:lnTo>
                      <a:pt x="313" y="89"/>
                    </a:lnTo>
                    <a:lnTo>
                      <a:pt x="316" y="90"/>
                    </a:lnTo>
                    <a:lnTo>
                      <a:pt x="320" y="90"/>
                    </a:lnTo>
                    <a:lnTo>
                      <a:pt x="323" y="92"/>
                    </a:lnTo>
                    <a:lnTo>
                      <a:pt x="322" y="96"/>
                    </a:lnTo>
                    <a:lnTo>
                      <a:pt x="325" y="96"/>
                    </a:lnTo>
                    <a:lnTo>
                      <a:pt x="327" y="99"/>
                    </a:lnTo>
                    <a:lnTo>
                      <a:pt x="333" y="101"/>
                    </a:lnTo>
                    <a:lnTo>
                      <a:pt x="335" y="106"/>
                    </a:lnTo>
                    <a:lnTo>
                      <a:pt x="340" y="106"/>
                    </a:lnTo>
                    <a:lnTo>
                      <a:pt x="342" y="109"/>
                    </a:lnTo>
                    <a:lnTo>
                      <a:pt x="344" y="109"/>
                    </a:lnTo>
                    <a:lnTo>
                      <a:pt x="345" y="111"/>
                    </a:lnTo>
                    <a:lnTo>
                      <a:pt x="350" y="111"/>
                    </a:lnTo>
                    <a:lnTo>
                      <a:pt x="352" y="113"/>
                    </a:lnTo>
                    <a:lnTo>
                      <a:pt x="357" y="113"/>
                    </a:lnTo>
                    <a:lnTo>
                      <a:pt x="359" y="114"/>
                    </a:lnTo>
                    <a:lnTo>
                      <a:pt x="361" y="116"/>
                    </a:lnTo>
                    <a:lnTo>
                      <a:pt x="366" y="116"/>
                    </a:lnTo>
                    <a:lnTo>
                      <a:pt x="367" y="118"/>
                    </a:lnTo>
                    <a:lnTo>
                      <a:pt x="371" y="128"/>
                    </a:lnTo>
                    <a:lnTo>
                      <a:pt x="369" y="138"/>
                    </a:lnTo>
                    <a:lnTo>
                      <a:pt x="374" y="136"/>
                    </a:lnTo>
                    <a:lnTo>
                      <a:pt x="378" y="136"/>
                    </a:lnTo>
                    <a:lnTo>
                      <a:pt x="379" y="136"/>
                    </a:lnTo>
                    <a:lnTo>
                      <a:pt x="384" y="136"/>
                    </a:lnTo>
                    <a:lnTo>
                      <a:pt x="386" y="136"/>
                    </a:lnTo>
                    <a:lnTo>
                      <a:pt x="388" y="138"/>
                    </a:lnTo>
                    <a:lnTo>
                      <a:pt x="390" y="136"/>
                    </a:lnTo>
                    <a:lnTo>
                      <a:pt x="391" y="138"/>
                    </a:lnTo>
                    <a:lnTo>
                      <a:pt x="391" y="140"/>
                    </a:lnTo>
                    <a:lnTo>
                      <a:pt x="391" y="143"/>
                    </a:lnTo>
                    <a:lnTo>
                      <a:pt x="391" y="145"/>
                    </a:lnTo>
                    <a:lnTo>
                      <a:pt x="393" y="148"/>
                    </a:lnTo>
                    <a:lnTo>
                      <a:pt x="393" y="150"/>
                    </a:lnTo>
                    <a:lnTo>
                      <a:pt x="391" y="155"/>
                    </a:lnTo>
                    <a:lnTo>
                      <a:pt x="390" y="155"/>
                    </a:lnTo>
                    <a:lnTo>
                      <a:pt x="391" y="158"/>
                    </a:lnTo>
                    <a:lnTo>
                      <a:pt x="390" y="160"/>
                    </a:lnTo>
                    <a:lnTo>
                      <a:pt x="391" y="160"/>
                    </a:lnTo>
                    <a:lnTo>
                      <a:pt x="390" y="164"/>
                    </a:lnTo>
                    <a:lnTo>
                      <a:pt x="391" y="165"/>
                    </a:lnTo>
                    <a:lnTo>
                      <a:pt x="390" y="165"/>
                    </a:lnTo>
                    <a:lnTo>
                      <a:pt x="390" y="167"/>
                    </a:lnTo>
                    <a:lnTo>
                      <a:pt x="393" y="170"/>
                    </a:lnTo>
                    <a:lnTo>
                      <a:pt x="396" y="172"/>
                    </a:lnTo>
                    <a:lnTo>
                      <a:pt x="401" y="179"/>
                    </a:lnTo>
                    <a:lnTo>
                      <a:pt x="401" y="181"/>
                    </a:lnTo>
                    <a:lnTo>
                      <a:pt x="403" y="184"/>
                    </a:lnTo>
                    <a:lnTo>
                      <a:pt x="405" y="186"/>
                    </a:lnTo>
                    <a:lnTo>
                      <a:pt x="403" y="187"/>
                    </a:lnTo>
                    <a:lnTo>
                      <a:pt x="405" y="187"/>
                    </a:lnTo>
                    <a:lnTo>
                      <a:pt x="405" y="189"/>
                    </a:lnTo>
                    <a:lnTo>
                      <a:pt x="407" y="189"/>
                    </a:lnTo>
                    <a:lnTo>
                      <a:pt x="405" y="189"/>
                    </a:lnTo>
                    <a:lnTo>
                      <a:pt x="407" y="192"/>
                    </a:lnTo>
                    <a:lnTo>
                      <a:pt x="415" y="192"/>
                    </a:lnTo>
                    <a:lnTo>
                      <a:pt x="420" y="192"/>
                    </a:lnTo>
                    <a:lnTo>
                      <a:pt x="424" y="192"/>
                    </a:lnTo>
                    <a:lnTo>
                      <a:pt x="432" y="196"/>
                    </a:lnTo>
                    <a:lnTo>
                      <a:pt x="435" y="194"/>
                    </a:lnTo>
                    <a:lnTo>
                      <a:pt x="449" y="201"/>
                    </a:lnTo>
                    <a:lnTo>
                      <a:pt x="454" y="203"/>
                    </a:lnTo>
                    <a:lnTo>
                      <a:pt x="456" y="201"/>
                    </a:lnTo>
                    <a:lnTo>
                      <a:pt x="458" y="203"/>
                    </a:lnTo>
                    <a:lnTo>
                      <a:pt x="459" y="204"/>
                    </a:lnTo>
                    <a:lnTo>
                      <a:pt x="458" y="206"/>
                    </a:lnTo>
                    <a:lnTo>
                      <a:pt x="458" y="210"/>
                    </a:lnTo>
                    <a:lnTo>
                      <a:pt x="458" y="211"/>
                    </a:lnTo>
                    <a:lnTo>
                      <a:pt x="459" y="215"/>
                    </a:lnTo>
                    <a:lnTo>
                      <a:pt x="463" y="216"/>
                    </a:lnTo>
                    <a:lnTo>
                      <a:pt x="464" y="216"/>
                    </a:lnTo>
                    <a:lnTo>
                      <a:pt x="469" y="216"/>
                    </a:lnTo>
                    <a:lnTo>
                      <a:pt x="469" y="218"/>
                    </a:lnTo>
                    <a:lnTo>
                      <a:pt x="471" y="220"/>
                    </a:lnTo>
                    <a:lnTo>
                      <a:pt x="475" y="223"/>
                    </a:lnTo>
                    <a:lnTo>
                      <a:pt x="473" y="223"/>
                    </a:lnTo>
                    <a:lnTo>
                      <a:pt x="469" y="223"/>
                    </a:lnTo>
                    <a:lnTo>
                      <a:pt x="468" y="223"/>
                    </a:lnTo>
                    <a:lnTo>
                      <a:pt x="464" y="225"/>
                    </a:lnTo>
                    <a:lnTo>
                      <a:pt x="458" y="225"/>
                    </a:lnTo>
                    <a:lnTo>
                      <a:pt x="454" y="228"/>
                    </a:lnTo>
                    <a:lnTo>
                      <a:pt x="454" y="233"/>
                    </a:lnTo>
                    <a:lnTo>
                      <a:pt x="452" y="237"/>
                    </a:lnTo>
                    <a:lnTo>
                      <a:pt x="449" y="237"/>
                    </a:lnTo>
                    <a:lnTo>
                      <a:pt x="447" y="237"/>
                    </a:lnTo>
                    <a:lnTo>
                      <a:pt x="447" y="238"/>
                    </a:lnTo>
                    <a:lnTo>
                      <a:pt x="444" y="238"/>
                    </a:lnTo>
                    <a:lnTo>
                      <a:pt x="439" y="242"/>
                    </a:lnTo>
                    <a:lnTo>
                      <a:pt x="434" y="242"/>
                    </a:lnTo>
                    <a:lnTo>
                      <a:pt x="432" y="244"/>
                    </a:lnTo>
                    <a:lnTo>
                      <a:pt x="430" y="242"/>
                    </a:lnTo>
                    <a:lnTo>
                      <a:pt x="424" y="242"/>
                    </a:lnTo>
                    <a:lnTo>
                      <a:pt x="422" y="244"/>
                    </a:lnTo>
                    <a:lnTo>
                      <a:pt x="420" y="245"/>
                    </a:lnTo>
                    <a:lnTo>
                      <a:pt x="418" y="247"/>
                    </a:lnTo>
                    <a:lnTo>
                      <a:pt x="417" y="247"/>
                    </a:lnTo>
                    <a:lnTo>
                      <a:pt x="415" y="249"/>
                    </a:lnTo>
                    <a:lnTo>
                      <a:pt x="413" y="252"/>
                    </a:lnTo>
                    <a:lnTo>
                      <a:pt x="410" y="255"/>
                    </a:lnTo>
                    <a:lnTo>
                      <a:pt x="408" y="255"/>
                    </a:lnTo>
                    <a:lnTo>
                      <a:pt x="408" y="259"/>
                    </a:lnTo>
                    <a:lnTo>
                      <a:pt x="403" y="262"/>
                    </a:lnTo>
                    <a:lnTo>
                      <a:pt x="403" y="267"/>
                    </a:lnTo>
                    <a:lnTo>
                      <a:pt x="400" y="269"/>
                    </a:lnTo>
                    <a:lnTo>
                      <a:pt x="396" y="269"/>
                    </a:lnTo>
                    <a:lnTo>
                      <a:pt x="396" y="271"/>
                    </a:lnTo>
                    <a:lnTo>
                      <a:pt x="395" y="271"/>
                    </a:lnTo>
                    <a:lnTo>
                      <a:pt x="395" y="272"/>
                    </a:lnTo>
                    <a:lnTo>
                      <a:pt x="393" y="276"/>
                    </a:lnTo>
                    <a:lnTo>
                      <a:pt x="391" y="276"/>
                    </a:lnTo>
                    <a:lnTo>
                      <a:pt x="390" y="274"/>
                    </a:lnTo>
                    <a:lnTo>
                      <a:pt x="388" y="276"/>
                    </a:lnTo>
                    <a:lnTo>
                      <a:pt x="386" y="276"/>
                    </a:lnTo>
                    <a:lnTo>
                      <a:pt x="384" y="278"/>
                    </a:lnTo>
                    <a:lnTo>
                      <a:pt x="384" y="281"/>
                    </a:lnTo>
                    <a:lnTo>
                      <a:pt x="381" y="284"/>
                    </a:lnTo>
                    <a:lnTo>
                      <a:pt x="378" y="284"/>
                    </a:lnTo>
                    <a:lnTo>
                      <a:pt x="376" y="286"/>
                    </a:lnTo>
                    <a:lnTo>
                      <a:pt x="376" y="284"/>
                    </a:lnTo>
                    <a:lnTo>
                      <a:pt x="374" y="284"/>
                    </a:lnTo>
                    <a:lnTo>
                      <a:pt x="374" y="286"/>
                    </a:lnTo>
                    <a:lnTo>
                      <a:pt x="373" y="286"/>
                    </a:lnTo>
                    <a:lnTo>
                      <a:pt x="373" y="284"/>
                    </a:lnTo>
                    <a:lnTo>
                      <a:pt x="371" y="288"/>
                    </a:lnTo>
                    <a:lnTo>
                      <a:pt x="367" y="288"/>
                    </a:lnTo>
                    <a:lnTo>
                      <a:pt x="367" y="289"/>
                    </a:lnTo>
                    <a:lnTo>
                      <a:pt x="366" y="289"/>
                    </a:lnTo>
                    <a:lnTo>
                      <a:pt x="364" y="289"/>
                    </a:lnTo>
                    <a:lnTo>
                      <a:pt x="366" y="291"/>
                    </a:lnTo>
                    <a:lnTo>
                      <a:pt x="364" y="291"/>
                    </a:lnTo>
                    <a:lnTo>
                      <a:pt x="362" y="291"/>
                    </a:lnTo>
                    <a:lnTo>
                      <a:pt x="362" y="293"/>
                    </a:lnTo>
                    <a:lnTo>
                      <a:pt x="361" y="293"/>
                    </a:lnTo>
                    <a:lnTo>
                      <a:pt x="361" y="295"/>
                    </a:lnTo>
                    <a:lnTo>
                      <a:pt x="357" y="295"/>
                    </a:lnTo>
                    <a:lnTo>
                      <a:pt x="359" y="296"/>
                    </a:lnTo>
                    <a:lnTo>
                      <a:pt x="359" y="298"/>
                    </a:lnTo>
                    <a:lnTo>
                      <a:pt x="357" y="298"/>
                    </a:lnTo>
                    <a:lnTo>
                      <a:pt x="356" y="296"/>
                    </a:lnTo>
                    <a:lnTo>
                      <a:pt x="356" y="298"/>
                    </a:lnTo>
                    <a:lnTo>
                      <a:pt x="356" y="300"/>
                    </a:lnTo>
                    <a:lnTo>
                      <a:pt x="354" y="300"/>
                    </a:lnTo>
                    <a:lnTo>
                      <a:pt x="352" y="305"/>
                    </a:lnTo>
                    <a:lnTo>
                      <a:pt x="352" y="306"/>
                    </a:lnTo>
                    <a:lnTo>
                      <a:pt x="352" y="308"/>
                    </a:lnTo>
                    <a:lnTo>
                      <a:pt x="352" y="312"/>
                    </a:lnTo>
                    <a:lnTo>
                      <a:pt x="352" y="313"/>
                    </a:lnTo>
                    <a:lnTo>
                      <a:pt x="350" y="313"/>
                    </a:lnTo>
                    <a:lnTo>
                      <a:pt x="349" y="320"/>
                    </a:lnTo>
                    <a:lnTo>
                      <a:pt x="349" y="323"/>
                    </a:lnTo>
                    <a:lnTo>
                      <a:pt x="349" y="325"/>
                    </a:lnTo>
                    <a:lnTo>
                      <a:pt x="349" y="327"/>
                    </a:lnTo>
                    <a:lnTo>
                      <a:pt x="347" y="329"/>
                    </a:lnTo>
                    <a:lnTo>
                      <a:pt x="344" y="330"/>
                    </a:lnTo>
                    <a:lnTo>
                      <a:pt x="342" y="330"/>
                    </a:lnTo>
                    <a:lnTo>
                      <a:pt x="339" y="332"/>
                    </a:lnTo>
                    <a:lnTo>
                      <a:pt x="339" y="334"/>
                    </a:lnTo>
                    <a:lnTo>
                      <a:pt x="333" y="335"/>
                    </a:lnTo>
                    <a:lnTo>
                      <a:pt x="333" y="337"/>
                    </a:lnTo>
                    <a:lnTo>
                      <a:pt x="330" y="339"/>
                    </a:lnTo>
                    <a:lnTo>
                      <a:pt x="328" y="344"/>
                    </a:lnTo>
                    <a:lnTo>
                      <a:pt x="325" y="347"/>
                    </a:lnTo>
                    <a:lnTo>
                      <a:pt x="305" y="351"/>
                    </a:lnTo>
                    <a:lnTo>
                      <a:pt x="303" y="352"/>
                    </a:lnTo>
                    <a:lnTo>
                      <a:pt x="296" y="352"/>
                    </a:lnTo>
                    <a:lnTo>
                      <a:pt x="296" y="354"/>
                    </a:lnTo>
                    <a:lnTo>
                      <a:pt x="298" y="356"/>
                    </a:lnTo>
                    <a:lnTo>
                      <a:pt x="299" y="359"/>
                    </a:lnTo>
                    <a:lnTo>
                      <a:pt x="298" y="361"/>
                    </a:lnTo>
                    <a:lnTo>
                      <a:pt x="291" y="378"/>
                    </a:lnTo>
                    <a:lnTo>
                      <a:pt x="289" y="380"/>
                    </a:lnTo>
                    <a:lnTo>
                      <a:pt x="288" y="386"/>
                    </a:lnTo>
                    <a:lnTo>
                      <a:pt x="286" y="393"/>
                    </a:lnTo>
                    <a:lnTo>
                      <a:pt x="282" y="398"/>
                    </a:lnTo>
                    <a:lnTo>
                      <a:pt x="279" y="400"/>
                    </a:lnTo>
                    <a:lnTo>
                      <a:pt x="271" y="405"/>
                    </a:lnTo>
                    <a:lnTo>
                      <a:pt x="260" y="403"/>
                    </a:lnTo>
                    <a:lnTo>
                      <a:pt x="259" y="403"/>
                    </a:lnTo>
                    <a:lnTo>
                      <a:pt x="255" y="402"/>
                    </a:lnTo>
                    <a:lnTo>
                      <a:pt x="254" y="402"/>
                    </a:lnTo>
                    <a:lnTo>
                      <a:pt x="252" y="403"/>
                    </a:lnTo>
                    <a:lnTo>
                      <a:pt x="250" y="405"/>
                    </a:lnTo>
                    <a:lnTo>
                      <a:pt x="248" y="407"/>
                    </a:lnTo>
                    <a:lnTo>
                      <a:pt x="245" y="407"/>
                    </a:lnTo>
                    <a:lnTo>
                      <a:pt x="243" y="407"/>
                    </a:lnTo>
                    <a:lnTo>
                      <a:pt x="240" y="407"/>
                    </a:lnTo>
                    <a:lnTo>
                      <a:pt x="238" y="407"/>
                    </a:lnTo>
                    <a:lnTo>
                      <a:pt x="226" y="403"/>
                    </a:lnTo>
                    <a:lnTo>
                      <a:pt x="225" y="403"/>
                    </a:lnTo>
                    <a:lnTo>
                      <a:pt x="223" y="403"/>
                    </a:lnTo>
                    <a:lnTo>
                      <a:pt x="221" y="403"/>
                    </a:lnTo>
                    <a:lnTo>
                      <a:pt x="220" y="402"/>
                    </a:lnTo>
                    <a:lnTo>
                      <a:pt x="218" y="402"/>
                    </a:lnTo>
                    <a:lnTo>
                      <a:pt x="218" y="400"/>
                    </a:lnTo>
                    <a:lnTo>
                      <a:pt x="216" y="402"/>
                    </a:lnTo>
                    <a:lnTo>
                      <a:pt x="214" y="398"/>
                    </a:lnTo>
                    <a:lnTo>
                      <a:pt x="213" y="397"/>
                    </a:lnTo>
                    <a:lnTo>
                      <a:pt x="211" y="397"/>
                    </a:lnTo>
                    <a:lnTo>
                      <a:pt x="209" y="397"/>
                    </a:lnTo>
                    <a:lnTo>
                      <a:pt x="208" y="398"/>
                    </a:lnTo>
                    <a:lnTo>
                      <a:pt x="206" y="397"/>
                    </a:lnTo>
                    <a:lnTo>
                      <a:pt x="206" y="398"/>
                    </a:lnTo>
                    <a:lnTo>
                      <a:pt x="204" y="398"/>
                    </a:lnTo>
                    <a:lnTo>
                      <a:pt x="204" y="397"/>
                    </a:lnTo>
                    <a:lnTo>
                      <a:pt x="203" y="397"/>
                    </a:lnTo>
                    <a:lnTo>
                      <a:pt x="201" y="398"/>
                    </a:lnTo>
                    <a:lnTo>
                      <a:pt x="199" y="397"/>
                    </a:lnTo>
                    <a:lnTo>
                      <a:pt x="197" y="395"/>
                    </a:lnTo>
                    <a:lnTo>
                      <a:pt x="196" y="395"/>
                    </a:lnTo>
                    <a:lnTo>
                      <a:pt x="194" y="393"/>
                    </a:lnTo>
                    <a:lnTo>
                      <a:pt x="194" y="392"/>
                    </a:lnTo>
                    <a:lnTo>
                      <a:pt x="191" y="392"/>
                    </a:lnTo>
                    <a:lnTo>
                      <a:pt x="191" y="390"/>
                    </a:lnTo>
                    <a:lnTo>
                      <a:pt x="189" y="388"/>
                    </a:lnTo>
                    <a:lnTo>
                      <a:pt x="187" y="388"/>
                    </a:lnTo>
                    <a:lnTo>
                      <a:pt x="186" y="388"/>
                    </a:lnTo>
                    <a:lnTo>
                      <a:pt x="186" y="386"/>
                    </a:lnTo>
                    <a:lnTo>
                      <a:pt x="184" y="386"/>
                    </a:lnTo>
                    <a:lnTo>
                      <a:pt x="184" y="385"/>
                    </a:lnTo>
                    <a:lnTo>
                      <a:pt x="182" y="385"/>
                    </a:lnTo>
                    <a:lnTo>
                      <a:pt x="180" y="385"/>
                    </a:lnTo>
                    <a:lnTo>
                      <a:pt x="180" y="383"/>
                    </a:lnTo>
                    <a:lnTo>
                      <a:pt x="179" y="383"/>
                    </a:lnTo>
                    <a:lnTo>
                      <a:pt x="177" y="383"/>
                    </a:lnTo>
                    <a:lnTo>
                      <a:pt x="177" y="381"/>
                    </a:lnTo>
                    <a:lnTo>
                      <a:pt x="175" y="381"/>
                    </a:lnTo>
                    <a:lnTo>
                      <a:pt x="175" y="380"/>
                    </a:lnTo>
                    <a:lnTo>
                      <a:pt x="174" y="381"/>
                    </a:lnTo>
                    <a:lnTo>
                      <a:pt x="172" y="381"/>
                    </a:lnTo>
                    <a:lnTo>
                      <a:pt x="170" y="380"/>
                    </a:lnTo>
                    <a:lnTo>
                      <a:pt x="169" y="380"/>
                    </a:lnTo>
                    <a:lnTo>
                      <a:pt x="167" y="380"/>
                    </a:lnTo>
                    <a:lnTo>
                      <a:pt x="163" y="380"/>
                    </a:lnTo>
                    <a:lnTo>
                      <a:pt x="160" y="381"/>
                    </a:lnTo>
                    <a:lnTo>
                      <a:pt x="158" y="381"/>
                    </a:lnTo>
                    <a:lnTo>
                      <a:pt x="157" y="383"/>
                    </a:lnTo>
                    <a:lnTo>
                      <a:pt x="155" y="381"/>
                    </a:lnTo>
                    <a:lnTo>
                      <a:pt x="155" y="380"/>
                    </a:lnTo>
                    <a:lnTo>
                      <a:pt x="153" y="381"/>
                    </a:lnTo>
                    <a:lnTo>
                      <a:pt x="153" y="380"/>
                    </a:lnTo>
                    <a:lnTo>
                      <a:pt x="153" y="383"/>
                    </a:lnTo>
                    <a:lnTo>
                      <a:pt x="152" y="383"/>
                    </a:lnTo>
                    <a:lnTo>
                      <a:pt x="152" y="385"/>
                    </a:lnTo>
                    <a:lnTo>
                      <a:pt x="148" y="386"/>
                    </a:lnTo>
                    <a:lnTo>
                      <a:pt x="146" y="390"/>
                    </a:lnTo>
                    <a:lnTo>
                      <a:pt x="148" y="390"/>
                    </a:lnTo>
                    <a:lnTo>
                      <a:pt x="146" y="390"/>
                    </a:lnTo>
                    <a:lnTo>
                      <a:pt x="145" y="390"/>
                    </a:lnTo>
                    <a:lnTo>
                      <a:pt x="145" y="392"/>
                    </a:lnTo>
                    <a:lnTo>
                      <a:pt x="145" y="393"/>
                    </a:lnTo>
                    <a:lnTo>
                      <a:pt x="143" y="395"/>
                    </a:lnTo>
                    <a:lnTo>
                      <a:pt x="145" y="397"/>
                    </a:lnTo>
                    <a:lnTo>
                      <a:pt x="143" y="397"/>
                    </a:lnTo>
                    <a:lnTo>
                      <a:pt x="145" y="398"/>
                    </a:lnTo>
                    <a:lnTo>
                      <a:pt x="143" y="400"/>
                    </a:lnTo>
                    <a:lnTo>
                      <a:pt x="143" y="402"/>
                    </a:lnTo>
                    <a:lnTo>
                      <a:pt x="141" y="402"/>
                    </a:lnTo>
                    <a:lnTo>
                      <a:pt x="140" y="405"/>
                    </a:lnTo>
                    <a:lnTo>
                      <a:pt x="141" y="407"/>
                    </a:lnTo>
                    <a:lnTo>
                      <a:pt x="140" y="409"/>
                    </a:lnTo>
                    <a:lnTo>
                      <a:pt x="140" y="410"/>
                    </a:lnTo>
                    <a:lnTo>
                      <a:pt x="138" y="410"/>
                    </a:lnTo>
                    <a:lnTo>
                      <a:pt x="140" y="412"/>
                    </a:lnTo>
                    <a:lnTo>
                      <a:pt x="138" y="414"/>
                    </a:lnTo>
                    <a:lnTo>
                      <a:pt x="138" y="417"/>
                    </a:lnTo>
                    <a:lnTo>
                      <a:pt x="136" y="417"/>
                    </a:lnTo>
                    <a:lnTo>
                      <a:pt x="136" y="420"/>
                    </a:lnTo>
                    <a:lnTo>
                      <a:pt x="135" y="420"/>
                    </a:lnTo>
                    <a:lnTo>
                      <a:pt x="135" y="422"/>
                    </a:lnTo>
                    <a:lnTo>
                      <a:pt x="133" y="422"/>
                    </a:lnTo>
                    <a:lnTo>
                      <a:pt x="133" y="424"/>
                    </a:lnTo>
                    <a:lnTo>
                      <a:pt x="131" y="424"/>
                    </a:lnTo>
                    <a:lnTo>
                      <a:pt x="131" y="426"/>
                    </a:lnTo>
                    <a:lnTo>
                      <a:pt x="129" y="427"/>
                    </a:lnTo>
                    <a:lnTo>
                      <a:pt x="126" y="426"/>
                    </a:lnTo>
                    <a:lnTo>
                      <a:pt x="124" y="427"/>
                    </a:lnTo>
                    <a:lnTo>
                      <a:pt x="123" y="427"/>
                    </a:lnTo>
                    <a:lnTo>
                      <a:pt x="123" y="429"/>
                    </a:lnTo>
                    <a:lnTo>
                      <a:pt x="123" y="431"/>
                    </a:lnTo>
                    <a:lnTo>
                      <a:pt x="121" y="431"/>
                    </a:lnTo>
                    <a:lnTo>
                      <a:pt x="121" y="432"/>
                    </a:lnTo>
                    <a:lnTo>
                      <a:pt x="118" y="432"/>
                    </a:lnTo>
                    <a:lnTo>
                      <a:pt x="118" y="434"/>
                    </a:lnTo>
                    <a:lnTo>
                      <a:pt x="114" y="434"/>
                    </a:lnTo>
                    <a:lnTo>
                      <a:pt x="111" y="436"/>
                    </a:lnTo>
                    <a:lnTo>
                      <a:pt x="112" y="437"/>
                    </a:lnTo>
                    <a:lnTo>
                      <a:pt x="111" y="439"/>
                    </a:lnTo>
                    <a:lnTo>
                      <a:pt x="111" y="441"/>
                    </a:lnTo>
                    <a:lnTo>
                      <a:pt x="111" y="443"/>
                    </a:lnTo>
                    <a:lnTo>
                      <a:pt x="106" y="446"/>
                    </a:lnTo>
                    <a:lnTo>
                      <a:pt x="104" y="448"/>
                    </a:lnTo>
                    <a:lnTo>
                      <a:pt x="99" y="449"/>
                    </a:lnTo>
                    <a:lnTo>
                      <a:pt x="94" y="449"/>
                    </a:lnTo>
                    <a:lnTo>
                      <a:pt x="90" y="451"/>
                    </a:lnTo>
                    <a:lnTo>
                      <a:pt x="92" y="454"/>
                    </a:lnTo>
                    <a:lnTo>
                      <a:pt x="90" y="456"/>
                    </a:lnTo>
                    <a:lnTo>
                      <a:pt x="87" y="460"/>
                    </a:lnTo>
                    <a:lnTo>
                      <a:pt x="84" y="460"/>
                    </a:lnTo>
                    <a:lnTo>
                      <a:pt x="80" y="458"/>
                    </a:lnTo>
                    <a:lnTo>
                      <a:pt x="78" y="460"/>
                    </a:lnTo>
                    <a:lnTo>
                      <a:pt x="72" y="458"/>
                    </a:lnTo>
                    <a:lnTo>
                      <a:pt x="68" y="458"/>
                    </a:lnTo>
                    <a:lnTo>
                      <a:pt x="67" y="460"/>
                    </a:lnTo>
                    <a:lnTo>
                      <a:pt x="65" y="458"/>
                    </a:lnTo>
                    <a:lnTo>
                      <a:pt x="63" y="460"/>
                    </a:lnTo>
                    <a:lnTo>
                      <a:pt x="58" y="460"/>
                    </a:lnTo>
                    <a:lnTo>
                      <a:pt x="55" y="460"/>
                    </a:lnTo>
                    <a:lnTo>
                      <a:pt x="51" y="460"/>
                    </a:lnTo>
                    <a:lnTo>
                      <a:pt x="50" y="456"/>
                    </a:lnTo>
                    <a:lnTo>
                      <a:pt x="48" y="458"/>
                    </a:lnTo>
                    <a:lnTo>
                      <a:pt x="46" y="456"/>
                    </a:lnTo>
                    <a:lnTo>
                      <a:pt x="43" y="458"/>
                    </a:lnTo>
                    <a:lnTo>
                      <a:pt x="43" y="460"/>
                    </a:lnTo>
                    <a:lnTo>
                      <a:pt x="41" y="460"/>
                    </a:lnTo>
                    <a:lnTo>
                      <a:pt x="39" y="460"/>
                    </a:lnTo>
                    <a:lnTo>
                      <a:pt x="38" y="460"/>
                    </a:lnTo>
                    <a:lnTo>
                      <a:pt x="36" y="461"/>
                    </a:lnTo>
                    <a:lnTo>
                      <a:pt x="36" y="458"/>
                    </a:lnTo>
                    <a:lnTo>
                      <a:pt x="33" y="458"/>
                    </a:lnTo>
                    <a:lnTo>
                      <a:pt x="34" y="458"/>
                    </a:lnTo>
                    <a:lnTo>
                      <a:pt x="33" y="456"/>
                    </a:lnTo>
                    <a:lnTo>
                      <a:pt x="33" y="454"/>
                    </a:lnTo>
                    <a:lnTo>
                      <a:pt x="33" y="451"/>
                    </a:lnTo>
                    <a:lnTo>
                      <a:pt x="33" y="449"/>
                    </a:lnTo>
                    <a:lnTo>
                      <a:pt x="33" y="446"/>
                    </a:lnTo>
                    <a:lnTo>
                      <a:pt x="31" y="444"/>
                    </a:lnTo>
                    <a:lnTo>
                      <a:pt x="31" y="443"/>
                    </a:lnTo>
                    <a:lnTo>
                      <a:pt x="33" y="439"/>
                    </a:lnTo>
                    <a:lnTo>
                      <a:pt x="36" y="436"/>
                    </a:lnTo>
                    <a:lnTo>
                      <a:pt x="38" y="432"/>
                    </a:lnTo>
                    <a:lnTo>
                      <a:pt x="41" y="431"/>
                    </a:lnTo>
                    <a:lnTo>
                      <a:pt x="43" y="426"/>
                    </a:lnTo>
                    <a:lnTo>
                      <a:pt x="44" y="422"/>
                    </a:lnTo>
                    <a:lnTo>
                      <a:pt x="43" y="422"/>
                    </a:lnTo>
                    <a:lnTo>
                      <a:pt x="43" y="420"/>
                    </a:lnTo>
                    <a:lnTo>
                      <a:pt x="43" y="419"/>
                    </a:lnTo>
                    <a:lnTo>
                      <a:pt x="41" y="417"/>
                    </a:lnTo>
                    <a:lnTo>
                      <a:pt x="43" y="414"/>
                    </a:lnTo>
                    <a:lnTo>
                      <a:pt x="41" y="412"/>
                    </a:lnTo>
                    <a:lnTo>
                      <a:pt x="41" y="410"/>
                    </a:lnTo>
                    <a:lnTo>
                      <a:pt x="41" y="409"/>
                    </a:lnTo>
                    <a:lnTo>
                      <a:pt x="41" y="407"/>
                    </a:lnTo>
                    <a:lnTo>
                      <a:pt x="38" y="407"/>
                    </a:lnTo>
                    <a:lnTo>
                      <a:pt x="39" y="405"/>
                    </a:lnTo>
                    <a:lnTo>
                      <a:pt x="38" y="405"/>
                    </a:lnTo>
                    <a:lnTo>
                      <a:pt x="38" y="402"/>
                    </a:lnTo>
                    <a:lnTo>
                      <a:pt x="34" y="400"/>
                    </a:lnTo>
                    <a:lnTo>
                      <a:pt x="36" y="398"/>
                    </a:lnTo>
                    <a:lnTo>
                      <a:pt x="34" y="398"/>
                    </a:lnTo>
                    <a:lnTo>
                      <a:pt x="34" y="397"/>
                    </a:lnTo>
                    <a:lnTo>
                      <a:pt x="36" y="395"/>
                    </a:lnTo>
                    <a:lnTo>
                      <a:pt x="34" y="393"/>
                    </a:lnTo>
                    <a:lnTo>
                      <a:pt x="33" y="392"/>
                    </a:lnTo>
                    <a:lnTo>
                      <a:pt x="33" y="390"/>
                    </a:lnTo>
                    <a:lnTo>
                      <a:pt x="34" y="390"/>
                    </a:lnTo>
                    <a:lnTo>
                      <a:pt x="34" y="388"/>
                    </a:lnTo>
                    <a:lnTo>
                      <a:pt x="33" y="388"/>
                    </a:lnTo>
                    <a:lnTo>
                      <a:pt x="33" y="386"/>
                    </a:lnTo>
                    <a:lnTo>
                      <a:pt x="31" y="386"/>
                    </a:lnTo>
                    <a:lnTo>
                      <a:pt x="31" y="385"/>
                    </a:lnTo>
                    <a:lnTo>
                      <a:pt x="29" y="385"/>
                    </a:lnTo>
                    <a:lnTo>
                      <a:pt x="27" y="383"/>
                    </a:lnTo>
                    <a:lnTo>
                      <a:pt x="27" y="381"/>
                    </a:lnTo>
                    <a:lnTo>
                      <a:pt x="27" y="380"/>
                    </a:lnTo>
                    <a:lnTo>
                      <a:pt x="26" y="380"/>
                    </a:lnTo>
                    <a:lnTo>
                      <a:pt x="26" y="378"/>
                    </a:lnTo>
                    <a:lnTo>
                      <a:pt x="26" y="376"/>
                    </a:lnTo>
                    <a:lnTo>
                      <a:pt x="24" y="376"/>
                    </a:lnTo>
                    <a:lnTo>
                      <a:pt x="22" y="376"/>
                    </a:lnTo>
                    <a:lnTo>
                      <a:pt x="24" y="373"/>
                    </a:lnTo>
                    <a:lnTo>
                      <a:pt x="22" y="373"/>
                    </a:lnTo>
                    <a:lnTo>
                      <a:pt x="21" y="369"/>
                    </a:lnTo>
                    <a:lnTo>
                      <a:pt x="19" y="368"/>
                    </a:lnTo>
                    <a:lnTo>
                      <a:pt x="21" y="368"/>
                    </a:lnTo>
                    <a:lnTo>
                      <a:pt x="16" y="364"/>
                    </a:lnTo>
                    <a:lnTo>
                      <a:pt x="14" y="361"/>
                    </a:lnTo>
                    <a:lnTo>
                      <a:pt x="12" y="361"/>
                    </a:lnTo>
                    <a:lnTo>
                      <a:pt x="10" y="361"/>
                    </a:lnTo>
                    <a:lnTo>
                      <a:pt x="9" y="359"/>
                    </a:lnTo>
                    <a:lnTo>
                      <a:pt x="7" y="359"/>
                    </a:lnTo>
                    <a:lnTo>
                      <a:pt x="5" y="358"/>
                    </a:lnTo>
                    <a:lnTo>
                      <a:pt x="2" y="356"/>
                    </a:lnTo>
                    <a:lnTo>
                      <a:pt x="0" y="354"/>
                    </a:lnTo>
                    <a:lnTo>
                      <a:pt x="0" y="352"/>
                    </a:lnTo>
                    <a:lnTo>
                      <a:pt x="0" y="347"/>
                    </a:lnTo>
                    <a:lnTo>
                      <a:pt x="0" y="320"/>
                    </a:lnTo>
                    <a:lnTo>
                      <a:pt x="0" y="308"/>
                    </a:lnTo>
                    <a:lnTo>
                      <a:pt x="0" y="306"/>
                    </a:lnTo>
                    <a:lnTo>
                      <a:pt x="0" y="293"/>
                    </a:lnTo>
                    <a:lnTo>
                      <a:pt x="0" y="279"/>
                    </a:lnTo>
                    <a:lnTo>
                      <a:pt x="0" y="276"/>
                    </a:lnTo>
                    <a:lnTo>
                      <a:pt x="0" y="262"/>
                    </a:lnTo>
                    <a:lnTo>
                      <a:pt x="0" y="255"/>
                    </a:lnTo>
                    <a:lnTo>
                      <a:pt x="0" y="233"/>
                    </a:lnTo>
                    <a:lnTo>
                      <a:pt x="0" y="221"/>
                    </a:lnTo>
                    <a:lnTo>
                      <a:pt x="0" y="213"/>
                    </a:lnTo>
                    <a:lnTo>
                      <a:pt x="14" y="213"/>
                    </a:lnTo>
                    <a:lnTo>
                      <a:pt x="36" y="213"/>
                    </a:lnTo>
                    <a:lnTo>
                      <a:pt x="51" y="213"/>
                    </a:lnTo>
                    <a:lnTo>
                      <a:pt x="51" y="192"/>
                    </a:lnTo>
                    <a:lnTo>
                      <a:pt x="51" y="162"/>
                    </a:lnTo>
                    <a:lnTo>
                      <a:pt x="51" y="158"/>
                    </a:lnTo>
                    <a:lnTo>
                      <a:pt x="51" y="133"/>
                    </a:lnTo>
                    <a:lnTo>
                      <a:pt x="51" y="131"/>
                    </a:lnTo>
                    <a:lnTo>
                      <a:pt x="51" y="121"/>
                    </a:lnTo>
                    <a:lnTo>
                      <a:pt x="51" y="113"/>
                    </a:lnTo>
                    <a:lnTo>
                      <a:pt x="51" y="96"/>
                    </a:lnTo>
                    <a:lnTo>
                      <a:pt x="51" y="73"/>
                    </a:lnTo>
                    <a:lnTo>
                      <a:pt x="51" y="70"/>
                    </a:lnTo>
                    <a:lnTo>
                      <a:pt x="51" y="53"/>
                    </a:lnTo>
                    <a:lnTo>
                      <a:pt x="51" y="36"/>
                    </a:lnTo>
                    <a:lnTo>
                      <a:pt x="51" y="27"/>
                    </a:lnTo>
                    <a:lnTo>
                      <a:pt x="75" y="27"/>
                    </a:lnTo>
                    <a:lnTo>
                      <a:pt x="92" y="24"/>
                    </a:lnTo>
                    <a:lnTo>
                      <a:pt x="114" y="19"/>
                    </a:lnTo>
                    <a:lnTo>
                      <a:pt x="128" y="17"/>
                    </a:lnTo>
                    <a:lnTo>
                      <a:pt x="140" y="14"/>
                    </a:lnTo>
                    <a:lnTo>
                      <a:pt x="157" y="10"/>
                    </a:lnTo>
                    <a:lnTo>
                      <a:pt x="167" y="10"/>
                    </a:lnTo>
                    <a:lnTo>
                      <a:pt x="169" y="12"/>
                    </a:lnTo>
                    <a:lnTo>
                      <a:pt x="170" y="14"/>
                    </a:lnTo>
                    <a:lnTo>
                      <a:pt x="169" y="14"/>
                    </a:lnTo>
                    <a:lnTo>
                      <a:pt x="169" y="16"/>
                    </a:lnTo>
                    <a:lnTo>
                      <a:pt x="172" y="17"/>
                    </a:lnTo>
                    <a:lnTo>
                      <a:pt x="172" y="19"/>
                    </a:lnTo>
                    <a:lnTo>
                      <a:pt x="174" y="19"/>
                    </a:lnTo>
                    <a:lnTo>
                      <a:pt x="172" y="21"/>
                    </a:lnTo>
                    <a:lnTo>
                      <a:pt x="175" y="21"/>
                    </a:lnTo>
                    <a:lnTo>
                      <a:pt x="175" y="22"/>
                    </a:lnTo>
                    <a:lnTo>
                      <a:pt x="177" y="22"/>
                    </a:lnTo>
                    <a:lnTo>
                      <a:pt x="179" y="24"/>
                    </a:lnTo>
                    <a:lnTo>
                      <a:pt x="180" y="29"/>
                    </a:lnTo>
                    <a:lnTo>
                      <a:pt x="180" y="33"/>
                    </a:lnTo>
                    <a:lnTo>
                      <a:pt x="182" y="34"/>
                    </a:lnTo>
                    <a:lnTo>
                      <a:pt x="180" y="34"/>
                    </a:lnTo>
                    <a:lnTo>
                      <a:pt x="184" y="36"/>
                    </a:lnTo>
                    <a:lnTo>
                      <a:pt x="186" y="34"/>
                    </a:lnTo>
                    <a:lnTo>
                      <a:pt x="187" y="33"/>
                    </a:lnTo>
                    <a:lnTo>
                      <a:pt x="189" y="33"/>
                    </a:lnTo>
                    <a:lnTo>
                      <a:pt x="192" y="31"/>
                    </a:lnTo>
                    <a:lnTo>
                      <a:pt x="194" y="27"/>
                    </a:lnTo>
                    <a:lnTo>
                      <a:pt x="196" y="27"/>
                    </a:lnTo>
                    <a:lnTo>
                      <a:pt x="197" y="24"/>
                    </a:lnTo>
                    <a:lnTo>
                      <a:pt x="199" y="24"/>
                    </a:lnTo>
                    <a:lnTo>
                      <a:pt x="199" y="22"/>
                    </a:lnTo>
                    <a:lnTo>
                      <a:pt x="199" y="21"/>
                    </a:lnTo>
                    <a:lnTo>
                      <a:pt x="201" y="21"/>
                    </a:lnTo>
                    <a:lnTo>
                      <a:pt x="203" y="21"/>
                    </a:lnTo>
                    <a:lnTo>
                      <a:pt x="204" y="17"/>
                    </a:lnTo>
                    <a:lnTo>
                      <a:pt x="206" y="17"/>
                    </a:lnTo>
                    <a:lnTo>
                      <a:pt x="206" y="16"/>
                    </a:lnTo>
                    <a:lnTo>
                      <a:pt x="209" y="16"/>
                    </a:lnTo>
                    <a:lnTo>
                      <a:pt x="211" y="14"/>
                    </a:lnTo>
                    <a:lnTo>
                      <a:pt x="211" y="12"/>
                    </a:lnTo>
                    <a:lnTo>
                      <a:pt x="213" y="12"/>
                    </a:lnTo>
                    <a:lnTo>
                      <a:pt x="216" y="12"/>
                    </a:lnTo>
                    <a:lnTo>
                      <a:pt x="218" y="12"/>
                    </a:lnTo>
                    <a:lnTo>
                      <a:pt x="221" y="9"/>
                    </a:lnTo>
                    <a:lnTo>
                      <a:pt x="225" y="9"/>
                    </a:lnTo>
                    <a:lnTo>
                      <a:pt x="226" y="9"/>
                    </a:lnTo>
                    <a:lnTo>
                      <a:pt x="226" y="10"/>
                    </a:lnTo>
                    <a:lnTo>
                      <a:pt x="228" y="10"/>
                    </a:lnTo>
                    <a:lnTo>
                      <a:pt x="228" y="12"/>
                    </a:lnTo>
                    <a:lnTo>
                      <a:pt x="228" y="14"/>
                    </a:lnTo>
                    <a:lnTo>
                      <a:pt x="230" y="14"/>
                    </a:lnTo>
                    <a:lnTo>
                      <a:pt x="231" y="14"/>
                    </a:lnTo>
                    <a:lnTo>
                      <a:pt x="233" y="12"/>
                    </a:lnTo>
                    <a:lnTo>
                      <a:pt x="235" y="10"/>
                    </a:lnTo>
                    <a:lnTo>
                      <a:pt x="237" y="9"/>
                    </a:lnTo>
                    <a:lnTo>
                      <a:pt x="237" y="7"/>
                    </a:lnTo>
                    <a:lnTo>
                      <a:pt x="238" y="7"/>
                    </a:lnTo>
                    <a:lnTo>
                      <a:pt x="240" y="5"/>
                    </a:lnTo>
                    <a:lnTo>
                      <a:pt x="242" y="5"/>
                    </a:lnTo>
                    <a:lnTo>
                      <a:pt x="242" y="4"/>
                    </a:lnTo>
                    <a:lnTo>
                      <a:pt x="243" y="4"/>
                    </a:lnTo>
                    <a:lnTo>
                      <a:pt x="245" y="4"/>
                    </a:lnTo>
                    <a:lnTo>
                      <a:pt x="247" y="4"/>
                    </a:lnTo>
                    <a:lnTo>
                      <a:pt x="248" y="0"/>
                    </a:lnTo>
                    <a:lnTo>
                      <a:pt x="250" y="2"/>
                    </a:lnTo>
                    <a:lnTo>
                      <a:pt x="252" y="0"/>
                    </a:lnTo>
                    <a:lnTo>
                      <a:pt x="254" y="0"/>
                    </a:lnTo>
                    <a:lnTo>
                      <a:pt x="252" y="0"/>
                    </a:lnTo>
                    <a:lnTo>
                      <a:pt x="254" y="2"/>
                    </a:lnTo>
                    <a:lnTo>
                      <a:pt x="255" y="2"/>
                    </a:lnTo>
                    <a:lnTo>
                      <a:pt x="257" y="0"/>
                    </a:lnTo>
                    <a:lnTo>
                      <a:pt x="257" y="2"/>
                    </a:lnTo>
                    <a:lnTo>
                      <a:pt x="260" y="2"/>
                    </a:lnTo>
                    <a:lnTo>
                      <a:pt x="262" y="0"/>
                    </a:lnTo>
                    <a:lnTo>
                      <a:pt x="267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4" name="Freeform 14">
                <a:extLst>
                  <a:ext uri="{FF2B5EF4-FFF2-40B4-BE49-F238E27FC236}">
                    <a16:creationId xmlns:a16="http://schemas.microsoft.com/office/drawing/2014/main" id="{27613B78-AE68-4193-A66F-7E6AC496F2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32146" y="2241457"/>
                <a:ext cx="638157" cy="455594"/>
              </a:xfrm>
              <a:custGeom>
                <a:avLst/>
                <a:gdLst>
                  <a:gd name="T0" fmla="*/ 289 w 402"/>
                  <a:gd name="T1" fmla="*/ 31 h 287"/>
                  <a:gd name="T2" fmla="*/ 298 w 402"/>
                  <a:gd name="T3" fmla="*/ 48 h 287"/>
                  <a:gd name="T4" fmla="*/ 310 w 402"/>
                  <a:gd name="T5" fmla="*/ 65 h 287"/>
                  <a:gd name="T6" fmla="*/ 322 w 402"/>
                  <a:gd name="T7" fmla="*/ 73 h 287"/>
                  <a:gd name="T8" fmla="*/ 344 w 402"/>
                  <a:gd name="T9" fmla="*/ 85 h 287"/>
                  <a:gd name="T10" fmla="*/ 330 w 402"/>
                  <a:gd name="T11" fmla="*/ 87 h 287"/>
                  <a:gd name="T12" fmla="*/ 378 w 402"/>
                  <a:gd name="T13" fmla="*/ 121 h 287"/>
                  <a:gd name="T14" fmla="*/ 391 w 402"/>
                  <a:gd name="T15" fmla="*/ 124 h 287"/>
                  <a:gd name="T16" fmla="*/ 385 w 402"/>
                  <a:gd name="T17" fmla="*/ 138 h 287"/>
                  <a:gd name="T18" fmla="*/ 396 w 402"/>
                  <a:gd name="T19" fmla="*/ 170 h 287"/>
                  <a:gd name="T20" fmla="*/ 369 w 402"/>
                  <a:gd name="T21" fmla="*/ 185 h 287"/>
                  <a:gd name="T22" fmla="*/ 361 w 402"/>
                  <a:gd name="T23" fmla="*/ 184 h 287"/>
                  <a:gd name="T24" fmla="*/ 352 w 402"/>
                  <a:gd name="T25" fmla="*/ 182 h 287"/>
                  <a:gd name="T26" fmla="*/ 347 w 402"/>
                  <a:gd name="T27" fmla="*/ 187 h 287"/>
                  <a:gd name="T28" fmla="*/ 344 w 402"/>
                  <a:gd name="T29" fmla="*/ 190 h 287"/>
                  <a:gd name="T30" fmla="*/ 339 w 402"/>
                  <a:gd name="T31" fmla="*/ 194 h 287"/>
                  <a:gd name="T32" fmla="*/ 337 w 402"/>
                  <a:gd name="T33" fmla="*/ 204 h 287"/>
                  <a:gd name="T34" fmla="*/ 313 w 402"/>
                  <a:gd name="T35" fmla="*/ 206 h 287"/>
                  <a:gd name="T36" fmla="*/ 266 w 402"/>
                  <a:gd name="T37" fmla="*/ 197 h 287"/>
                  <a:gd name="T38" fmla="*/ 257 w 402"/>
                  <a:gd name="T39" fmla="*/ 204 h 287"/>
                  <a:gd name="T40" fmla="*/ 249 w 402"/>
                  <a:gd name="T41" fmla="*/ 209 h 287"/>
                  <a:gd name="T42" fmla="*/ 237 w 402"/>
                  <a:gd name="T43" fmla="*/ 206 h 287"/>
                  <a:gd name="T44" fmla="*/ 208 w 402"/>
                  <a:gd name="T45" fmla="*/ 206 h 287"/>
                  <a:gd name="T46" fmla="*/ 165 w 402"/>
                  <a:gd name="T47" fmla="*/ 206 h 287"/>
                  <a:gd name="T48" fmla="*/ 131 w 402"/>
                  <a:gd name="T49" fmla="*/ 221 h 287"/>
                  <a:gd name="T50" fmla="*/ 136 w 402"/>
                  <a:gd name="T51" fmla="*/ 238 h 287"/>
                  <a:gd name="T52" fmla="*/ 140 w 402"/>
                  <a:gd name="T53" fmla="*/ 264 h 287"/>
                  <a:gd name="T54" fmla="*/ 140 w 402"/>
                  <a:gd name="T55" fmla="*/ 279 h 287"/>
                  <a:gd name="T56" fmla="*/ 123 w 402"/>
                  <a:gd name="T57" fmla="*/ 269 h 287"/>
                  <a:gd name="T58" fmla="*/ 113 w 402"/>
                  <a:gd name="T59" fmla="*/ 264 h 287"/>
                  <a:gd name="T60" fmla="*/ 96 w 402"/>
                  <a:gd name="T61" fmla="*/ 258 h 287"/>
                  <a:gd name="T62" fmla="*/ 79 w 402"/>
                  <a:gd name="T63" fmla="*/ 265 h 287"/>
                  <a:gd name="T64" fmla="*/ 63 w 402"/>
                  <a:gd name="T65" fmla="*/ 270 h 287"/>
                  <a:gd name="T66" fmla="*/ 58 w 402"/>
                  <a:gd name="T67" fmla="*/ 277 h 287"/>
                  <a:gd name="T68" fmla="*/ 48 w 402"/>
                  <a:gd name="T69" fmla="*/ 272 h 287"/>
                  <a:gd name="T70" fmla="*/ 38 w 402"/>
                  <a:gd name="T71" fmla="*/ 270 h 287"/>
                  <a:gd name="T72" fmla="*/ 31 w 402"/>
                  <a:gd name="T73" fmla="*/ 262 h 287"/>
                  <a:gd name="T74" fmla="*/ 29 w 402"/>
                  <a:gd name="T75" fmla="*/ 255 h 287"/>
                  <a:gd name="T76" fmla="*/ 22 w 402"/>
                  <a:gd name="T77" fmla="*/ 250 h 287"/>
                  <a:gd name="T78" fmla="*/ 22 w 402"/>
                  <a:gd name="T79" fmla="*/ 245 h 287"/>
                  <a:gd name="T80" fmla="*/ 19 w 402"/>
                  <a:gd name="T81" fmla="*/ 241 h 287"/>
                  <a:gd name="T82" fmla="*/ 11 w 402"/>
                  <a:gd name="T83" fmla="*/ 241 h 287"/>
                  <a:gd name="T84" fmla="*/ 0 w 402"/>
                  <a:gd name="T85" fmla="*/ 235 h 287"/>
                  <a:gd name="T86" fmla="*/ 4 w 402"/>
                  <a:gd name="T87" fmla="*/ 211 h 287"/>
                  <a:gd name="T88" fmla="*/ 14 w 402"/>
                  <a:gd name="T89" fmla="*/ 187 h 287"/>
                  <a:gd name="T90" fmla="*/ 12 w 402"/>
                  <a:gd name="T91" fmla="*/ 172 h 287"/>
                  <a:gd name="T92" fmla="*/ 7 w 402"/>
                  <a:gd name="T93" fmla="*/ 163 h 287"/>
                  <a:gd name="T94" fmla="*/ 33 w 402"/>
                  <a:gd name="T95" fmla="*/ 155 h 287"/>
                  <a:gd name="T96" fmla="*/ 50 w 402"/>
                  <a:gd name="T97" fmla="*/ 148 h 287"/>
                  <a:gd name="T98" fmla="*/ 56 w 402"/>
                  <a:gd name="T99" fmla="*/ 131 h 287"/>
                  <a:gd name="T100" fmla="*/ 56 w 402"/>
                  <a:gd name="T101" fmla="*/ 119 h 287"/>
                  <a:gd name="T102" fmla="*/ 67 w 402"/>
                  <a:gd name="T103" fmla="*/ 107 h 287"/>
                  <a:gd name="T104" fmla="*/ 65 w 402"/>
                  <a:gd name="T105" fmla="*/ 93 h 287"/>
                  <a:gd name="T106" fmla="*/ 79 w 402"/>
                  <a:gd name="T107" fmla="*/ 83 h 287"/>
                  <a:gd name="T108" fmla="*/ 82 w 402"/>
                  <a:gd name="T109" fmla="*/ 85 h 287"/>
                  <a:gd name="T110" fmla="*/ 101 w 402"/>
                  <a:gd name="T111" fmla="*/ 95 h 287"/>
                  <a:gd name="T112" fmla="*/ 114 w 402"/>
                  <a:gd name="T113" fmla="*/ 76 h 287"/>
                  <a:gd name="T114" fmla="*/ 128 w 402"/>
                  <a:gd name="T115" fmla="*/ 71 h 287"/>
                  <a:gd name="T116" fmla="*/ 135 w 402"/>
                  <a:gd name="T117" fmla="*/ 54 h 287"/>
                  <a:gd name="T118" fmla="*/ 179 w 402"/>
                  <a:gd name="T119" fmla="*/ 31 h 287"/>
                  <a:gd name="T120" fmla="*/ 230 w 402"/>
                  <a:gd name="T121" fmla="*/ 10 h 287"/>
                  <a:gd name="T122" fmla="*/ 291 w 402"/>
                  <a:gd name="T123" fmla="*/ 3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2" h="287">
                    <a:moveTo>
                      <a:pt x="291" y="3"/>
                    </a:moveTo>
                    <a:lnTo>
                      <a:pt x="291" y="8"/>
                    </a:lnTo>
                    <a:lnTo>
                      <a:pt x="291" y="10"/>
                    </a:lnTo>
                    <a:lnTo>
                      <a:pt x="289" y="12"/>
                    </a:lnTo>
                    <a:lnTo>
                      <a:pt x="291" y="15"/>
                    </a:lnTo>
                    <a:lnTo>
                      <a:pt x="288" y="27"/>
                    </a:lnTo>
                    <a:lnTo>
                      <a:pt x="289" y="31"/>
                    </a:lnTo>
                    <a:lnTo>
                      <a:pt x="294" y="36"/>
                    </a:lnTo>
                    <a:lnTo>
                      <a:pt x="296" y="36"/>
                    </a:lnTo>
                    <a:lnTo>
                      <a:pt x="300" y="39"/>
                    </a:lnTo>
                    <a:lnTo>
                      <a:pt x="300" y="41"/>
                    </a:lnTo>
                    <a:lnTo>
                      <a:pt x="300" y="42"/>
                    </a:lnTo>
                    <a:lnTo>
                      <a:pt x="300" y="44"/>
                    </a:lnTo>
                    <a:lnTo>
                      <a:pt x="298" y="48"/>
                    </a:lnTo>
                    <a:lnTo>
                      <a:pt x="300" y="49"/>
                    </a:lnTo>
                    <a:lnTo>
                      <a:pt x="300" y="51"/>
                    </a:lnTo>
                    <a:lnTo>
                      <a:pt x="301" y="53"/>
                    </a:lnTo>
                    <a:lnTo>
                      <a:pt x="301" y="54"/>
                    </a:lnTo>
                    <a:lnTo>
                      <a:pt x="303" y="56"/>
                    </a:lnTo>
                    <a:lnTo>
                      <a:pt x="305" y="59"/>
                    </a:lnTo>
                    <a:lnTo>
                      <a:pt x="310" y="65"/>
                    </a:lnTo>
                    <a:lnTo>
                      <a:pt x="311" y="66"/>
                    </a:lnTo>
                    <a:lnTo>
                      <a:pt x="311" y="70"/>
                    </a:lnTo>
                    <a:lnTo>
                      <a:pt x="313" y="70"/>
                    </a:lnTo>
                    <a:lnTo>
                      <a:pt x="318" y="70"/>
                    </a:lnTo>
                    <a:lnTo>
                      <a:pt x="320" y="71"/>
                    </a:lnTo>
                    <a:lnTo>
                      <a:pt x="320" y="73"/>
                    </a:lnTo>
                    <a:lnTo>
                      <a:pt x="322" y="73"/>
                    </a:lnTo>
                    <a:lnTo>
                      <a:pt x="325" y="73"/>
                    </a:lnTo>
                    <a:lnTo>
                      <a:pt x="330" y="75"/>
                    </a:lnTo>
                    <a:lnTo>
                      <a:pt x="332" y="78"/>
                    </a:lnTo>
                    <a:lnTo>
                      <a:pt x="332" y="80"/>
                    </a:lnTo>
                    <a:lnTo>
                      <a:pt x="335" y="82"/>
                    </a:lnTo>
                    <a:lnTo>
                      <a:pt x="337" y="83"/>
                    </a:lnTo>
                    <a:lnTo>
                      <a:pt x="344" y="85"/>
                    </a:lnTo>
                    <a:lnTo>
                      <a:pt x="345" y="87"/>
                    </a:lnTo>
                    <a:lnTo>
                      <a:pt x="342" y="87"/>
                    </a:lnTo>
                    <a:lnTo>
                      <a:pt x="342" y="85"/>
                    </a:lnTo>
                    <a:lnTo>
                      <a:pt x="340" y="88"/>
                    </a:lnTo>
                    <a:lnTo>
                      <a:pt x="337" y="88"/>
                    </a:lnTo>
                    <a:lnTo>
                      <a:pt x="334" y="87"/>
                    </a:lnTo>
                    <a:lnTo>
                      <a:pt x="330" y="87"/>
                    </a:lnTo>
                    <a:lnTo>
                      <a:pt x="330" y="105"/>
                    </a:lnTo>
                    <a:lnTo>
                      <a:pt x="337" y="105"/>
                    </a:lnTo>
                    <a:lnTo>
                      <a:pt x="347" y="114"/>
                    </a:lnTo>
                    <a:lnTo>
                      <a:pt x="359" y="122"/>
                    </a:lnTo>
                    <a:lnTo>
                      <a:pt x="359" y="124"/>
                    </a:lnTo>
                    <a:lnTo>
                      <a:pt x="374" y="124"/>
                    </a:lnTo>
                    <a:lnTo>
                      <a:pt x="378" y="121"/>
                    </a:lnTo>
                    <a:lnTo>
                      <a:pt x="379" y="121"/>
                    </a:lnTo>
                    <a:lnTo>
                      <a:pt x="379" y="117"/>
                    </a:lnTo>
                    <a:lnTo>
                      <a:pt x="381" y="119"/>
                    </a:lnTo>
                    <a:lnTo>
                      <a:pt x="386" y="119"/>
                    </a:lnTo>
                    <a:lnTo>
                      <a:pt x="390" y="121"/>
                    </a:lnTo>
                    <a:lnTo>
                      <a:pt x="390" y="122"/>
                    </a:lnTo>
                    <a:lnTo>
                      <a:pt x="391" y="124"/>
                    </a:lnTo>
                    <a:lnTo>
                      <a:pt x="393" y="126"/>
                    </a:lnTo>
                    <a:lnTo>
                      <a:pt x="393" y="129"/>
                    </a:lnTo>
                    <a:lnTo>
                      <a:pt x="395" y="131"/>
                    </a:lnTo>
                    <a:lnTo>
                      <a:pt x="395" y="134"/>
                    </a:lnTo>
                    <a:lnTo>
                      <a:pt x="390" y="134"/>
                    </a:lnTo>
                    <a:lnTo>
                      <a:pt x="386" y="136"/>
                    </a:lnTo>
                    <a:lnTo>
                      <a:pt x="385" y="138"/>
                    </a:lnTo>
                    <a:lnTo>
                      <a:pt x="402" y="160"/>
                    </a:lnTo>
                    <a:lnTo>
                      <a:pt x="402" y="162"/>
                    </a:lnTo>
                    <a:lnTo>
                      <a:pt x="400" y="163"/>
                    </a:lnTo>
                    <a:lnTo>
                      <a:pt x="400" y="165"/>
                    </a:lnTo>
                    <a:lnTo>
                      <a:pt x="400" y="167"/>
                    </a:lnTo>
                    <a:lnTo>
                      <a:pt x="398" y="167"/>
                    </a:lnTo>
                    <a:lnTo>
                      <a:pt x="396" y="170"/>
                    </a:lnTo>
                    <a:lnTo>
                      <a:pt x="396" y="172"/>
                    </a:lnTo>
                    <a:lnTo>
                      <a:pt x="391" y="175"/>
                    </a:lnTo>
                    <a:lnTo>
                      <a:pt x="383" y="184"/>
                    </a:lnTo>
                    <a:lnTo>
                      <a:pt x="376" y="184"/>
                    </a:lnTo>
                    <a:lnTo>
                      <a:pt x="374" y="184"/>
                    </a:lnTo>
                    <a:lnTo>
                      <a:pt x="371" y="184"/>
                    </a:lnTo>
                    <a:lnTo>
                      <a:pt x="369" y="185"/>
                    </a:lnTo>
                    <a:lnTo>
                      <a:pt x="366" y="184"/>
                    </a:lnTo>
                    <a:lnTo>
                      <a:pt x="366" y="185"/>
                    </a:lnTo>
                    <a:lnTo>
                      <a:pt x="364" y="185"/>
                    </a:lnTo>
                    <a:lnTo>
                      <a:pt x="362" y="185"/>
                    </a:lnTo>
                    <a:lnTo>
                      <a:pt x="362" y="187"/>
                    </a:lnTo>
                    <a:lnTo>
                      <a:pt x="361" y="185"/>
                    </a:lnTo>
                    <a:lnTo>
                      <a:pt x="361" y="184"/>
                    </a:lnTo>
                    <a:lnTo>
                      <a:pt x="359" y="182"/>
                    </a:lnTo>
                    <a:lnTo>
                      <a:pt x="357" y="184"/>
                    </a:lnTo>
                    <a:lnTo>
                      <a:pt x="356" y="184"/>
                    </a:lnTo>
                    <a:lnTo>
                      <a:pt x="356" y="182"/>
                    </a:lnTo>
                    <a:lnTo>
                      <a:pt x="356" y="184"/>
                    </a:lnTo>
                    <a:lnTo>
                      <a:pt x="354" y="182"/>
                    </a:lnTo>
                    <a:lnTo>
                      <a:pt x="352" y="182"/>
                    </a:lnTo>
                    <a:lnTo>
                      <a:pt x="352" y="184"/>
                    </a:lnTo>
                    <a:lnTo>
                      <a:pt x="351" y="184"/>
                    </a:lnTo>
                    <a:lnTo>
                      <a:pt x="351" y="185"/>
                    </a:lnTo>
                    <a:lnTo>
                      <a:pt x="351" y="187"/>
                    </a:lnTo>
                    <a:lnTo>
                      <a:pt x="349" y="185"/>
                    </a:lnTo>
                    <a:lnTo>
                      <a:pt x="349" y="187"/>
                    </a:lnTo>
                    <a:lnTo>
                      <a:pt x="347" y="187"/>
                    </a:lnTo>
                    <a:lnTo>
                      <a:pt x="349" y="190"/>
                    </a:lnTo>
                    <a:lnTo>
                      <a:pt x="347" y="190"/>
                    </a:lnTo>
                    <a:lnTo>
                      <a:pt x="347" y="192"/>
                    </a:lnTo>
                    <a:lnTo>
                      <a:pt x="347" y="190"/>
                    </a:lnTo>
                    <a:lnTo>
                      <a:pt x="345" y="190"/>
                    </a:lnTo>
                    <a:lnTo>
                      <a:pt x="344" y="189"/>
                    </a:lnTo>
                    <a:lnTo>
                      <a:pt x="344" y="190"/>
                    </a:lnTo>
                    <a:lnTo>
                      <a:pt x="345" y="192"/>
                    </a:lnTo>
                    <a:lnTo>
                      <a:pt x="344" y="194"/>
                    </a:lnTo>
                    <a:lnTo>
                      <a:pt x="342" y="192"/>
                    </a:lnTo>
                    <a:lnTo>
                      <a:pt x="339" y="192"/>
                    </a:lnTo>
                    <a:lnTo>
                      <a:pt x="337" y="192"/>
                    </a:lnTo>
                    <a:lnTo>
                      <a:pt x="337" y="194"/>
                    </a:lnTo>
                    <a:lnTo>
                      <a:pt x="339" y="194"/>
                    </a:lnTo>
                    <a:lnTo>
                      <a:pt x="339" y="197"/>
                    </a:lnTo>
                    <a:lnTo>
                      <a:pt x="337" y="197"/>
                    </a:lnTo>
                    <a:lnTo>
                      <a:pt x="335" y="199"/>
                    </a:lnTo>
                    <a:lnTo>
                      <a:pt x="334" y="199"/>
                    </a:lnTo>
                    <a:lnTo>
                      <a:pt x="335" y="201"/>
                    </a:lnTo>
                    <a:lnTo>
                      <a:pt x="335" y="202"/>
                    </a:lnTo>
                    <a:lnTo>
                      <a:pt x="337" y="204"/>
                    </a:lnTo>
                    <a:lnTo>
                      <a:pt x="334" y="202"/>
                    </a:lnTo>
                    <a:lnTo>
                      <a:pt x="332" y="204"/>
                    </a:lnTo>
                    <a:lnTo>
                      <a:pt x="332" y="202"/>
                    </a:lnTo>
                    <a:lnTo>
                      <a:pt x="330" y="201"/>
                    </a:lnTo>
                    <a:lnTo>
                      <a:pt x="328" y="204"/>
                    </a:lnTo>
                    <a:lnTo>
                      <a:pt x="327" y="206"/>
                    </a:lnTo>
                    <a:lnTo>
                      <a:pt x="313" y="206"/>
                    </a:lnTo>
                    <a:lnTo>
                      <a:pt x="305" y="209"/>
                    </a:lnTo>
                    <a:lnTo>
                      <a:pt x="306" y="207"/>
                    </a:lnTo>
                    <a:lnTo>
                      <a:pt x="305" y="207"/>
                    </a:lnTo>
                    <a:lnTo>
                      <a:pt x="305" y="206"/>
                    </a:lnTo>
                    <a:lnTo>
                      <a:pt x="283" y="201"/>
                    </a:lnTo>
                    <a:lnTo>
                      <a:pt x="272" y="199"/>
                    </a:lnTo>
                    <a:lnTo>
                      <a:pt x="266" y="197"/>
                    </a:lnTo>
                    <a:lnTo>
                      <a:pt x="266" y="199"/>
                    </a:lnTo>
                    <a:lnTo>
                      <a:pt x="262" y="201"/>
                    </a:lnTo>
                    <a:lnTo>
                      <a:pt x="262" y="202"/>
                    </a:lnTo>
                    <a:lnTo>
                      <a:pt x="260" y="202"/>
                    </a:lnTo>
                    <a:lnTo>
                      <a:pt x="260" y="199"/>
                    </a:lnTo>
                    <a:lnTo>
                      <a:pt x="259" y="201"/>
                    </a:lnTo>
                    <a:lnTo>
                      <a:pt x="257" y="204"/>
                    </a:lnTo>
                    <a:lnTo>
                      <a:pt x="255" y="204"/>
                    </a:lnTo>
                    <a:lnTo>
                      <a:pt x="254" y="207"/>
                    </a:lnTo>
                    <a:lnTo>
                      <a:pt x="254" y="206"/>
                    </a:lnTo>
                    <a:lnTo>
                      <a:pt x="252" y="207"/>
                    </a:lnTo>
                    <a:lnTo>
                      <a:pt x="252" y="206"/>
                    </a:lnTo>
                    <a:lnTo>
                      <a:pt x="249" y="211"/>
                    </a:lnTo>
                    <a:lnTo>
                      <a:pt x="249" y="209"/>
                    </a:lnTo>
                    <a:lnTo>
                      <a:pt x="247" y="207"/>
                    </a:lnTo>
                    <a:lnTo>
                      <a:pt x="245" y="207"/>
                    </a:lnTo>
                    <a:lnTo>
                      <a:pt x="247" y="207"/>
                    </a:lnTo>
                    <a:lnTo>
                      <a:pt x="245" y="207"/>
                    </a:lnTo>
                    <a:lnTo>
                      <a:pt x="245" y="206"/>
                    </a:lnTo>
                    <a:lnTo>
                      <a:pt x="240" y="206"/>
                    </a:lnTo>
                    <a:lnTo>
                      <a:pt x="237" y="206"/>
                    </a:lnTo>
                    <a:lnTo>
                      <a:pt x="235" y="207"/>
                    </a:lnTo>
                    <a:lnTo>
                      <a:pt x="233" y="207"/>
                    </a:lnTo>
                    <a:lnTo>
                      <a:pt x="233" y="206"/>
                    </a:lnTo>
                    <a:lnTo>
                      <a:pt x="223" y="206"/>
                    </a:lnTo>
                    <a:lnTo>
                      <a:pt x="223" y="207"/>
                    </a:lnTo>
                    <a:lnTo>
                      <a:pt x="209" y="206"/>
                    </a:lnTo>
                    <a:lnTo>
                      <a:pt x="208" y="206"/>
                    </a:lnTo>
                    <a:lnTo>
                      <a:pt x="199" y="206"/>
                    </a:lnTo>
                    <a:lnTo>
                      <a:pt x="199" y="207"/>
                    </a:lnTo>
                    <a:lnTo>
                      <a:pt x="196" y="206"/>
                    </a:lnTo>
                    <a:lnTo>
                      <a:pt x="194" y="207"/>
                    </a:lnTo>
                    <a:lnTo>
                      <a:pt x="191" y="207"/>
                    </a:lnTo>
                    <a:lnTo>
                      <a:pt x="172" y="207"/>
                    </a:lnTo>
                    <a:lnTo>
                      <a:pt x="165" y="206"/>
                    </a:lnTo>
                    <a:lnTo>
                      <a:pt x="153" y="207"/>
                    </a:lnTo>
                    <a:lnTo>
                      <a:pt x="136" y="206"/>
                    </a:lnTo>
                    <a:lnTo>
                      <a:pt x="136" y="207"/>
                    </a:lnTo>
                    <a:lnTo>
                      <a:pt x="136" y="211"/>
                    </a:lnTo>
                    <a:lnTo>
                      <a:pt x="135" y="213"/>
                    </a:lnTo>
                    <a:lnTo>
                      <a:pt x="133" y="218"/>
                    </a:lnTo>
                    <a:lnTo>
                      <a:pt x="131" y="221"/>
                    </a:lnTo>
                    <a:lnTo>
                      <a:pt x="133" y="223"/>
                    </a:lnTo>
                    <a:lnTo>
                      <a:pt x="131" y="224"/>
                    </a:lnTo>
                    <a:lnTo>
                      <a:pt x="131" y="226"/>
                    </a:lnTo>
                    <a:lnTo>
                      <a:pt x="135" y="235"/>
                    </a:lnTo>
                    <a:lnTo>
                      <a:pt x="140" y="235"/>
                    </a:lnTo>
                    <a:lnTo>
                      <a:pt x="140" y="236"/>
                    </a:lnTo>
                    <a:lnTo>
                      <a:pt x="136" y="238"/>
                    </a:lnTo>
                    <a:lnTo>
                      <a:pt x="136" y="241"/>
                    </a:lnTo>
                    <a:lnTo>
                      <a:pt x="140" y="245"/>
                    </a:lnTo>
                    <a:lnTo>
                      <a:pt x="138" y="247"/>
                    </a:lnTo>
                    <a:lnTo>
                      <a:pt x="138" y="253"/>
                    </a:lnTo>
                    <a:lnTo>
                      <a:pt x="140" y="257"/>
                    </a:lnTo>
                    <a:lnTo>
                      <a:pt x="141" y="258"/>
                    </a:lnTo>
                    <a:lnTo>
                      <a:pt x="140" y="264"/>
                    </a:lnTo>
                    <a:lnTo>
                      <a:pt x="141" y="265"/>
                    </a:lnTo>
                    <a:lnTo>
                      <a:pt x="138" y="270"/>
                    </a:lnTo>
                    <a:lnTo>
                      <a:pt x="138" y="272"/>
                    </a:lnTo>
                    <a:lnTo>
                      <a:pt x="140" y="274"/>
                    </a:lnTo>
                    <a:lnTo>
                      <a:pt x="141" y="275"/>
                    </a:lnTo>
                    <a:lnTo>
                      <a:pt x="140" y="277"/>
                    </a:lnTo>
                    <a:lnTo>
                      <a:pt x="140" y="279"/>
                    </a:lnTo>
                    <a:lnTo>
                      <a:pt x="143" y="282"/>
                    </a:lnTo>
                    <a:lnTo>
                      <a:pt x="140" y="287"/>
                    </a:lnTo>
                    <a:lnTo>
                      <a:pt x="136" y="284"/>
                    </a:lnTo>
                    <a:lnTo>
                      <a:pt x="131" y="279"/>
                    </a:lnTo>
                    <a:lnTo>
                      <a:pt x="128" y="270"/>
                    </a:lnTo>
                    <a:lnTo>
                      <a:pt x="124" y="270"/>
                    </a:lnTo>
                    <a:lnTo>
                      <a:pt x="123" y="269"/>
                    </a:lnTo>
                    <a:lnTo>
                      <a:pt x="123" y="267"/>
                    </a:lnTo>
                    <a:lnTo>
                      <a:pt x="121" y="265"/>
                    </a:lnTo>
                    <a:lnTo>
                      <a:pt x="121" y="264"/>
                    </a:lnTo>
                    <a:lnTo>
                      <a:pt x="119" y="265"/>
                    </a:lnTo>
                    <a:lnTo>
                      <a:pt x="118" y="260"/>
                    </a:lnTo>
                    <a:lnTo>
                      <a:pt x="114" y="265"/>
                    </a:lnTo>
                    <a:lnTo>
                      <a:pt x="113" y="264"/>
                    </a:lnTo>
                    <a:lnTo>
                      <a:pt x="113" y="262"/>
                    </a:lnTo>
                    <a:lnTo>
                      <a:pt x="109" y="262"/>
                    </a:lnTo>
                    <a:lnTo>
                      <a:pt x="107" y="260"/>
                    </a:lnTo>
                    <a:lnTo>
                      <a:pt x="106" y="260"/>
                    </a:lnTo>
                    <a:lnTo>
                      <a:pt x="104" y="260"/>
                    </a:lnTo>
                    <a:lnTo>
                      <a:pt x="97" y="260"/>
                    </a:lnTo>
                    <a:lnTo>
                      <a:pt x="96" y="258"/>
                    </a:lnTo>
                    <a:lnTo>
                      <a:pt x="94" y="260"/>
                    </a:lnTo>
                    <a:lnTo>
                      <a:pt x="89" y="260"/>
                    </a:lnTo>
                    <a:lnTo>
                      <a:pt x="87" y="262"/>
                    </a:lnTo>
                    <a:lnTo>
                      <a:pt x="82" y="262"/>
                    </a:lnTo>
                    <a:lnTo>
                      <a:pt x="80" y="264"/>
                    </a:lnTo>
                    <a:lnTo>
                      <a:pt x="79" y="264"/>
                    </a:lnTo>
                    <a:lnTo>
                      <a:pt x="79" y="265"/>
                    </a:lnTo>
                    <a:lnTo>
                      <a:pt x="77" y="265"/>
                    </a:lnTo>
                    <a:lnTo>
                      <a:pt x="75" y="267"/>
                    </a:lnTo>
                    <a:lnTo>
                      <a:pt x="72" y="265"/>
                    </a:lnTo>
                    <a:lnTo>
                      <a:pt x="70" y="265"/>
                    </a:lnTo>
                    <a:lnTo>
                      <a:pt x="68" y="269"/>
                    </a:lnTo>
                    <a:lnTo>
                      <a:pt x="63" y="269"/>
                    </a:lnTo>
                    <a:lnTo>
                      <a:pt x="63" y="270"/>
                    </a:lnTo>
                    <a:lnTo>
                      <a:pt x="65" y="270"/>
                    </a:lnTo>
                    <a:lnTo>
                      <a:pt x="63" y="272"/>
                    </a:lnTo>
                    <a:lnTo>
                      <a:pt x="63" y="275"/>
                    </a:lnTo>
                    <a:lnTo>
                      <a:pt x="62" y="277"/>
                    </a:lnTo>
                    <a:lnTo>
                      <a:pt x="60" y="275"/>
                    </a:lnTo>
                    <a:lnTo>
                      <a:pt x="58" y="275"/>
                    </a:lnTo>
                    <a:lnTo>
                      <a:pt x="58" y="277"/>
                    </a:lnTo>
                    <a:lnTo>
                      <a:pt x="55" y="274"/>
                    </a:lnTo>
                    <a:lnTo>
                      <a:pt x="51" y="275"/>
                    </a:lnTo>
                    <a:lnTo>
                      <a:pt x="51" y="274"/>
                    </a:lnTo>
                    <a:lnTo>
                      <a:pt x="51" y="270"/>
                    </a:lnTo>
                    <a:lnTo>
                      <a:pt x="51" y="269"/>
                    </a:lnTo>
                    <a:lnTo>
                      <a:pt x="50" y="270"/>
                    </a:lnTo>
                    <a:lnTo>
                      <a:pt x="48" y="272"/>
                    </a:lnTo>
                    <a:lnTo>
                      <a:pt x="46" y="270"/>
                    </a:lnTo>
                    <a:lnTo>
                      <a:pt x="46" y="272"/>
                    </a:lnTo>
                    <a:lnTo>
                      <a:pt x="45" y="272"/>
                    </a:lnTo>
                    <a:lnTo>
                      <a:pt x="43" y="274"/>
                    </a:lnTo>
                    <a:lnTo>
                      <a:pt x="39" y="270"/>
                    </a:lnTo>
                    <a:lnTo>
                      <a:pt x="39" y="269"/>
                    </a:lnTo>
                    <a:lnTo>
                      <a:pt x="38" y="270"/>
                    </a:lnTo>
                    <a:lnTo>
                      <a:pt x="36" y="269"/>
                    </a:lnTo>
                    <a:lnTo>
                      <a:pt x="38" y="269"/>
                    </a:lnTo>
                    <a:lnTo>
                      <a:pt x="38" y="265"/>
                    </a:lnTo>
                    <a:lnTo>
                      <a:pt x="36" y="265"/>
                    </a:lnTo>
                    <a:lnTo>
                      <a:pt x="36" y="264"/>
                    </a:lnTo>
                    <a:lnTo>
                      <a:pt x="33" y="264"/>
                    </a:lnTo>
                    <a:lnTo>
                      <a:pt x="31" y="262"/>
                    </a:lnTo>
                    <a:lnTo>
                      <a:pt x="31" y="264"/>
                    </a:lnTo>
                    <a:lnTo>
                      <a:pt x="28" y="262"/>
                    </a:lnTo>
                    <a:lnTo>
                      <a:pt x="29" y="260"/>
                    </a:lnTo>
                    <a:lnTo>
                      <a:pt x="29" y="258"/>
                    </a:lnTo>
                    <a:lnTo>
                      <a:pt x="28" y="257"/>
                    </a:lnTo>
                    <a:lnTo>
                      <a:pt x="29" y="257"/>
                    </a:lnTo>
                    <a:lnTo>
                      <a:pt x="29" y="255"/>
                    </a:lnTo>
                    <a:lnTo>
                      <a:pt x="28" y="255"/>
                    </a:lnTo>
                    <a:lnTo>
                      <a:pt x="26" y="253"/>
                    </a:lnTo>
                    <a:lnTo>
                      <a:pt x="28" y="252"/>
                    </a:lnTo>
                    <a:lnTo>
                      <a:pt x="24" y="253"/>
                    </a:lnTo>
                    <a:lnTo>
                      <a:pt x="24" y="252"/>
                    </a:lnTo>
                    <a:lnTo>
                      <a:pt x="22" y="252"/>
                    </a:lnTo>
                    <a:lnTo>
                      <a:pt x="22" y="250"/>
                    </a:lnTo>
                    <a:lnTo>
                      <a:pt x="24" y="252"/>
                    </a:lnTo>
                    <a:lnTo>
                      <a:pt x="24" y="250"/>
                    </a:lnTo>
                    <a:lnTo>
                      <a:pt x="22" y="250"/>
                    </a:lnTo>
                    <a:lnTo>
                      <a:pt x="24" y="248"/>
                    </a:lnTo>
                    <a:lnTo>
                      <a:pt x="21" y="248"/>
                    </a:lnTo>
                    <a:lnTo>
                      <a:pt x="22" y="247"/>
                    </a:lnTo>
                    <a:lnTo>
                      <a:pt x="22" y="245"/>
                    </a:lnTo>
                    <a:lnTo>
                      <a:pt x="21" y="247"/>
                    </a:lnTo>
                    <a:lnTo>
                      <a:pt x="21" y="245"/>
                    </a:lnTo>
                    <a:lnTo>
                      <a:pt x="21" y="243"/>
                    </a:lnTo>
                    <a:lnTo>
                      <a:pt x="22" y="243"/>
                    </a:lnTo>
                    <a:lnTo>
                      <a:pt x="21" y="243"/>
                    </a:lnTo>
                    <a:lnTo>
                      <a:pt x="21" y="241"/>
                    </a:lnTo>
                    <a:lnTo>
                      <a:pt x="19" y="241"/>
                    </a:lnTo>
                    <a:lnTo>
                      <a:pt x="17" y="241"/>
                    </a:lnTo>
                    <a:lnTo>
                      <a:pt x="17" y="240"/>
                    </a:lnTo>
                    <a:lnTo>
                      <a:pt x="16" y="241"/>
                    </a:lnTo>
                    <a:lnTo>
                      <a:pt x="12" y="241"/>
                    </a:lnTo>
                    <a:lnTo>
                      <a:pt x="12" y="240"/>
                    </a:lnTo>
                    <a:lnTo>
                      <a:pt x="12" y="241"/>
                    </a:lnTo>
                    <a:lnTo>
                      <a:pt x="11" y="241"/>
                    </a:lnTo>
                    <a:lnTo>
                      <a:pt x="9" y="241"/>
                    </a:lnTo>
                    <a:lnTo>
                      <a:pt x="9" y="243"/>
                    </a:lnTo>
                    <a:lnTo>
                      <a:pt x="7" y="241"/>
                    </a:lnTo>
                    <a:lnTo>
                      <a:pt x="4" y="240"/>
                    </a:lnTo>
                    <a:lnTo>
                      <a:pt x="4" y="238"/>
                    </a:lnTo>
                    <a:lnTo>
                      <a:pt x="2" y="238"/>
                    </a:lnTo>
                    <a:lnTo>
                      <a:pt x="0" y="235"/>
                    </a:lnTo>
                    <a:lnTo>
                      <a:pt x="4" y="228"/>
                    </a:lnTo>
                    <a:lnTo>
                      <a:pt x="4" y="226"/>
                    </a:lnTo>
                    <a:lnTo>
                      <a:pt x="2" y="224"/>
                    </a:lnTo>
                    <a:lnTo>
                      <a:pt x="2" y="218"/>
                    </a:lnTo>
                    <a:lnTo>
                      <a:pt x="4" y="218"/>
                    </a:lnTo>
                    <a:lnTo>
                      <a:pt x="5" y="214"/>
                    </a:lnTo>
                    <a:lnTo>
                      <a:pt x="4" y="211"/>
                    </a:lnTo>
                    <a:lnTo>
                      <a:pt x="2" y="207"/>
                    </a:lnTo>
                    <a:lnTo>
                      <a:pt x="2" y="202"/>
                    </a:lnTo>
                    <a:lnTo>
                      <a:pt x="7" y="201"/>
                    </a:lnTo>
                    <a:lnTo>
                      <a:pt x="11" y="199"/>
                    </a:lnTo>
                    <a:lnTo>
                      <a:pt x="11" y="196"/>
                    </a:lnTo>
                    <a:lnTo>
                      <a:pt x="14" y="194"/>
                    </a:lnTo>
                    <a:lnTo>
                      <a:pt x="14" y="187"/>
                    </a:lnTo>
                    <a:lnTo>
                      <a:pt x="17" y="184"/>
                    </a:lnTo>
                    <a:lnTo>
                      <a:pt x="16" y="182"/>
                    </a:lnTo>
                    <a:lnTo>
                      <a:pt x="16" y="179"/>
                    </a:lnTo>
                    <a:lnTo>
                      <a:pt x="16" y="177"/>
                    </a:lnTo>
                    <a:lnTo>
                      <a:pt x="14" y="175"/>
                    </a:lnTo>
                    <a:lnTo>
                      <a:pt x="12" y="175"/>
                    </a:lnTo>
                    <a:lnTo>
                      <a:pt x="12" y="172"/>
                    </a:lnTo>
                    <a:lnTo>
                      <a:pt x="14" y="167"/>
                    </a:lnTo>
                    <a:lnTo>
                      <a:pt x="12" y="168"/>
                    </a:lnTo>
                    <a:lnTo>
                      <a:pt x="11" y="165"/>
                    </a:lnTo>
                    <a:lnTo>
                      <a:pt x="9" y="165"/>
                    </a:lnTo>
                    <a:lnTo>
                      <a:pt x="9" y="167"/>
                    </a:lnTo>
                    <a:lnTo>
                      <a:pt x="5" y="165"/>
                    </a:lnTo>
                    <a:lnTo>
                      <a:pt x="7" y="163"/>
                    </a:lnTo>
                    <a:lnTo>
                      <a:pt x="9" y="165"/>
                    </a:lnTo>
                    <a:lnTo>
                      <a:pt x="11" y="163"/>
                    </a:lnTo>
                    <a:lnTo>
                      <a:pt x="12" y="163"/>
                    </a:lnTo>
                    <a:lnTo>
                      <a:pt x="14" y="163"/>
                    </a:lnTo>
                    <a:lnTo>
                      <a:pt x="17" y="160"/>
                    </a:lnTo>
                    <a:lnTo>
                      <a:pt x="22" y="156"/>
                    </a:lnTo>
                    <a:lnTo>
                      <a:pt x="33" y="155"/>
                    </a:lnTo>
                    <a:lnTo>
                      <a:pt x="34" y="155"/>
                    </a:lnTo>
                    <a:lnTo>
                      <a:pt x="39" y="155"/>
                    </a:lnTo>
                    <a:lnTo>
                      <a:pt x="41" y="153"/>
                    </a:lnTo>
                    <a:lnTo>
                      <a:pt x="45" y="153"/>
                    </a:lnTo>
                    <a:lnTo>
                      <a:pt x="46" y="150"/>
                    </a:lnTo>
                    <a:lnTo>
                      <a:pt x="46" y="148"/>
                    </a:lnTo>
                    <a:lnTo>
                      <a:pt x="50" y="148"/>
                    </a:lnTo>
                    <a:lnTo>
                      <a:pt x="48" y="145"/>
                    </a:lnTo>
                    <a:lnTo>
                      <a:pt x="53" y="141"/>
                    </a:lnTo>
                    <a:lnTo>
                      <a:pt x="53" y="139"/>
                    </a:lnTo>
                    <a:lnTo>
                      <a:pt x="55" y="139"/>
                    </a:lnTo>
                    <a:lnTo>
                      <a:pt x="56" y="139"/>
                    </a:lnTo>
                    <a:lnTo>
                      <a:pt x="55" y="134"/>
                    </a:lnTo>
                    <a:lnTo>
                      <a:pt x="56" y="131"/>
                    </a:lnTo>
                    <a:lnTo>
                      <a:pt x="58" y="129"/>
                    </a:lnTo>
                    <a:lnTo>
                      <a:pt x="56" y="128"/>
                    </a:lnTo>
                    <a:lnTo>
                      <a:pt x="56" y="124"/>
                    </a:lnTo>
                    <a:lnTo>
                      <a:pt x="55" y="124"/>
                    </a:lnTo>
                    <a:lnTo>
                      <a:pt x="53" y="122"/>
                    </a:lnTo>
                    <a:lnTo>
                      <a:pt x="53" y="119"/>
                    </a:lnTo>
                    <a:lnTo>
                      <a:pt x="56" y="119"/>
                    </a:lnTo>
                    <a:lnTo>
                      <a:pt x="60" y="117"/>
                    </a:lnTo>
                    <a:lnTo>
                      <a:pt x="62" y="119"/>
                    </a:lnTo>
                    <a:lnTo>
                      <a:pt x="63" y="119"/>
                    </a:lnTo>
                    <a:lnTo>
                      <a:pt x="65" y="119"/>
                    </a:lnTo>
                    <a:lnTo>
                      <a:pt x="67" y="114"/>
                    </a:lnTo>
                    <a:lnTo>
                      <a:pt x="67" y="112"/>
                    </a:lnTo>
                    <a:lnTo>
                      <a:pt x="67" y="107"/>
                    </a:lnTo>
                    <a:lnTo>
                      <a:pt x="63" y="105"/>
                    </a:lnTo>
                    <a:lnTo>
                      <a:pt x="63" y="104"/>
                    </a:lnTo>
                    <a:lnTo>
                      <a:pt x="60" y="99"/>
                    </a:lnTo>
                    <a:lnTo>
                      <a:pt x="60" y="97"/>
                    </a:lnTo>
                    <a:lnTo>
                      <a:pt x="63" y="95"/>
                    </a:lnTo>
                    <a:lnTo>
                      <a:pt x="67" y="95"/>
                    </a:lnTo>
                    <a:lnTo>
                      <a:pt x="65" y="93"/>
                    </a:lnTo>
                    <a:lnTo>
                      <a:pt x="70" y="90"/>
                    </a:lnTo>
                    <a:lnTo>
                      <a:pt x="72" y="88"/>
                    </a:lnTo>
                    <a:lnTo>
                      <a:pt x="72" y="85"/>
                    </a:lnTo>
                    <a:lnTo>
                      <a:pt x="73" y="85"/>
                    </a:lnTo>
                    <a:lnTo>
                      <a:pt x="75" y="85"/>
                    </a:lnTo>
                    <a:lnTo>
                      <a:pt x="77" y="83"/>
                    </a:lnTo>
                    <a:lnTo>
                      <a:pt x="79" y="83"/>
                    </a:lnTo>
                    <a:lnTo>
                      <a:pt x="79" y="82"/>
                    </a:lnTo>
                    <a:lnTo>
                      <a:pt x="79" y="80"/>
                    </a:lnTo>
                    <a:lnTo>
                      <a:pt x="80" y="80"/>
                    </a:lnTo>
                    <a:lnTo>
                      <a:pt x="80" y="82"/>
                    </a:lnTo>
                    <a:lnTo>
                      <a:pt x="82" y="82"/>
                    </a:lnTo>
                    <a:lnTo>
                      <a:pt x="79" y="85"/>
                    </a:lnTo>
                    <a:lnTo>
                      <a:pt x="82" y="85"/>
                    </a:lnTo>
                    <a:lnTo>
                      <a:pt x="85" y="87"/>
                    </a:lnTo>
                    <a:lnTo>
                      <a:pt x="87" y="87"/>
                    </a:lnTo>
                    <a:lnTo>
                      <a:pt x="90" y="88"/>
                    </a:lnTo>
                    <a:lnTo>
                      <a:pt x="90" y="90"/>
                    </a:lnTo>
                    <a:lnTo>
                      <a:pt x="94" y="92"/>
                    </a:lnTo>
                    <a:lnTo>
                      <a:pt x="97" y="93"/>
                    </a:lnTo>
                    <a:lnTo>
                      <a:pt x="101" y="95"/>
                    </a:lnTo>
                    <a:lnTo>
                      <a:pt x="101" y="97"/>
                    </a:lnTo>
                    <a:lnTo>
                      <a:pt x="106" y="97"/>
                    </a:lnTo>
                    <a:lnTo>
                      <a:pt x="106" y="95"/>
                    </a:lnTo>
                    <a:lnTo>
                      <a:pt x="106" y="92"/>
                    </a:lnTo>
                    <a:lnTo>
                      <a:pt x="106" y="90"/>
                    </a:lnTo>
                    <a:lnTo>
                      <a:pt x="116" y="90"/>
                    </a:lnTo>
                    <a:lnTo>
                      <a:pt x="114" y="76"/>
                    </a:lnTo>
                    <a:lnTo>
                      <a:pt x="116" y="75"/>
                    </a:lnTo>
                    <a:lnTo>
                      <a:pt x="116" y="70"/>
                    </a:lnTo>
                    <a:lnTo>
                      <a:pt x="116" y="71"/>
                    </a:lnTo>
                    <a:lnTo>
                      <a:pt x="123" y="70"/>
                    </a:lnTo>
                    <a:lnTo>
                      <a:pt x="124" y="71"/>
                    </a:lnTo>
                    <a:lnTo>
                      <a:pt x="126" y="73"/>
                    </a:lnTo>
                    <a:lnTo>
                      <a:pt x="128" y="71"/>
                    </a:lnTo>
                    <a:lnTo>
                      <a:pt x="130" y="71"/>
                    </a:lnTo>
                    <a:lnTo>
                      <a:pt x="131" y="73"/>
                    </a:lnTo>
                    <a:lnTo>
                      <a:pt x="135" y="71"/>
                    </a:lnTo>
                    <a:lnTo>
                      <a:pt x="133" y="68"/>
                    </a:lnTo>
                    <a:lnTo>
                      <a:pt x="133" y="63"/>
                    </a:lnTo>
                    <a:lnTo>
                      <a:pt x="136" y="54"/>
                    </a:lnTo>
                    <a:lnTo>
                      <a:pt x="135" y="54"/>
                    </a:lnTo>
                    <a:lnTo>
                      <a:pt x="136" y="51"/>
                    </a:lnTo>
                    <a:lnTo>
                      <a:pt x="145" y="48"/>
                    </a:lnTo>
                    <a:lnTo>
                      <a:pt x="155" y="39"/>
                    </a:lnTo>
                    <a:lnTo>
                      <a:pt x="164" y="41"/>
                    </a:lnTo>
                    <a:lnTo>
                      <a:pt x="174" y="48"/>
                    </a:lnTo>
                    <a:lnTo>
                      <a:pt x="179" y="44"/>
                    </a:lnTo>
                    <a:lnTo>
                      <a:pt x="179" y="31"/>
                    </a:lnTo>
                    <a:lnTo>
                      <a:pt x="184" y="29"/>
                    </a:lnTo>
                    <a:lnTo>
                      <a:pt x="191" y="31"/>
                    </a:lnTo>
                    <a:lnTo>
                      <a:pt x="196" y="29"/>
                    </a:lnTo>
                    <a:lnTo>
                      <a:pt x="213" y="17"/>
                    </a:lnTo>
                    <a:lnTo>
                      <a:pt x="226" y="15"/>
                    </a:lnTo>
                    <a:lnTo>
                      <a:pt x="230" y="12"/>
                    </a:lnTo>
                    <a:lnTo>
                      <a:pt x="230" y="10"/>
                    </a:lnTo>
                    <a:lnTo>
                      <a:pt x="243" y="0"/>
                    </a:lnTo>
                    <a:lnTo>
                      <a:pt x="257" y="0"/>
                    </a:lnTo>
                    <a:lnTo>
                      <a:pt x="260" y="3"/>
                    </a:lnTo>
                    <a:lnTo>
                      <a:pt x="267" y="0"/>
                    </a:lnTo>
                    <a:lnTo>
                      <a:pt x="283" y="5"/>
                    </a:lnTo>
                    <a:lnTo>
                      <a:pt x="288" y="5"/>
                    </a:lnTo>
                    <a:lnTo>
                      <a:pt x="291" y="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5" name="Freeform 15">
                <a:extLst>
                  <a:ext uri="{FF2B5EF4-FFF2-40B4-BE49-F238E27FC236}">
                    <a16:creationId xmlns:a16="http://schemas.microsoft.com/office/drawing/2014/main" id="{08598209-B09F-4A90-8DC9-2A5AC96D64A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07016" y="3639988"/>
                <a:ext cx="147633" cy="173031"/>
              </a:xfrm>
              <a:custGeom>
                <a:avLst/>
                <a:gdLst>
                  <a:gd name="T0" fmla="*/ 76 w 93"/>
                  <a:gd name="T1" fmla="*/ 10 h 109"/>
                  <a:gd name="T2" fmla="*/ 75 w 93"/>
                  <a:gd name="T3" fmla="*/ 19 h 109"/>
                  <a:gd name="T4" fmla="*/ 73 w 93"/>
                  <a:gd name="T5" fmla="*/ 22 h 109"/>
                  <a:gd name="T6" fmla="*/ 73 w 93"/>
                  <a:gd name="T7" fmla="*/ 29 h 109"/>
                  <a:gd name="T8" fmla="*/ 80 w 93"/>
                  <a:gd name="T9" fmla="*/ 29 h 109"/>
                  <a:gd name="T10" fmla="*/ 87 w 93"/>
                  <a:gd name="T11" fmla="*/ 32 h 109"/>
                  <a:gd name="T12" fmla="*/ 93 w 93"/>
                  <a:gd name="T13" fmla="*/ 32 h 109"/>
                  <a:gd name="T14" fmla="*/ 93 w 93"/>
                  <a:gd name="T15" fmla="*/ 43 h 109"/>
                  <a:gd name="T16" fmla="*/ 93 w 93"/>
                  <a:gd name="T17" fmla="*/ 48 h 109"/>
                  <a:gd name="T18" fmla="*/ 88 w 93"/>
                  <a:gd name="T19" fmla="*/ 49 h 109"/>
                  <a:gd name="T20" fmla="*/ 85 w 93"/>
                  <a:gd name="T21" fmla="*/ 55 h 109"/>
                  <a:gd name="T22" fmla="*/ 76 w 93"/>
                  <a:gd name="T23" fmla="*/ 61 h 109"/>
                  <a:gd name="T24" fmla="*/ 71 w 93"/>
                  <a:gd name="T25" fmla="*/ 72 h 109"/>
                  <a:gd name="T26" fmla="*/ 68 w 93"/>
                  <a:gd name="T27" fmla="*/ 75 h 109"/>
                  <a:gd name="T28" fmla="*/ 63 w 93"/>
                  <a:gd name="T29" fmla="*/ 82 h 109"/>
                  <a:gd name="T30" fmla="*/ 63 w 93"/>
                  <a:gd name="T31" fmla="*/ 87 h 109"/>
                  <a:gd name="T32" fmla="*/ 59 w 93"/>
                  <a:gd name="T33" fmla="*/ 90 h 109"/>
                  <a:gd name="T34" fmla="*/ 49 w 93"/>
                  <a:gd name="T35" fmla="*/ 100 h 109"/>
                  <a:gd name="T36" fmla="*/ 44 w 93"/>
                  <a:gd name="T37" fmla="*/ 104 h 109"/>
                  <a:gd name="T38" fmla="*/ 39 w 93"/>
                  <a:gd name="T39" fmla="*/ 109 h 109"/>
                  <a:gd name="T40" fmla="*/ 20 w 93"/>
                  <a:gd name="T41" fmla="*/ 94 h 109"/>
                  <a:gd name="T42" fmla="*/ 12 w 93"/>
                  <a:gd name="T43" fmla="*/ 75 h 109"/>
                  <a:gd name="T44" fmla="*/ 15 w 93"/>
                  <a:gd name="T45" fmla="*/ 51 h 109"/>
                  <a:gd name="T46" fmla="*/ 12 w 93"/>
                  <a:gd name="T47" fmla="*/ 44 h 109"/>
                  <a:gd name="T48" fmla="*/ 13 w 93"/>
                  <a:gd name="T49" fmla="*/ 39 h 109"/>
                  <a:gd name="T50" fmla="*/ 10 w 93"/>
                  <a:gd name="T51" fmla="*/ 36 h 109"/>
                  <a:gd name="T52" fmla="*/ 8 w 93"/>
                  <a:gd name="T53" fmla="*/ 32 h 109"/>
                  <a:gd name="T54" fmla="*/ 3 w 93"/>
                  <a:gd name="T55" fmla="*/ 27 h 109"/>
                  <a:gd name="T56" fmla="*/ 0 w 93"/>
                  <a:gd name="T57" fmla="*/ 24 h 109"/>
                  <a:gd name="T58" fmla="*/ 3 w 93"/>
                  <a:gd name="T59" fmla="*/ 15 h 109"/>
                  <a:gd name="T60" fmla="*/ 8 w 93"/>
                  <a:gd name="T61" fmla="*/ 14 h 109"/>
                  <a:gd name="T62" fmla="*/ 17 w 93"/>
                  <a:gd name="T63" fmla="*/ 17 h 109"/>
                  <a:gd name="T64" fmla="*/ 17 w 93"/>
                  <a:gd name="T65" fmla="*/ 22 h 109"/>
                  <a:gd name="T66" fmla="*/ 24 w 93"/>
                  <a:gd name="T67" fmla="*/ 26 h 109"/>
                  <a:gd name="T68" fmla="*/ 30 w 93"/>
                  <a:gd name="T69" fmla="*/ 24 h 109"/>
                  <a:gd name="T70" fmla="*/ 36 w 93"/>
                  <a:gd name="T71" fmla="*/ 26 h 109"/>
                  <a:gd name="T72" fmla="*/ 41 w 93"/>
                  <a:gd name="T73" fmla="*/ 22 h 109"/>
                  <a:gd name="T74" fmla="*/ 47 w 93"/>
                  <a:gd name="T75" fmla="*/ 19 h 109"/>
                  <a:gd name="T76" fmla="*/ 49 w 93"/>
                  <a:gd name="T77" fmla="*/ 7 h 109"/>
                  <a:gd name="T78" fmla="*/ 53 w 93"/>
                  <a:gd name="T79" fmla="*/ 2 h 109"/>
                  <a:gd name="T80" fmla="*/ 61 w 93"/>
                  <a:gd name="T81" fmla="*/ 5 h 109"/>
                  <a:gd name="T82" fmla="*/ 66 w 93"/>
                  <a:gd name="T83" fmla="*/ 3 h 109"/>
                  <a:gd name="T84" fmla="*/ 71 w 93"/>
                  <a:gd name="T85" fmla="*/ 0 h 109"/>
                  <a:gd name="T86" fmla="*/ 75 w 93"/>
                  <a:gd name="T87" fmla="*/ 2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93" h="109">
                    <a:moveTo>
                      <a:pt x="78" y="5"/>
                    </a:moveTo>
                    <a:lnTo>
                      <a:pt x="76" y="9"/>
                    </a:lnTo>
                    <a:lnTo>
                      <a:pt x="76" y="10"/>
                    </a:lnTo>
                    <a:lnTo>
                      <a:pt x="76" y="12"/>
                    </a:lnTo>
                    <a:lnTo>
                      <a:pt x="73" y="17"/>
                    </a:lnTo>
                    <a:lnTo>
                      <a:pt x="75" y="19"/>
                    </a:lnTo>
                    <a:lnTo>
                      <a:pt x="78" y="17"/>
                    </a:lnTo>
                    <a:lnTo>
                      <a:pt x="78" y="19"/>
                    </a:lnTo>
                    <a:lnTo>
                      <a:pt x="73" y="22"/>
                    </a:lnTo>
                    <a:lnTo>
                      <a:pt x="73" y="24"/>
                    </a:lnTo>
                    <a:lnTo>
                      <a:pt x="71" y="27"/>
                    </a:lnTo>
                    <a:lnTo>
                      <a:pt x="73" y="29"/>
                    </a:lnTo>
                    <a:lnTo>
                      <a:pt x="73" y="31"/>
                    </a:lnTo>
                    <a:lnTo>
                      <a:pt x="76" y="32"/>
                    </a:lnTo>
                    <a:lnTo>
                      <a:pt x="80" y="29"/>
                    </a:lnTo>
                    <a:lnTo>
                      <a:pt x="83" y="32"/>
                    </a:lnTo>
                    <a:lnTo>
                      <a:pt x="85" y="34"/>
                    </a:lnTo>
                    <a:lnTo>
                      <a:pt x="87" y="32"/>
                    </a:lnTo>
                    <a:lnTo>
                      <a:pt x="88" y="34"/>
                    </a:lnTo>
                    <a:lnTo>
                      <a:pt x="90" y="34"/>
                    </a:lnTo>
                    <a:lnTo>
                      <a:pt x="93" y="32"/>
                    </a:lnTo>
                    <a:lnTo>
                      <a:pt x="92" y="38"/>
                    </a:lnTo>
                    <a:lnTo>
                      <a:pt x="93" y="39"/>
                    </a:lnTo>
                    <a:lnTo>
                      <a:pt x="93" y="43"/>
                    </a:lnTo>
                    <a:lnTo>
                      <a:pt x="93" y="44"/>
                    </a:lnTo>
                    <a:lnTo>
                      <a:pt x="92" y="46"/>
                    </a:lnTo>
                    <a:lnTo>
                      <a:pt x="93" y="48"/>
                    </a:lnTo>
                    <a:lnTo>
                      <a:pt x="90" y="49"/>
                    </a:lnTo>
                    <a:lnTo>
                      <a:pt x="88" y="48"/>
                    </a:lnTo>
                    <a:lnTo>
                      <a:pt x="88" y="49"/>
                    </a:lnTo>
                    <a:lnTo>
                      <a:pt x="85" y="51"/>
                    </a:lnTo>
                    <a:lnTo>
                      <a:pt x="83" y="53"/>
                    </a:lnTo>
                    <a:lnTo>
                      <a:pt x="85" y="55"/>
                    </a:lnTo>
                    <a:lnTo>
                      <a:pt x="85" y="56"/>
                    </a:lnTo>
                    <a:lnTo>
                      <a:pt x="78" y="61"/>
                    </a:lnTo>
                    <a:lnTo>
                      <a:pt x="76" y="61"/>
                    </a:lnTo>
                    <a:lnTo>
                      <a:pt x="73" y="63"/>
                    </a:lnTo>
                    <a:lnTo>
                      <a:pt x="73" y="65"/>
                    </a:lnTo>
                    <a:lnTo>
                      <a:pt x="71" y="72"/>
                    </a:lnTo>
                    <a:lnTo>
                      <a:pt x="71" y="75"/>
                    </a:lnTo>
                    <a:lnTo>
                      <a:pt x="70" y="73"/>
                    </a:lnTo>
                    <a:lnTo>
                      <a:pt x="68" y="75"/>
                    </a:lnTo>
                    <a:lnTo>
                      <a:pt x="66" y="77"/>
                    </a:lnTo>
                    <a:lnTo>
                      <a:pt x="64" y="80"/>
                    </a:lnTo>
                    <a:lnTo>
                      <a:pt x="63" y="82"/>
                    </a:lnTo>
                    <a:lnTo>
                      <a:pt x="61" y="85"/>
                    </a:lnTo>
                    <a:lnTo>
                      <a:pt x="63" y="85"/>
                    </a:lnTo>
                    <a:lnTo>
                      <a:pt x="63" y="87"/>
                    </a:lnTo>
                    <a:lnTo>
                      <a:pt x="61" y="87"/>
                    </a:lnTo>
                    <a:lnTo>
                      <a:pt x="61" y="90"/>
                    </a:lnTo>
                    <a:lnTo>
                      <a:pt x="59" y="90"/>
                    </a:lnTo>
                    <a:lnTo>
                      <a:pt x="54" y="94"/>
                    </a:lnTo>
                    <a:lnTo>
                      <a:pt x="53" y="99"/>
                    </a:lnTo>
                    <a:lnTo>
                      <a:pt x="49" y="100"/>
                    </a:lnTo>
                    <a:lnTo>
                      <a:pt x="49" y="102"/>
                    </a:lnTo>
                    <a:lnTo>
                      <a:pt x="46" y="104"/>
                    </a:lnTo>
                    <a:lnTo>
                      <a:pt x="44" y="104"/>
                    </a:lnTo>
                    <a:lnTo>
                      <a:pt x="41" y="104"/>
                    </a:lnTo>
                    <a:lnTo>
                      <a:pt x="39" y="107"/>
                    </a:lnTo>
                    <a:lnTo>
                      <a:pt x="39" y="109"/>
                    </a:lnTo>
                    <a:lnTo>
                      <a:pt x="34" y="107"/>
                    </a:lnTo>
                    <a:lnTo>
                      <a:pt x="20" y="107"/>
                    </a:lnTo>
                    <a:lnTo>
                      <a:pt x="20" y="94"/>
                    </a:lnTo>
                    <a:lnTo>
                      <a:pt x="19" y="89"/>
                    </a:lnTo>
                    <a:lnTo>
                      <a:pt x="15" y="82"/>
                    </a:lnTo>
                    <a:lnTo>
                      <a:pt x="12" y="75"/>
                    </a:lnTo>
                    <a:lnTo>
                      <a:pt x="12" y="70"/>
                    </a:lnTo>
                    <a:lnTo>
                      <a:pt x="13" y="56"/>
                    </a:lnTo>
                    <a:lnTo>
                      <a:pt x="15" y="51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2" y="44"/>
                    </a:lnTo>
                    <a:lnTo>
                      <a:pt x="12" y="43"/>
                    </a:lnTo>
                    <a:lnTo>
                      <a:pt x="13" y="41"/>
                    </a:lnTo>
                    <a:lnTo>
                      <a:pt x="13" y="39"/>
                    </a:lnTo>
                    <a:lnTo>
                      <a:pt x="13" y="38"/>
                    </a:lnTo>
                    <a:lnTo>
                      <a:pt x="12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8" y="34"/>
                    </a:lnTo>
                    <a:lnTo>
                      <a:pt x="8" y="32"/>
                    </a:lnTo>
                    <a:lnTo>
                      <a:pt x="5" y="31"/>
                    </a:lnTo>
                    <a:lnTo>
                      <a:pt x="5" y="27"/>
                    </a:lnTo>
                    <a:lnTo>
                      <a:pt x="3" y="27"/>
                    </a:lnTo>
                    <a:lnTo>
                      <a:pt x="3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2" y="22"/>
                    </a:lnTo>
                    <a:lnTo>
                      <a:pt x="3" y="22"/>
                    </a:lnTo>
                    <a:lnTo>
                      <a:pt x="3" y="15"/>
                    </a:lnTo>
                    <a:lnTo>
                      <a:pt x="5" y="14"/>
                    </a:lnTo>
                    <a:lnTo>
                      <a:pt x="7" y="15"/>
                    </a:lnTo>
                    <a:lnTo>
                      <a:pt x="8" y="14"/>
                    </a:lnTo>
                    <a:lnTo>
                      <a:pt x="8" y="15"/>
                    </a:lnTo>
                    <a:lnTo>
                      <a:pt x="13" y="15"/>
                    </a:lnTo>
                    <a:lnTo>
                      <a:pt x="17" y="17"/>
                    </a:lnTo>
                    <a:lnTo>
                      <a:pt x="17" y="19"/>
                    </a:lnTo>
                    <a:lnTo>
                      <a:pt x="19" y="22"/>
                    </a:lnTo>
                    <a:lnTo>
                      <a:pt x="17" y="22"/>
                    </a:lnTo>
                    <a:lnTo>
                      <a:pt x="19" y="26"/>
                    </a:lnTo>
                    <a:lnTo>
                      <a:pt x="22" y="24"/>
                    </a:lnTo>
                    <a:lnTo>
                      <a:pt x="24" y="26"/>
                    </a:lnTo>
                    <a:lnTo>
                      <a:pt x="25" y="24"/>
                    </a:lnTo>
                    <a:lnTo>
                      <a:pt x="27" y="26"/>
                    </a:lnTo>
                    <a:lnTo>
                      <a:pt x="30" y="24"/>
                    </a:lnTo>
                    <a:lnTo>
                      <a:pt x="32" y="26"/>
                    </a:lnTo>
                    <a:lnTo>
                      <a:pt x="34" y="24"/>
                    </a:lnTo>
                    <a:lnTo>
                      <a:pt x="36" y="26"/>
                    </a:lnTo>
                    <a:lnTo>
                      <a:pt x="39" y="26"/>
                    </a:lnTo>
                    <a:lnTo>
                      <a:pt x="39" y="22"/>
                    </a:lnTo>
                    <a:lnTo>
                      <a:pt x="41" y="22"/>
                    </a:lnTo>
                    <a:lnTo>
                      <a:pt x="42" y="24"/>
                    </a:lnTo>
                    <a:lnTo>
                      <a:pt x="46" y="22"/>
                    </a:lnTo>
                    <a:lnTo>
                      <a:pt x="47" y="19"/>
                    </a:lnTo>
                    <a:lnTo>
                      <a:pt x="47" y="17"/>
                    </a:lnTo>
                    <a:lnTo>
                      <a:pt x="47" y="12"/>
                    </a:lnTo>
                    <a:lnTo>
                      <a:pt x="49" y="7"/>
                    </a:lnTo>
                    <a:lnTo>
                      <a:pt x="47" y="3"/>
                    </a:lnTo>
                    <a:lnTo>
                      <a:pt x="49" y="0"/>
                    </a:lnTo>
                    <a:lnTo>
                      <a:pt x="53" y="2"/>
                    </a:lnTo>
                    <a:lnTo>
                      <a:pt x="54" y="3"/>
                    </a:lnTo>
                    <a:lnTo>
                      <a:pt x="58" y="7"/>
                    </a:lnTo>
                    <a:lnTo>
                      <a:pt x="61" y="5"/>
                    </a:lnTo>
                    <a:lnTo>
                      <a:pt x="63" y="2"/>
                    </a:lnTo>
                    <a:lnTo>
                      <a:pt x="64" y="3"/>
                    </a:lnTo>
                    <a:lnTo>
                      <a:pt x="66" y="3"/>
                    </a:lnTo>
                    <a:lnTo>
                      <a:pt x="70" y="2"/>
                    </a:lnTo>
                    <a:lnTo>
                      <a:pt x="70" y="0"/>
                    </a:lnTo>
                    <a:lnTo>
                      <a:pt x="71" y="0"/>
                    </a:lnTo>
                    <a:lnTo>
                      <a:pt x="73" y="0"/>
                    </a:lnTo>
                    <a:lnTo>
                      <a:pt x="75" y="0"/>
                    </a:lnTo>
                    <a:lnTo>
                      <a:pt x="75" y="2"/>
                    </a:lnTo>
                    <a:lnTo>
                      <a:pt x="78" y="5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6" name="Freeform 16">
                <a:extLst>
                  <a:ext uri="{FF2B5EF4-FFF2-40B4-BE49-F238E27FC236}">
                    <a16:creationId xmlns:a16="http://schemas.microsoft.com/office/drawing/2014/main" id="{9150347E-E7AE-4E05-964B-64D5107F88E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268762" y="2400200"/>
                <a:ext cx="609583" cy="920712"/>
              </a:xfrm>
              <a:custGeom>
                <a:avLst/>
                <a:gdLst>
                  <a:gd name="T0" fmla="*/ 306 w 384"/>
                  <a:gd name="T1" fmla="*/ 19 h 580"/>
                  <a:gd name="T2" fmla="*/ 318 w 384"/>
                  <a:gd name="T3" fmla="*/ 48 h 580"/>
                  <a:gd name="T4" fmla="*/ 326 w 384"/>
                  <a:gd name="T5" fmla="*/ 63 h 580"/>
                  <a:gd name="T6" fmla="*/ 328 w 384"/>
                  <a:gd name="T7" fmla="*/ 80 h 580"/>
                  <a:gd name="T8" fmla="*/ 326 w 384"/>
                  <a:gd name="T9" fmla="*/ 104 h 580"/>
                  <a:gd name="T10" fmla="*/ 343 w 384"/>
                  <a:gd name="T11" fmla="*/ 145 h 580"/>
                  <a:gd name="T12" fmla="*/ 299 w 384"/>
                  <a:gd name="T13" fmla="*/ 155 h 580"/>
                  <a:gd name="T14" fmla="*/ 275 w 384"/>
                  <a:gd name="T15" fmla="*/ 179 h 580"/>
                  <a:gd name="T16" fmla="*/ 306 w 384"/>
                  <a:gd name="T17" fmla="*/ 211 h 580"/>
                  <a:gd name="T18" fmla="*/ 343 w 384"/>
                  <a:gd name="T19" fmla="*/ 254 h 580"/>
                  <a:gd name="T20" fmla="*/ 345 w 384"/>
                  <a:gd name="T21" fmla="*/ 288 h 580"/>
                  <a:gd name="T22" fmla="*/ 314 w 384"/>
                  <a:gd name="T23" fmla="*/ 339 h 580"/>
                  <a:gd name="T24" fmla="*/ 303 w 384"/>
                  <a:gd name="T25" fmla="*/ 381 h 580"/>
                  <a:gd name="T26" fmla="*/ 308 w 384"/>
                  <a:gd name="T27" fmla="*/ 414 h 580"/>
                  <a:gd name="T28" fmla="*/ 328 w 384"/>
                  <a:gd name="T29" fmla="*/ 444 h 580"/>
                  <a:gd name="T30" fmla="*/ 364 w 384"/>
                  <a:gd name="T31" fmla="*/ 507 h 580"/>
                  <a:gd name="T32" fmla="*/ 379 w 384"/>
                  <a:gd name="T33" fmla="*/ 533 h 580"/>
                  <a:gd name="T34" fmla="*/ 377 w 384"/>
                  <a:gd name="T35" fmla="*/ 558 h 580"/>
                  <a:gd name="T36" fmla="*/ 376 w 384"/>
                  <a:gd name="T37" fmla="*/ 579 h 580"/>
                  <a:gd name="T38" fmla="*/ 352 w 384"/>
                  <a:gd name="T39" fmla="*/ 565 h 580"/>
                  <a:gd name="T40" fmla="*/ 328 w 384"/>
                  <a:gd name="T41" fmla="*/ 563 h 580"/>
                  <a:gd name="T42" fmla="*/ 314 w 384"/>
                  <a:gd name="T43" fmla="*/ 560 h 580"/>
                  <a:gd name="T44" fmla="*/ 301 w 384"/>
                  <a:gd name="T45" fmla="*/ 551 h 580"/>
                  <a:gd name="T46" fmla="*/ 235 w 384"/>
                  <a:gd name="T47" fmla="*/ 548 h 580"/>
                  <a:gd name="T48" fmla="*/ 206 w 384"/>
                  <a:gd name="T49" fmla="*/ 550 h 580"/>
                  <a:gd name="T50" fmla="*/ 163 w 384"/>
                  <a:gd name="T51" fmla="*/ 548 h 580"/>
                  <a:gd name="T52" fmla="*/ 80 w 384"/>
                  <a:gd name="T53" fmla="*/ 553 h 580"/>
                  <a:gd name="T54" fmla="*/ 65 w 384"/>
                  <a:gd name="T55" fmla="*/ 521 h 580"/>
                  <a:gd name="T56" fmla="*/ 53 w 384"/>
                  <a:gd name="T57" fmla="*/ 480 h 580"/>
                  <a:gd name="T58" fmla="*/ 56 w 384"/>
                  <a:gd name="T59" fmla="*/ 473 h 580"/>
                  <a:gd name="T60" fmla="*/ 58 w 384"/>
                  <a:gd name="T61" fmla="*/ 466 h 580"/>
                  <a:gd name="T62" fmla="*/ 56 w 384"/>
                  <a:gd name="T63" fmla="*/ 461 h 580"/>
                  <a:gd name="T64" fmla="*/ 49 w 384"/>
                  <a:gd name="T65" fmla="*/ 461 h 580"/>
                  <a:gd name="T66" fmla="*/ 39 w 384"/>
                  <a:gd name="T67" fmla="*/ 460 h 580"/>
                  <a:gd name="T68" fmla="*/ 19 w 384"/>
                  <a:gd name="T69" fmla="*/ 451 h 580"/>
                  <a:gd name="T70" fmla="*/ 14 w 384"/>
                  <a:gd name="T71" fmla="*/ 431 h 580"/>
                  <a:gd name="T72" fmla="*/ 7 w 384"/>
                  <a:gd name="T73" fmla="*/ 422 h 580"/>
                  <a:gd name="T74" fmla="*/ 5 w 384"/>
                  <a:gd name="T75" fmla="*/ 427 h 580"/>
                  <a:gd name="T76" fmla="*/ 3 w 384"/>
                  <a:gd name="T77" fmla="*/ 410 h 580"/>
                  <a:gd name="T78" fmla="*/ 14 w 384"/>
                  <a:gd name="T79" fmla="*/ 371 h 580"/>
                  <a:gd name="T80" fmla="*/ 43 w 384"/>
                  <a:gd name="T81" fmla="*/ 337 h 580"/>
                  <a:gd name="T82" fmla="*/ 78 w 384"/>
                  <a:gd name="T83" fmla="*/ 306 h 580"/>
                  <a:gd name="T84" fmla="*/ 105 w 384"/>
                  <a:gd name="T85" fmla="*/ 306 h 580"/>
                  <a:gd name="T86" fmla="*/ 122 w 384"/>
                  <a:gd name="T87" fmla="*/ 323 h 580"/>
                  <a:gd name="T88" fmla="*/ 150 w 384"/>
                  <a:gd name="T89" fmla="*/ 327 h 580"/>
                  <a:gd name="T90" fmla="*/ 163 w 384"/>
                  <a:gd name="T91" fmla="*/ 306 h 580"/>
                  <a:gd name="T92" fmla="*/ 182 w 384"/>
                  <a:gd name="T93" fmla="*/ 261 h 580"/>
                  <a:gd name="T94" fmla="*/ 204 w 384"/>
                  <a:gd name="T95" fmla="*/ 225 h 580"/>
                  <a:gd name="T96" fmla="*/ 216 w 384"/>
                  <a:gd name="T97" fmla="*/ 187 h 580"/>
                  <a:gd name="T98" fmla="*/ 235 w 384"/>
                  <a:gd name="T99" fmla="*/ 162 h 580"/>
                  <a:gd name="T100" fmla="*/ 248 w 384"/>
                  <a:gd name="T101" fmla="*/ 128 h 580"/>
                  <a:gd name="T102" fmla="*/ 279 w 384"/>
                  <a:gd name="T103" fmla="*/ 94 h 580"/>
                  <a:gd name="T104" fmla="*/ 304 w 384"/>
                  <a:gd name="T105" fmla="*/ 58 h 580"/>
                  <a:gd name="T106" fmla="*/ 299 w 384"/>
                  <a:gd name="T107" fmla="*/ 41 h 580"/>
                  <a:gd name="T108" fmla="*/ 282 w 384"/>
                  <a:gd name="T109" fmla="*/ 34 h 580"/>
                  <a:gd name="T110" fmla="*/ 41 w 384"/>
                  <a:gd name="T111" fmla="*/ 466 h 580"/>
                  <a:gd name="T112" fmla="*/ 43 w 384"/>
                  <a:gd name="T113" fmla="*/ 461 h 580"/>
                  <a:gd name="T114" fmla="*/ 10 w 384"/>
                  <a:gd name="T115" fmla="*/ 429 h 580"/>
                  <a:gd name="T116" fmla="*/ 46 w 384"/>
                  <a:gd name="T117" fmla="*/ 463 h 580"/>
                  <a:gd name="T118" fmla="*/ 41 w 384"/>
                  <a:gd name="T119" fmla="*/ 456 h 580"/>
                  <a:gd name="T120" fmla="*/ 41 w 384"/>
                  <a:gd name="T121" fmla="*/ 460 h 580"/>
                  <a:gd name="T122" fmla="*/ 43 w 384"/>
                  <a:gd name="T123" fmla="*/ 460 h 580"/>
                  <a:gd name="T124" fmla="*/ 54 w 384"/>
                  <a:gd name="T125" fmla="*/ 483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84" h="580">
                    <a:moveTo>
                      <a:pt x="277" y="0"/>
                    </a:moveTo>
                    <a:lnTo>
                      <a:pt x="296" y="0"/>
                    </a:lnTo>
                    <a:lnTo>
                      <a:pt x="301" y="7"/>
                    </a:lnTo>
                    <a:lnTo>
                      <a:pt x="301" y="9"/>
                    </a:lnTo>
                    <a:lnTo>
                      <a:pt x="301" y="10"/>
                    </a:lnTo>
                    <a:lnTo>
                      <a:pt x="301" y="12"/>
                    </a:lnTo>
                    <a:lnTo>
                      <a:pt x="301" y="14"/>
                    </a:lnTo>
                    <a:lnTo>
                      <a:pt x="301" y="16"/>
                    </a:lnTo>
                    <a:lnTo>
                      <a:pt x="303" y="16"/>
                    </a:lnTo>
                    <a:lnTo>
                      <a:pt x="303" y="17"/>
                    </a:lnTo>
                    <a:lnTo>
                      <a:pt x="304" y="16"/>
                    </a:lnTo>
                    <a:lnTo>
                      <a:pt x="304" y="17"/>
                    </a:lnTo>
                    <a:lnTo>
                      <a:pt x="306" y="19"/>
                    </a:lnTo>
                    <a:lnTo>
                      <a:pt x="309" y="19"/>
                    </a:lnTo>
                    <a:lnTo>
                      <a:pt x="308" y="21"/>
                    </a:lnTo>
                    <a:lnTo>
                      <a:pt x="309" y="22"/>
                    </a:lnTo>
                    <a:lnTo>
                      <a:pt x="311" y="21"/>
                    </a:lnTo>
                    <a:lnTo>
                      <a:pt x="311" y="22"/>
                    </a:lnTo>
                    <a:lnTo>
                      <a:pt x="314" y="24"/>
                    </a:lnTo>
                    <a:lnTo>
                      <a:pt x="316" y="31"/>
                    </a:lnTo>
                    <a:lnTo>
                      <a:pt x="316" y="33"/>
                    </a:lnTo>
                    <a:lnTo>
                      <a:pt x="318" y="33"/>
                    </a:lnTo>
                    <a:lnTo>
                      <a:pt x="320" y="36"/>
                    </a:lnTo>
                    <a:lnTo>
                      <a:pt x="318" y="45"/>
                    </a:lnTo>
                    <a:lnTo>
                      <a:pt x="320" y="46"/>
                    </a:lnTo>
                    <a:lnTo>
                      <a:pt x="318" y="48"/>
                    </a:lnTo>
                    <a:lnTo>
                      <a:pt x="321" y="51"/>
                    </a:lnTo>
                    <a:lnTo>
                      <a:pt x="323" y="50"/>
                    </a:lnTo>
                    <a:lnTo>
                      <a:pt x="325" y="50"/>
                    </a:lnTo>
                    <a:lnTo>
                      <a:pt x="325" y="51"/>
                    </a:lnTo>
                    <a:lnTo>
                      <a:pt x="326" y="53"/>
                    </a:lnTo>
                    <a:lnTo>
                      <a:pt x="325" y="53"/>
                    </a:lnTo>
                    <a:lnTo>
                      <a:pt x="326" y="55"/>
                    </a:lnTo>
                    <a:lnTo>
                      <a:pt x="328" y="56"/>
                    </a:lnTo>
                    <a:lnTo>
                      <a:pt x="326" y="56"/>
                    </a:lnTo>
                    <a:lnTo>
                      <a:pt x="326" y="58"/>
                    </a:lnTo>
                    <a:lnTo>
                      <a:pt x="325" y="60"/>
                    </a:lnTo>
                    <a:lnTo>
                      <a:pt x="326" y="62"/>
                    </a:lnTo>
                    <a:lnTo>
                      <a:pt x="326" y="63"/>
                    </a:lnTo>
                    <a:lnTo>
                      <a:pt x="328" y="63"/>
                    </a:lnTo>
                    <a:lnTo>
                      <a:pt x="328" y="65"/>
                    </a:lnTo>
                    <a:lnTo>
                      <a:pt x="330" y="67"/>
                    </a:lnTo>
                    <a:lnTo>
                      <a:pt x="328" y="67"/>
                    </a:lnTo>
                    <a:lnTo>
                      <a:pt x="328" y="68"/>
                    </a:lnTo>
                    <a:lnTo>
                      <a:pt x="326" y="70"/>
                    </a:lnTo>
                    <a:lnTo>
                      <a:pt x="328" y="72"/>
                    </a:lnTo>
                    <a:lnTo>
                      <a:pt x="328" y="73"/>
                    </a:lnTo>
                    <a:lnTo>
                      <a:pt x="328" y="75"/>
                    </a:lnTo>
                    <a:lnTo>
                      <a:pt x="328" y="77"/>
                    </a:lnTo>
                    <a:lnTo>
                      <a:pt x="331" y="77"/>
                    </a:lnTo>
                    <a:lnTo>
                      <a:pt x="330" y="80"/>
                    </a:lnTo>
                    <a:lnTo>
                      <a:pt x="328" y="80"/>
                    </a:lnTo>
                    <a:lnTo>
                      <a:pt x="326" y="84"/>
                    </a:lnTo>
                    <a:lnTo>
                      <a:pt x="326" y="85"/>
                    </a:lnTo>
                    <a:lnTo>
                      <a:pt x="326" y="87"/>
                    </a:lnTo>
                    <a:lnTo>
                      <a:pt x="326" y="89"/>
                    </a:lnTo>
                    <a:lnTo>
                      <a:pt x="326" y="90"/>
                    </a:lnTo>
                    <a:lnTo>
                      <a:pt x="326" y="92"/>
                    </a:lnTo>
                    <a:lnTo>
                      <a:pt x="326" y="94"/>
                    </a:lnTo>
                    <a:lnTo>
                      <a:pt x="326" y="96"/>
                    </a:lnTo>
                    <a:lnTo>
                      <a:pt x="328" y="97"/>
                    </a:lnTo>
                    <a:lnTo>
                      <a:pt x="328" y="101"/>
                    </a:lnTo>
                    <a:lnTo>
                      <a:pt x="330" y="102"/>
                    </a:lnTo>
                    <a:lnTo>
                      <a:pt x="328" y="104"/>
                    </a:lnTo>
                    <a:lnTo>
                      <a:pt x="326" y="104"/>
                    </a:lnTo>
                    <a:lnTo>
                      <a:pt x="326" y="106"/>
                    </a:lnTo>
                    <a:lnTo>
                      <a:pt x="328" y="109"/>
                    </a:lnTo>
                    <a:lnTo>
                      <a:pt x="328" y="113"/>
                    </a:lnTo>
                    <a:lnTo>
                      <a:pt x="326" y="116"/>
                    </a:lnTo>
                    <a:lnTo>
                      <a:pt x="330" y="121"/>
                    </a:lnTo>
                    <a:lnTo>
                      <a:pt x="331" y="124"/>
                    </a:lnTo>
                    <a:lnTo>
                      <a:pt x="331" y="130"/>
                    </a:lnTo>
                    <a:lnTo>
                      <a:pt x="335" y="133"/>
                    </a:lnTo>
                    <a:lnTo>
                      <a:pt x="337" y="135"/>
                    </a:lnTo>
                    <a:lnTo>
                      <a:pt x="337" y="136"/>
                    </a:lnTo>
                    <a:lnTo>
                      <a:pt x="338" y="141"/>
                    </a:lnTo>
                    <a:lnTo>
                      <a:pt x="342" y="141"/>
                    </a:lnTo>
                    <a:lnTo>
                      <a:pt x="343" y="145"/>
                    </a:lnTo>
                    <a:lnTo>
                      <a:pt x="348" y="152"/>
                    </a:lnTo>
                    <a:lnTo>
                      <a:pt x="359" y="157"/>
                    </a:lnTo>
                    <a:lnTo>
                      <a:pt x="354" y="158"/>
                    </a:lnTo>
                    <a:lnTo>
                      <a:pt x="345" y="160"/>
                    </a:lnTo>
                    <a:lnTo>
                      <a:pt x="335" y="157"/>
                    </a:lnTo>
                    <a:lnTo>
                      <a:pt x="333" y="158"/>
                    </a:lnTo>
                    <a:lnTo>
                      <a:pt x="330" y="157"/>
                    </a:lnTo>
                    <a:lnTo>
                      <a:pt x="328" y="158"/>
                    </a:lnTo>
                    <a:lnTo>
                      <a:pt x="323" y="157"/>
                    </a:lnTo>
                    <a:lnTo>
                      <a:pt x="314" y="160"/>
                    </a:lnTo>
                    <a:lnTo>
                      <a:pt x="311" y="160"/>
                    </a:lnTo>
                    <a:lnTo>
                      <a:pt x="308" y="158"/>
                    </a:lnTo>
                    <a:lnTo>
                      <a:pt x="299" y="155"/>
                    </a:lnTo>
                    <a:lnTo>
                      <a:pt x="286" y="157"/>
                    </a:lnTo>
                    <a:lnTo>
                      <a:pt x="284" y="157"/>
                    </a:lnTo>
                    <a:lnTo>
                      <a:pt x="282" y="162"/>
                    </a:lnTo>
                    <a:lnTo>
                      <a:pt x="280" y="164"/>
                    </a:lnTo>
                    <a:lnTo>
                      <a:pt x="279" y="165"/>
                    </a:lnTo>
                    <a:lnTo>
                      <a:pt x="277" y="165"/>
                    </a:lnTo>
                    <a:lnTo>
                      <a:pt x="275" y="169"/>
                    </a:lnTo>
                    <a:lnTo>
                      <a:pt x="274" y="172"/>
                    </a:lnTo>
                    <a:lnTo>
                      <a:pt x="274" y="175"/>
                    </a:lnTo>
                    <a:lnTo>
                      <a:pt x="275" y="177"/>
                    </a:lnTo>
                    <a:lnTo>
                      <a:pt x="275" y="175"/>
                    </a:lnTo>
                    <a:lnTo>
                      <a:pt x="277" y="177"/>
                    </a:lnTo>
                    <a:lnTo>
                      <a:pt x="275" y="179"/>
                    </a:lnTo>
                    <a:lnTo>
                      <a:pt x="279" y="181"/>
                    </a:lnTo>
                    <a:lnTo>
                      <a:pt x="282" y="182"/>
                    </a:lnTo>
                    <a:lnTo>
                      <a:pt x="284" y="187"/>
                    </a:lnTo>
                    <a:lnTo>
                      <a:pt x="287" y="189"/>
                    </a:lnTo>
                    <a:lnTo>
                      <a:pt x="289" y="189"/>
                    </a:lnTo>
                    <a:lnTo>
                      <a:pt x="289" y="191"/>
                    </a:lnTo>
                    <a:lnTo>
                      <a:pt x="292" y="193"/>
                    </a:lnTo>
                    <a:lnTo>
                      <a:pt x="292" y="198"/>
                    </a:lnTo>
                    <a:lnTo>
                      <a:pt x="294" y="201"/>
                    </a:lnTo>
                    <a:lnTo>
                      <a:pt x="297" y="203"/>
                    </a:lnTo>
                    <a:lnTo>
                      <a:pt x="297" y="204"/>
                    </a:lnTo>
                    <a:lnTo>
                      <a:pt x="303" y="208"/>
                    </a:lnTo>
                    <a:lnTo>
                      <a:pt x="306" y="211"/>
                    </a:lnTo>
                    <a:lnTo>
                      <a:pt x="308" y="213"/>
                    </a:lnTo>
                    <a:lnTo>
                      <a:pt x="311" y="216"/>
                    </a:lnTo>
                    <a:lnTo>
                      <a:pt x="314" y="218"/>
                    </a:lnTo>
                    <a:lnTo>
                      <a:pt x="318" y="216"/>
                    </a:lnTo>
                    <a:lnTo>
                      <a:pt x="320" y="218"/>
                    </a:lnTo>
                    <a:lnTo>
                      <a:pt x="320" y="220"/>
                    </a:lnTo>
                    <a:lnTo>
                      <a:pt x="323" y="221"/>
                    </a:lnTo>
                    <a:lnTo>
                      <a:pt x="323" y="223"/>
                    </a:lnTo>
                    <a:lnTo>
                      <a:pt x="325" y="225"/>
                    </a:lnTo>
                    <a:lnTo>
                      <a:pt x="330" y="223"/>
                    </a:lnTo>
                    <a:lnTo>
                      <a:pt x="333" y="227"/>
                    </a:lnTo>
                    <a:lnTo>
                      <a:pt x="338" y="244"/>
                    </a:lnTo>
                    <a:lnTo>
                      <a:pt x="343" y="254"/>
                    </a:lnTo>
                    <a:lnTo>
                      <a:pt x="342" y="255"/>
                    </a:lnTo>
                    <a:lnTo>
                      <a:pt x="345" y="259"/>
                    </a:lnTo>
                    <a:lnTo>
                      <a:pt x="345" y="262"/>
                    </a:lnTo>
                    <a:lnTo>
                      <a:pt x="348" y="267"/>
                    </a:lnTo>
                    <a:lnTo>
                      <a:pt x="348" y="269"/>
                    </a:lnTo>
                    <a:lnTo>
                      <a:pt x="350" y="269"/>
                    </a:lnTo>
                    <a:lnTo>
                      <a:pt x="352" y="271"/>
                    </a:lnTo>
                    <a:lnTo>
                      <a:pt x="354" y="271"/>
                    </a:lnTo>
                    <a:lnTo>
                      <a:pt x="354" y="274"/>
                    </a:lnTo>
                    <a:lnTo>
                      <a:pt x="352" y="278"/>
                    </a:lnTo>
                    <a:lnTo>
                      <a:pt x="352" y="279"/>
                    </a:lnTo>
                    <a:lnTo>
                      <a:pt x="348" y="283"/>
                    </a:lnTo>
                    <a:lnTo>
                      <a:pt x="345" y="288"/>
                    </a:lnTo>
                    <a:lnTo>
                      <a:pt x="335" y="296"/>
                    </a:lnTo>
                    <a:lnTo>
                      <a:pt x="335" y="298"/>
                    </a:lnTo>
                    <a:lnTo>
                      <a:pt x="333" y="300"/>
                    </a:lnTo>
                    <a:lnTo>
                      <a:pt x="335" y="303"/>
                    </a:lnTo>
                    <a:lnTo>
                      <a:pt x="333" y="305"/>
                    </a:lnTo>
                    <a:lnTo>
                      <a:pt x="331" y="305"/>
                    </a:lnTo>
                    <a:lnTo>
                      <a:pt x="331" y="306"/>
                    </a:lnTo>
                    <a:lnTo>
                      <a:pt x="330" y="312"/>
                    </a:lnTo>
                    <a:lnTo>
                      <a:pt x="326" y="320"/>
                    </a:lnTo>
                    <a:lnTo>
                      <a:pt x="326" y="322"/>
                    </a:lnTo>
                    <a:lnTo>
                      <a:pt x="323" y="322"/>
                    </a:lnTo>
                    <a:lnTo>
                      <a:pt x="321" y="323"/>
                    </a:lnTo>
                    <a:lnTo>
                      <a:pt x="314" y="339"/>
                    </a:lnTo>
                    <a:lnTo>
                      <a:pt x="314" y="342"/>
                    </a:lnTo>
                    <a:lnTo>
                      <a:pt x="311" y="346"/>
                    </a:lnTo>
                    <a:lnTo>
                      <a:pt x="308" y="347"/>
                    </a:lnTo>
                    <a:lnTo>
                      <a:pt x="301" y="349"/>
                    </a:lnTo>
                    <a:lnTo>
                      <a:pt x="296" y="356"/>
                    </a:lnTo>
                    <a:lnTo>
                      <a:pt x="294" y="356"/>
                    </a:lnTo>
                    <a:lnTo>
                      <a:pt x="294" y="358"/>
                    </a:lnTo>
                    <a:lnTo>
                      <a:pt x="297" y="364"/>
                    </a:lnTo>
                    <a:lnTo>
                      <a:pt x="301" y="364"/>
                    </a:lnTo>
                    <a:lnTo>
                      <a:pt x="303" y="363"/>
                    </a:lnTo>
                    <a:lnTo>
                      <a:pt x="304" y="364"/>
                    </a:lnTo>
                    <a:lnTo>
                      <a:pt x="304" y="375"/>
                    </a:lnTo>
                    <a:lnTo>
                      <a:pt x="303" y="381"/>
                    </a:lnTo>
                    <a:lnTo>
                      <a:pt x="304" y="385"/>
                    </a:lnTo>
                    <a:lnTo>
                      <a:pt x="303" y="386"/>
                    </a:lnTo>
                    <a:lnTo>
                      <a:pt x="303" y="390"/>
                    </a:lnTo>
                    <a:lnTo>
                      <a:pt x="301" y="395"/>
                    </a:lnTo>
                    <a:lnTo>
                      <a:pt x="299" y="397"/>
                    </a:lnTo>
                    <a:lnTo>
                      <a:pt x="301" y="398"/>
                    </a:lnTo>
                    <a:lnTo>
                      <a:pt x="306" y="400"/>
                    </a:lnTo>
                    <a:lnTo>
                      <a:pt x="308" y="402"/>
                    </a:lnTo>
                    <a:lnTo>
                      <a:pt x="308" y="405"/>
                    </a:lnTo>
                    <a:lnTo>
                      <a:pt x="308" y="409"/>
                    </a:lnTo>
                    <a:lnTo>
                      <a:pt x="308" y="410"/>
                    </a:lnTo>
                    <a:lnTo>
                      <a:pt x="308" y="412"/>
                    </a:lnTo>
                    <a:lnTo>
                      <a:pt x="308" y="414"/>
                    </a:lnTo>
                    <a:lnTo>
                      <a:pt x="309" y="417"/>
                    </a:lnTo>
                    <a:lnTo>
                      <a:pt x="308" y="419"/>
                    </a:lnTo>
                    <a:lnTo>
                      <a:pt x="309" y="420"/>
                    </a:lnTo>
                    <a:lnTo>
                      <a:pt x="308" y="422"/>
                    </a:lnTo>
                    <a:lnTo>
                      <a:pt x="309" y="424"/>
                    </a:lnTo>
                    <a:lnTo>
                      <a:pt x="309" y="431"/>
                    </a:lnTo>
                    <a:lnTo>
                      <a:pt x="314" y="434"/>
                    </a:lnTo>
                    <a:lnTo>
                      <a:pt x="316" y="434"/>
                    </a:lnTo>
                    <a:lnTo>
                      <a:pt x="318" y="437"/>
                    </a:lnTo>
                    <a:lnTo>
                      <a:pt x="321" y="439"/>
                    </a:lnTo>
                    <a:lnTo>
                      <a:pt x="325" y="439"/>
                    </a:lnTo>
                    <a:lnTo>
                      <a:pt x="325" y="443"/>
                    </a:lnTo>
                    <a:lnTo>
                      <a:pt x="328" y="444"/>
                    </a:lnTo>
                    <a:lnTo>
                      <a:pt x="328" y="451"/>
                    </a:lnTo>
                    <a:lnTo>
                      <a:pt x="328" y="454"/>
                    </a:lnTo>
                    <a:lnTo>
                      <a:pt x="330" y="456"/>
                    </a:lnTo>
                    <a:lnTo>
                      <a:pt x="330" y="458"/>
                    </a:lnTo>
                    <a:lnTo>
                      <a:pt x="331" y="458"/>
                    </a:lnTo>
                    <a:lnTo>
                      <a:pt x="333" y="458"/>
                    </a:lnTo>
                    <a:lnTo>
                      <a:pt x="326" y="460"/>
                    </a:lnTo>
                    <a:lnTo>
                      <a:pt x="326" y="461"/>
                    </a:lnTo>
                    <a:lnTo>
                      <a:pt x="328" y="461"/>
                    </a:lnTo>
                    <a:lnTo>
                      <a:pt x="328" y="463"/>
                    </a:lnTo>
                    <a:lnTo>
                      <a:pt x="337" y="475"/>
                    </a:lnTo>
                    <a:lnTo>
                      <a:pt x="348" y="488"/>
                    </a:lnTo>
                    <a:lnTo>
                      <a:pt x="364" y="507"/>
                    </a:lnTo>
                    <a:lnTo>
                      <a:pt x="365" y="506"/>
                    </a:lnTo>
                    <a:lnTo>
                      <a:pt x="369" y="506"/>
                    </a:lnTo>
                    <a:lnTo>
                      <a:pt x="372" y="512"/>
                    </a:lnTo>
                    <a:lnTo>
                      <a:pt x="374" y="512"/>
                    </a:lnTo>
                    <a:lnTo>
                      <a:pt x="376" y="512"/>
                    </a:lnTo>
                    <a:lnTo>
                      <a:pt x="377" y="516"/>
                    </a:lnTo>
                    <a:lnTo>
                      <a:pt x="379" y="519"/>
                    </a:lnTo>
                    <a:lnTo>
                      <a:pt x="377" y="521"/>
                    </a:lnTo>
                    <a:lnTo>
                      <a:pt x="376" y="523"/>
                    </a:lnTo>
                    <a:lnTo>
                      <a:pt x="377" y="526"/>
                    </a:lnTo>
                    <a:lnTo>
                      <a:pt x="379" y="526"/>
                    </a:lnTo>
                    <a:lnTo>
                      <a:pt x="377" y="529"/>
                    </a:lnTo>
                    <a:lnTo>
                      <a:pt x="379" y="533"/>
                    </a:lnTo>
                    <a:lnTo>
                      <a:pt x="377" y="534"/>
                    </a:lnTo>
                    <a:lnTo>
                      <a:pt x="379" y="538"/>
                    </a:lnTo>
                    <a:lnTo>
                      <a:pt x="377" y="540"/>
                    </a:lnTo>
                    <a:lnTo>
                      <a:pt x="381" y="545"/>
                    </a:lnTo>
                    <a:lnTo>
                      <a:pt x="382" y="548"/>
                    </a:lnTo>
                    <a:lnTo>
                      <a:pt x="382" y="550"/>
                    </a:lnTo>
                    <a:lnTo>
                      <a:pt x="384" y="551"/>
                    </a:lnTo>
                    <a:lnTo>
                      <a:pt x="381" y="553"/>
                    </a:lnTo>
                    <a:lnTo>
                      <a:pt x="381" y="551"/>
                    </a:lnTo>
                    <a:lnTo>
                      <a:pt x="379" y="551"/>
                    </a:lnTo>
                    <a:lnTo>
                      <a:pt x="377" y="553"/>
                    </a:lnTo>
                    <a:lnTo>
                      <a:pt x="379" y="558"/>
                    </a:lnTo>
                    <a:lnTo>
                      <a:pt x="377" y="558"/>
                    </a:lnTo>
                    <a:lnTo>
                      <a:pt x="377" y="560"/>
                    </a:lnTo>
                    <a:lnTo>
                      <a:pt x="377" y="562"/>
                    </a:lnTo>
                    <a:lnTo>
                      <a:pt x="376" y="563"/>
                    </a:lnTo>
                    <a:lnTo>
                      <a:pt x="377" y="565"/>
                    </a:lnTo>
                    <a:lnTo>
                      <a:pt x="379" y="568"/>
                    </a:lnTo>
                    <a:lnTo>
                      <a:pt x="381" y="572"/>
                    </a:lnTo>
                    <a:lnTo>
                      <a:pt x="381" y="575"/>
                    </a:lnTo>
                    <a:lnTo>
                      <a:pt x="381" y="577"/>
                    </a:lnTo>
                    <a:lnTo>
                      <a:pt x="381" y="579"/>
                    </a:lnTo>
                    <a:lnTo>
                      <a:pt x="381" y="577"/>
                    </a:lnTo>
                    <a:lnTo>
                      <a:pt x="379" y="577"/>
                    </a:lnTo>
                    <a:lnTo>
                      <a:pt x="377" y="580"/>
                    </a:lnTo>
                    <a:lnTo>
                      <a:pt x="376" y="579"/>
                    </a:lnTo>
                    <a:lnTo>
                      <a:pt x="374" y="577"/>
                    </a:lnTo>
                    <a:lnTo>
                      <a:pt x="376" y="574"/>
                    </a:lnTo>
                    <a:lnTo>
                      <a:pt x="372" y="574"/>
                    </a:lnTo>
                    <a:lnTo>
                      <a:pt x="369" y="574"/>
                    </a:lnTo>
                    <a:lnTo>
                      <a:pt x="369" y="572"/>
                    </a:lnTo>
                    <a:lnTo>
                      <a:pt x="369" y="574"/>
                    </a:lnTo>
                    <a:lnTo>
                      <a:pt x="367" y="570"/>
                    </a:lnTo>
                    <a:lnTo>
                      <a:pt x="364" y="570"/>
                    </a:lnTo>
                    <a:lnTo>
                      <a:pt x="362" y="567"/>
                    </a:lnTo>
                    <a:lnTo>
                      <a:pt x="360" y="567"/>
                    </a:lnTo>
                    <a:lnTo>
                      <a:pt x="359" y="565"/>
                    </a:lnTo>
                    <a:lnTo>
                      <a:pt x="357" y="565"/>
                    </a:lnTo>
                    <a:lnTo>
                      <a:pt x="352" y="565"/>
                    </a:lnTo>
                    <a:lnTo>
                      <a:pt x="350" y="563"/>
                    </a:lnTo>
                    <a:lnTo>
                      <a:pt x="350" y="565"/>
                    </a:lnTo>
                    <a:lnTo>
                      <a:pt x="348" y="563"/>
                    </a:lnTo>
                    <a:lnTo>
                      <a:pt x="342" y="567"/>
                    </a:lnTo>
                    <a:lnTo>
                      <a:pt x="340" y="565"/>
                    </a:lnTo>
                    <a:lnTo>
                      <a:pt x="338" y="565"/>
                    </a:lnTo>
                    <a:lnTo>
                      <a:pt x="338" y="563"/>
                    </a:lnTo>
                    <a:lnTo>
                      <a:pt x="337" y="562"/>
                    </a:lnTo>
                    <a:lnTo>
                      <a:pt x="333" y="560"/>
                    </a:lnTo>
                    <a:lnTo>
                      <a:pt x="331" y="562"/>
                    </a:lnTo>
                    <a:lnTo>
                      <a:pt x="331" y="560"/>
                    </a:lnTo>
                    <a:lnTo>
                      <a:pt x="330" y="562"/>
                    </a:lnTo>
                    <a:lnTo>
                      <a:pt x="328" y="563"/>
                    </a:lnTo>
                    <a:lnTo>
                      <a:pt x="326" y="563"/>
                    </a:lnTo>
                    <a:lnTo>
                      <a:pt x="326" y="562"/>
                    </a:lnTo>
                    <a:lnTo>
                      <a:pt x="325" y="563"/>
                    </a:lnTo>
                    <a:lnTo>
                      <a:pt x="323" y="560"/>
                    </a:lnTo>
                    <a:lnTo>
                      <a:pt x="321" y="562"/>
                    </a:lnTo>
                    <a:lnTo>
                      <a:pt x="320" y="562"/>
                    </a:lnTo>
                    <a:lnTo>
                      <a:pt x="318" y="562"/>
                    </a:lnTo>
                    <a:lnTo>
                      <a:pt x="320" y="558"/>
                    </a:lnTo>
                    <a:lnTo>
                      <a:pt x="318" y="558"/>
                    </a:lnTo>
                    <a:lnTo>
                      <a:pt x="316" y="557"/>
                    </a:lnTo>
                    <a:lnTo>
                      <a:pt x="316" y="558"/>
                    </a:lnTo>
                    <a:lnTo>
                      <a:pt x="314" y="558"/>
                    </a:lnTo>
                    <a:lnTo>
                      <a:pt x="314" y="560"/>
                    </a:lnTo>
                    <a:lnTo>
                      <a:pt x="313" y="558"/>
                    </a:lnTo>
                    <a:lnTo>
                      <a:pt x="311" y="558"/>
                    </a:lnTo>
                    <a:lnTo>
                      <a:pt x="311" y="557"/>
                    </a:lnTo>
                    <a:lnTo>
                      <a:pt x="311" y="558"/>
                    </a:lnTo>
                    <a:lnTo>
                      <a:pt x="311" y="557"/>
                    </a:lnTo>
                    <a:lnTo>
                      <a:pt x="309" y="557"/>
                    </a:lnTo>
                    <a:lnTo>
                      <a:pt x="308" y="557"/>
                    </a:lnTo>
                    <a:lnTo>
                      <a:pt x="308" y="555"/>
                    </a:lnTo>
                    <a:lnTo>
                      <a:pt x="306" y="555"/>
                    </a:lnTo>
                    <a:lnTo>
                      <a:pt x="304" y="555"/>
                    </a:lnTo>
                    <a:lnTo>
                      <a:pt x="304" y="551"/>
                    </a:lnTo>
                    <a:lnTo>
                      <a:pt x="303" y="551"/>
                    </a:lnTo>
                    <a:lnTo>
                      <a:pt x="301" y="551"/>
                    </a:lnTo>
                    <a:lnTo>
                      <a:pt x="297" y="553"/>
                    </a:lnTo>
                    <a:lnTo>
                      <a:pt x="294" y="555"/>
                    </a:lnTo>
                    <a:lnTo>
                      <a:pt x="292" y="553"/>
                    </a:lnTo>
                    <a:lnTo>
                      <a:pt x="289" y="553"/>
                    </a:lnTo>
                    <a:lnTo>
                      <a:pt x="286" y="553"/>
                    </a:lnTo>
                    <a:lnTo>
                      <a:pt x="272" y="553"/>
                    </a:lnTo>
                    <a:lnTo>
                      <a:pt x="262" y="553"/>
                    </a:lnTo>
                    <a:lnTo>
                      <a:pt x="260" y="553"/>
                    </a:lnTo>
                    <a:lnTo>
                      <a:pt x="238" y="553"/>
                    </a:lnTo>
                    <a:lnTo>
                      <a:pt x="236" y="553"/>
                    </a:lnTo>
                    <a:lnTo>
                      <a:pt x="238" y="551"/>
                    </a:lnTo>
                    <a:lnTo>
                      <a:pt x="236" y="550"/>
                    </a:lnTo>
                    <a:lnTo>
                      <a:pt x="235" y="548"/>
                    </a:lnTo>
                    <a:lnTo>
                      <a:pt x="233" y="550"/>
                    </a:lnTo>
                    <a:lnTo>
                      <a:pt x="231" y="550"/>
                    </a:lnTo>
                    <a:lnTo>
                      <a:pt x="231" y="548"/>
                    </a:lnTo>
                    <a:lnTo>
                      <a:pt x="229" y="548"/>
                    </a:lnTo>
                    <a:lnTo>
                      <a:pt x="226" y="550"/>
                    </a:lnTo>
                    <a:lnTo>
                      <a:pt x="224" y="550"/>
                    </a:lnTo>
                    <a:lnTo>
                      <a:pt x="221" y="550"/>
                    </a:lnTo>
                    <a:lnTo>
                      <a:pt x="218" y="550"/>
                    </a:lnTo>
                    <a:lnTo>
                      <a:pt x="216" y="550"/>
                    </a:lnTo>
                    <a:lnTo>
                      <a:pt x="214" y="551"/>
                    </a:lnTo>
                    <a:lnTo>
                      <a:pt x="212" y="550"/>
                    </a:lnTo>
                    <a:lnTo>
                      <a:pt x="209" y="551"/>
                    </a:lnTo>
                    <a:lnTo>
                      <a:pt x="206" y="550"/>
                    </a:lnTo>
                    <a:lnTo>
                      <a:pt x="202" y="550"/>
                    </a:lnTo>
                    <a:lnTo>
                      <a:pt x="201" y="548"/>
                    </a:lnTo>
                    <a:lnTo>
                      <a:pt x="199" y="550"/>
                    </a:lnTo>
                    <a:lnTo>
                      <a:pt x="194" y="550"/>
                    </a:lnTo>
                    <a:lnTo>
                      <a:pt x="187" y="548"/>
                    </a:lnTo>
                    <a:lnTo>
                      <a:pt x="185" y="550"/>
                    </a:lnTo>
                    <a:lnTo>
                      <a:pt x="184" y="550"/>
                    </a:lnTo>
                    <a:lnTo>
                      <a:pt x="182" y="548"/>
                    </a:lnTo>
                    <a:lnTo>
                      <a:pt x="178" y="548"/>
                    </a:lnTo>
                    <a:lnTo>
                      <a:pt x="177" y="548"/>
                    </a:lnTo>
                    <a:lnTo>
                      <a:pt x="170" y="548"/>
                    </a:lnTo>
                    <a:lnTo>
                      <a:pt x="165" y="548"/>
                    </a:lnTo>
                    <a:lnTo>
                      <a:pt x="163" y="548"/>
                    </a:lnTo>
                    <a:lnTo>
                      <a:pt x="160" y="548"/>
                    </a:lnTo>
                    <a:lnTo>
                      <a:pt x="158" y="548"/>
                    </a:lnTo>
                    <a:lnTo>
                      <a:pt x="155" y="546"/>
                    </a:lnTo>
                    <a:lnTo>
                      <a:pt x="151" y="548"/>
                    </a:lnTo>
                    <a:lnTo>
                      <a:pt x="151" y="546"/>
                    </a:lnTo>
                    <a:lnTo>
                      <a:pt x="148" y="548"/>
                    </a:lnTo>
                    <a:lnTo>
                      <a:pt x="139" y="548"/>
                    </a:lnTo>
                    <a:lnTo>
                      <a:pt x="139" y="550"/>
                    </a:lnTo>
                    <a:lnTo>
                      <a:pt x="139" y="551"/>
                    </a:lnTo>
                    <a:lnTo>
                      <a:pt x="139" y="553"/>
                    </a:lnTo>
                    <a:lnTo>
                      <a:pt x="129" y="553"/>
                    </a:lnTo>
                    <a:lnTo>
                      <a:pt x="90" y="553"/>
                    </a:lnTo>
                    <a:lnTo>
                      <a:pt x="80" y="553"/>
                    </a:lnTo>
                    <a:lnTo>
                      <a:pt x="80" y="555"/>
                    </a:lnTo>
                    <a:lnTo>
                      <a:pt x="78" y="553"/>
                    </a:lnTo>
                    <a:lnTo>
                      <a:pt x="76" y="555"/>
                    </a:lnTo>
                    <a:lnTo>
                      <a:pt x="73" y="553"/>
                    </a:lnTo>
                    <a:lnTo>
                      <a:pt x="71" y="553"/>
                    </a:lnTo>
                    <a:lnTo>
                      <a:pt x="66" y="551"/>
                    </a:lnTo>
                    <a:lnTo>
                      <a:pt x="65" y="551"/>
                    </a:lnTo>
                    <a:lnTo>
                      <a:pt x="65" y="550"/>
                    </a:lnTo>
                    <a:lnTo>
                      <a:pt x="63" y="550"/>
                    </a:lnTo>
                    <a:lnTo>
                      <a:pt x="61" y="545"/>
                    </a:lnTo>
                    <a:lnTo>
                      <a:pt x="61" y="533"/>
                    </a:lnTo>
                    <a:lnTo>
                      <a:pt x="63" y="526"/>
                    </a:lnTo>
                    <a:lnTo>
                      <a:pt x="65" y="521"/>
                    </a:lnTo>
                    <a:lnTo>
                      <a:pt x="65" y="519"/>
                    </a:lnTo>
                    <a:lnTo>
                      <a:pt x="66" y="514"/>
                    </a:lnTo>
                    <a:lnTo>
                      <a:pt x="66" y="512"/>
                    </a:lnTo>
                    <a:lnTo>
                      <a:pt x="68" y="511"/>
                    </a:lnTo>
                    <a:lnTo>
                      <a:pt x="70" y="507"/>
                    </a:lnTo>
                    <a:lnTo>
                      <a:pt x="65" y="495"/>
                    </a:lnTo>
                    <a:lnTo>
                      <a:pt x="58" y="488"/>
                    </a:lnTo>
                    <a:lnTo>
                      <a:pt x="53" y="483"/>
                    </a:lnTo>
                    <a:lnTo>
                      <a:pt x="56" y="483"/>
                    </a:lnTo>
                    <a:lnTo>
                      <a:pt x="58" y="482"/>
                    </a:lnTo>
                    <a:lnTo>
                      <a:pt x="58" y="480"/>
                    </a:lnTo>
                    <a:lnTo>
                      <a:pt x="53" y="482"/>
                    </a:lnTo>
                    <a:lnTo>
                      <a:pt x="53" y="480"/>
                    </a:lnTo>
                    <a:lnTo>
                      <a:pt x="48" y="470"/>
                    </a:lnTo>
                    <a:lnTo>
                      <a:pt x="49" y="471"/>
                    </a:lnTo>
                    <a:lnTo>
                      <a:pt x="49" y="473"/>
                    </a:lnTo>
                    <a:lnTo>
                      <a:pt x="51" y="475"/>
                    </a:lnTo>
                    <a:lnTo>
                      <a:pt x="54" y="478"/>
                    </a:lnTo>
                    <a:lnTo>
                      <a:pt x="51" y="475"/>
                    </a:lnTo>
                    <a:lnTo>
                      <a:pt x="51" y="473"/>
                    </a:lnTo>
                    <a:lnTo>
                      <a:pt x="54" y="475"/>
                    </a:lnTo>
                    <a:lnTo>
                      <a:pt x="54" y="477"/>
                    </a:lnTo>
                    <a:lnTo>
                      <a:pt x="54" y="473"/>
                    </a:lnTo>
                    <a:lnTo>
                      <a:pt x="56" y="475"/>
                    </a:lnTo>
                    <a:lnTo>
                      <a:pt x="54" y="473"/>
                    </a:lnTo>
                    <a:lnTo>
                      <a:pt x="56" y="473"/>
                    </a:lnTo>
                    <a:lnTo>
                      <a:pt x="54" y="471"/>
                    </a:lnTo>
                    <a:lnTo>
                      <a:pt x="54" y="468"/>
                    </a:lnTo>
                    <a:lnTo>
                      <a:pt x="56" y="468"/>
                    </a:lnTo>
                    <a:lnTo>
                      <a:pt x="58" y="471"/>
                    </a:lnTo>
                    <a:lnTo>
                      <a:pt x="59" y="470"/>
                    </a:lnTo>
                    <a:lnTo>
                      <a:pt x="59" y="473"/>
                    </a:lnTo>
                    <a:lnTo>
                      <a:pt x="59" y="470"/>
                    </a:lnTo>
                    <a:lnTo>
                      <a:pt x="58" y="470"/>
                    </a:lnTo>
                    <a:lnTo>
                      <a:pt x="58" y="468"/>
                    </a:lnTo>
                    <a:lnTo>
                      <a:pt x="59" y="468"/>
                    </a:lnTo>
                    <a:lnTo>
                      <a:pt x="61" y="468"/>
                    </a:lnTo>
                    <a:lnTo>
                      <a:pt x="59" y="468"/>
                    </a:lnTo>
                    <a:lnTo>
                      <a:pt x="58" y="466"/>
                    </a:lnTo>
                    <a:lnTo>
                      <a:pt x="56" y="468"/>
                    </a:lnTo>
                    <a:lnTo>
                      <a:pt x="54" y="465"/>
                    </a:lnTo>
                    <a:lnTo>
                      <a:pt x="58" y="465"/>
                    </a:lnTo>
                    <a:lnTo>
                      <a:pt x="59" y="463"/>
                    </a:lnTo>
                    <a:lnTo>
                      <a:pt x="61" y="463"/>
                    </a:lnTo>
                    <a:lnTo>
                      <a:pt x="59" y="463"/>
                    </a:lnTo>
                    <a:lnTo>
                      <a:pt x="58" y="463"/>
                    </a:lnTo>
                    <a:lnTo>
                      <a:pt x="54" y="465"/>
                    </a:lnTo>
                    <a:lnTo>
                      <a:pt x="54" y="463"/>
                    </a:lnTo>
                    <a:lnTo>
                      <a:pt x="51" y="463"/>
                    </a:lnTo>
                    <a:lnTo>
                      <a:pt x="53" y="460"/>
                    </a:lnTo>
                    <a:lnTo>
                      <a:pt x="54" y="461"/>
                    </a:lnTo>
                    <a:lnTo>
                      <a:pt x="56" y="461"/>
                    </a:lnTo>
                    <a:lnTo>
                      <a:pt x="54" y="460"/>
                    </a:lnTo>
                    <a:lnTo>
                      <a:pt x="54" y="461"/>
                    </a:lnTo>
                    <a:lnTo>
                      <a:pt x="53" y="460"/>
                    </a:lnTo>
                    <a:lnTo>
                      <a:pt x="56" y="456"/>
                    </a:lnTo>
                    <a:lnTo>
                      <a:pt x="54" y="456"/>
                    </a:lnTo>
                    <a:lnTo>
                      <a:pt x="54" y="454"/>
                    </a:lnTo>
                    <a:lnTo>
                      <a:pt x="53" y="454"/>
                    </a:lnTo>
                    <a:lnTo>
                      <a:pt x="54" y="454"/>
                    </a:lnTo>
                    <a:lnTo>
                      <a:pt x="54" y="456"/>
                    </a:lnTo>
                    <a:lnTo>
                      <a:pt x="54" y="458"/>
                    </a:lnTo>
                    <a:lnTo>
                      <a:pt x="53" y="458"/>
                    </a:lnTo>
                    <a:lnTo>
                      <a:pt x="51" y="460"/>
                    </a:lnTo>
                    <a:lnTo>
                      <a:pt x="49" y="461"/>
                    </a:lnTo>
                    <a:lnTo>
                      <a:pt x="48" y="460"/>
                    </a:lnTo>
                    <a:lnTo>
                      <a:pt x="49" y="460"/>
                    </a:lnTo>
                    <a:lnTo>
                      <a:pt x="48" y="460"/>
                    </a:lnTo>
                    <a:lnTo>
                      <a:pt x="49" y="458"/>
                    </a:lnTo>
                    <a:lnTo>
                      <a:pt x="48" y="460"/>
                    </a:lnTo>
                    <a:lnTo>
                      <a:pt x="46" y="458"/>
                    </a:lnTo>
                    <a:lnTo>
                      <a:pt x="44" y="458"/>
                    </a:lnTo>
                    <a:lnTo>
                      <a:pt x="44" y="456"/>
                    </a:lnTo>
                    <a:lnTo>
                      <a:pt x="44" y="454"/>
                    </a:lnTo>
                    <a:lnTo>
                      <a:pt x="43" y="456"/>
                    </a:lnTo>
                    <a:lnTo>
                      <a:pt x="41" y="456"/>
                    </a:lnTo>
                    <a:lnTo>
                      <a:pt x="39" y="458"/>
                    </a:lnTo>
                    <a:lnTo>
                      <a:pt x="39" y="460"/>
                    </a:lnTo>
                    <a:lnTo>
                      <a:pt x="37" y="460"/>
                    </a:lnTo>
                    <a:lnTo>
                      <a:pt x="36" y="460"/>
                    </a:lnTo>
                    <a:lnTo>
                      <a:pt x="36" y="461"/>
                    </a:lnTo>
                    <a:lnTo>
                      <a:pt x="34" y="461"/>
                    </a:lnTo>
                    <a:lnTo>
                      <a:pt x="32" y="463"/>
                    </a:lnTo>
                    <a:lnTo>
                      <a:pt x="31" y="463"/>
                    </a:lnTo>
                    <a:lnTo>
                      <a:pt x="31" y="460"/>
                    </a:lnTo>
                    <a:lnTo>
                      <a:pt x="27" y="460"/>
                    </a:lnTo>
                    <a:lnTo>
                      <a:pt x="26" y="461"/>
                    </a:lnTo>
                    <a:lnTo>
                      <a:pt x="24" y="458"/>
                    </a:lnTo>
                    <a:lnTo>
                      <a:pt x="20" y="458"/>
                    </a:lnTo>
                    <a:lnTo>
                      <a:pt x="19" y="456"/>
                    </a:lnTo>
                    <a:lnTo>
                      <a:pt x="19" y="451"/>
                    </a:lnTo>
                    <a:lnTo>
                      <a:pt x="15" y="446"/>
                    </a:lnTo>
                    <a:lnTo>
                      <a:pt x="15" y="444"/>
                    </a:lnTo>
                    <a:lnTo>
                      <a:pt x="14" y="441"/>
                    </a:lnTo>
                    <a:lnTo>
                      <a:pt x="14" y="439"/>
                    </a:lnTo>
                    <a:lnTo>
                      <a:pt x="15" y="437"/>
                    </a:lnTo>
                    <a:lnTo>
                      <a:pt x="14" y="437"/>
                    </a:lnTo>
                    <a:lnTo>
                      <a:pt x="17" y="432"/>
                    </a:lnTo>
                    <a:lnTo>
                      <a:pt x="17" y="431"/>
                    </a:lnTo>
                    <a:lnTo>
                      <a:pt x="17" y="432"/>
                    </a:lnTo>
                    <a:lnTo>
                      <a:pt x="15" y="432"/>
                    </a:lnTo>
                    <a:lnTo>
                      <a:pt x="15" y="436"/>
                    </a:lnTo>
                    <a:lnTo>
                      <a:pt x="14" y="436"/>
                    </a:lnTo>
                    <a:lnTo>
                      <a:pt x="14" y="431"/>
                    </a:lnTo>
                    <a:lnTo>
                      <a:pt x="10" y="429"/>
                    </a:lnTo>
                    <a:lnTo>
                      <a:pt x="12" y="424"/>
                    </a:lnTo>
                    <a:lnTo>
                      <a:pt x="10" y="422"/>
                    </a:lnTo>
                    <a:lnTo>
                      <a:pt x="9" y="420"/>
                    </a:lnTo>
                    <a:lnTo>
                      <a:pt x="10" y="422"/>
                    </a:lnTo>
                    <a:lnTo>
                      <a:pt x="12" y="424"/>
                    </a:lnTo>
                    <a:lnTo>
                      <a:pt x="10" y="427"/>
                    </a:lnTo>
                    <a:lnTo>
                      <a:pt x="7" y="427"/>
                    </a:lnTo>
                    <a:lnTo>
                      <a:pt x="7" y="424"/>
                    </a:lnTo>
                    <a:lnTo>
                      <a:pt x="9" y="424"/>
                    </a:lnTo>
                    <a:lnTo>
                      <a:pt x="7" y="422"/>
                    </a:lnTo>
                    <a:lnTo>
                      <a:pt x="9" y="422"/>
                    </a:lnTo>
                    <a:lnTo>
                      <a:pt x="7" y="422"/>
                    </a:lnTo>
                    <a:lnTo>
                      <a:pt x="7" y="424"/>
                    </a:lnTo>
                    <a:lnTo>
                      <a:pt x="7" y="426"/>
                    </a:lnTo>
                    <a:lnTo>
                      <a:pt x="7" y="429"/>
                    </a:lnTo>
                    <a:lnTo>
                      <a:pt x="9" y="432"/>
                    </a:lnTo>
                    <a:lnTo>
                      <a:pt x="9" y="434"/>
                    </a:lnTo>
                    <a:lnTo>
                      <a:pt x="5" y="431"/>
                    </a:lnTo>
                    <a:lnTo>
                      <a:pt x="5" y="429"/>
                    </a:lnTo>
                    <a:lnTo>
                      <a:pt x="3" y="427"/>
                    </a:lnTo>
                    <a:lnTo>
                      <a:pt x="5" y="427"/>
                    </a:lnTo>
                    <a:lnTo>
                      <a:pt x="5" y="426"/>
                    </a:lnTo>
                    <a:lnTo>
                      <a:pt x="5" y="424"/>
                    </a:lnTo>
                    <a:lnTo>
                      <a:pt x="5" y="426"/>
                    </a:lnTo>
                    <a:lnTo>
                      <a:pt x="5" y="427"/>
                    </a:lnTo>
                    <a:lnTo>
                      <a:pt x="3" y="427"/>
                    </a:lnTo>
                    <a:lnTo>
                      <a:pt x="2" y="426"/>
                    </a:lnTo>
                    <a:lnTo>
                      <a:pt x="2" y="424"/>
                    </a:lnTo>
                    <a:lnTo>
                      <a:pt x="3" y="424"/>
                    </a:lnTo>
                    <a:lnTo>
                      <a:pt x="3" y="422"/>
                    </a:lnTo>
                    <a:lnTo>
                      <a:pt x="2" y="424"/>
                    </a:lnTo>
                    <a:lnTo>
                      <a:pt x="2" y="422"/>
                    </a:lnTo>
                    <a:lnTo>
                      <a:pt x="0" y="419"/>
                    </a:lnTo>
                    <a:lnTo>
                      <a:pt x="0" y="415"/>
                    </a:lnTo>
                    <a:lnTo>
                      <a:pt x="2" y="415"/>
                    </a:lnTo>
                    <a:lnTo>
                      <a:pt x="2" y="414"/>
                    </a:lnTo>
                    <a:lnTo>
                      <a:pt x="5" y="410"/>
                    </a:lnTo>
                    <a:lnTo>
                      <a:pt x="3" y="410"/>
                    </a:lnTo>
                    <a:lnTo>
                      <a:pt x="5" y="409"/>
                    </a:lnTo>
                    <a:lnTo>
                      <a:pt x="5" y="407"/>
                    </a:lnTo>
                    <a:lnTo>
                      <a:pt x="7" y="405"/>
                    </a:lnTo>
                    <a:lnTo>
                      <a:pt x="9" y="405"/>
                    </a:lnTo>
                    <a:lnTo>
                      <a:pt x="10" y="402"/>
                    </a:lnTo>
                    <a:lnTo>
                      <a:pt x="10" y="395"/>
                    </a:lnTo>
                    <a:lnTo>
                      <a:pt x="12" y="390"/>
                    </a:lnTo>
                    <a:lnTo>
                      <a:pt x="12" y="388"/>
                    </a:lnTo>
                    <a:lnTo>
                      <a:pt x="15" y="381"/>
                    </a:lnTo>
                    <a:lnTo>
                      <a:pt x="15" y="380"/>
                    </a:lnTo>
                    <a:lnTo>
                      <a:pt x="12" y="376"/>
                    </a:lnTo>
                    <a:lnTo>
                      <a:pt x="12" y="375"/>
                    </a:lnTo>
                    <a:lnTo>
                      <a:pt x="14" y="371"/>
                    </a:lnTo>
                    <a:lnTo>
                      <a:pt x="14" y="369"/>
                    </a:lnTo>
                    <a:lnTo>
                      <a:pt x="12" y="369"/>
                    </a:lnTo>
                    <a:lnTo>
                      <a:pt x="12" y="368"/>
                    </a:lnTo>
                    <a:lnTo>
                      <a:pt x="15" y="366"/>
                    </a:lnTo>
                    <a:lnTo>
                      <a:pt x="15" y="364"/>
                    </a:lnTo>
                    <a:lnTo>
                      <a:pt x="19" y="363"/>
                    </a:lnTo>
                    <a:lnTo>
                      <a:pt x="26" y="356"/>
                    </a:lnTo>
                    <a:lnTo>
                      <a:pt x="29" y="352"/>
                    </a:lnTo>
                    <a:lnTo>
                      <a:pt x="34" y="351"/>
                    </a:lnTo>
                    <a:lnTo>
                      <a:pt x="37" y="344"/>
                    </a:lnTo>
                    <a:lnTo>
                      <a:pt x="37" y="342"/>
                    </a:lnTo>
                    <a:lnTo>
                      <a:pt x="41" y="344"/>
                    </a:lnTo>
                    <a:lnTo>
                      <a:pt x="43" y="337"/>
                    </a:lnTo>
                    <a:lnTo>
                      <a:pt x="48" y="337"/>
                    </a:lnTo>
                    <a:lnTo>
                      <a:pt x="49" y="335"/>
                    </a:lnTo>
                    <a:lnTo>
                      <a:pt x="49" y="332"/>
                    </a:lnTo>
                    <a:lnTo>
                      <a:pt x="51" y="334"/>
                    </a:lnTo>
                    <a:lnTo>
                      <a:pt x="53" y="332"/>
                    </a:lnTo>
                    <a:lnTo>
                      <a:pt x="53" y="334"/>
                    </a:lnTo>
                    <a:lnTo>
                      <a:pt x="56" y="334"/>
                    </a:lnTo>
                    <a:lnTo>
                      <a:pt x="58" y="327"/>
                    </a:lnTo>
                    <a:lnTo>
                      <a:pt x="58" y="322"/>
                    </a:lnTo>
                    <a:lnTo>
                      <a:pt x="59" y="320"/>
                    </a:lnTo>
                    <a:lnTo>
                      <a:pt x="65" y="320"/>
                    </a:lnTo>
                    <a:lnTo>
                      <a:pt x="68" y="315"/>
                    </a:lnTo>
                    <a:lnTo>
                      <a:pt x="78" y="306"/>
                    </a:lnTo>
                    <a:lnTo>
                      <a:pt x="80" y="308"/>
                    </a:lnTo>
                    <a:lnTo>
                      <a:pt x="78" y="308"/>
                    </a:lnTo>
                    <a:lnTo>
                      <a:pt x="80" y="310"/>
                    </a:lnTo>
                    <a:lnTo>
                      <a:pt x="80" y="312"/>
                    </a:lnTo>
                    <a:lnTo>
                      <a:pt x="82" y="315"/>
                    </a:lnTo>
                    <a:lnTo>
                      <a:pt x="93" y="313"/>
                    </a:lnTo>
                    <a:lnTo>
                      <a:pt x="95" y="313"/>
                    </a:lnTo>
                    <a:lnTo>
                      <a:pt x="97" y="312"/>
                    </a:lnTo>
                    <a:lnTo>
                      <a:pt x="99" y="301"/>
                    </a:lnTo>
                    <a:lnTo>
                      <a:pt x="100" y="301"/>
                    </a:lnTo>
                    <a:lnTo>
                      <a:pt x="100" y="305"/>
                    </a:lnTo>
                    <a:lnTo>
                      <a:pt x="102" y="306"/>
                    </a:lnTo>
                    <a:lnTo>
                      <a:pt x="105" y="306"/>
                    </a:lnTo>
                    <a:lnTo>
                      <a:pt x="105" y="308"/>
                    </a:lnTo>
                    <a:lnTo>
                      <a:pt x="107" y="310"/>
                    </a:lnTo>
                    <a:lnTo>
                      <a:pt x="109" y="312"/>
                    </a:lnTo>
                    <a:lnTo>
                      <a:pt x="110" y="310"/>
                    </a:lnTo>
                    <a:lnTo>
                      <a:pt x="112" y="312"/>
                    </a:lnTo>
                    <a:lnTo>
                      <a:pt x="112" y="317"/>
                    </a:lnTo>
                    <a:lnTo>
                      <a:pt x="112" y="318"/>
                    </a:lnTo>
                    <a:lnTo>
                      <a:pt x="114" y="318"/>
                    </a:lnTo>
                    <a:lnTo>
                      <a:pt x="116" y="320"/>
                    </a:lnTo>
                    <a:lnTo>
                      <a:pt x="117" y="323"/>
                    </a:lnTo>
                    <a:lnTo>
                      <a:pt x="117" y="325"/>
                    </a:lnTo>
                    <a:lnTo>
                      <a:pt x="121" y="325"/>
                    </a:lnTo>
                    <a:lnTo>
                      <a:pt x="122" y="323"/>
                    </a:lnTo>
                    <a:lnTo>
                      <a:pt x="124" y="323"/>
                    </a:lnTo>
                    <a:lnTo>
                      <a:pt x="126" y="325"/>
                    </a:lnTo>
                    <a:lnTo>
                      <a:pt x="126" y="332"/>
                    </a:lnTo>
                    <a:lnTo>
                      <a:pt x="127" y="332"/>
                    </a:lnTo>
                    <a:lnTo>
                      <a:pt x="129" y="330"/>
                    </a:lnTo>
                    <a:lnTo>
                      <a:pt x="133" y="334"/>
                    </a:lnTo>
                    <a:lnTo>
                      <a:pt x="134" y="332"/>
                    </a:lnTo>
                    <a:lnTo>
                      <a:pt x="136" y="334"/>
                    </a:lnTo>
                    <a:lnTo>
                      <a:pt x="139" y="334"/>
                    </a:lnTo>
                    <a:lnTo>
                      <a:pt x="143" y="332"/>
                    </a:lnTo>
                    <a:lnTo>
                      <a:pt x="143" y="329"/>
                    </a:lnTo>
                    <a:lnTo>
                      <a:pt x="146" y="329"/>
                    </a:lnTo>
                    <a:lnTo>
                      <a:pt x="150" y="327"/>
                    </a:lnTo>
                    <a:lnTo>
                      <a:pt x="150" y="323"/>
                    </a:lnTo>
                    <a:lnTo>
                      <a:pt x="151" y="322"/>
                    </a:lnTo>
                    <a:lnTo>
                      <a:pt x="150" y="320"/>
                    </a:lnTo>
                    <a:lnTo>
                      <a:pt x="151" y="318"/>
                    </a:lnTo>
                    <a:lnTo>
                      <a:pt x="150" y="318"/>
                    </a:lnTo>
                    <a:lnTo>
                      <a:pt x="151" y="317"/>
                    </a:lnTo>
                    <a:lnTo>
                      <a:pt x="150" y="317"/>
                    </a:lnTo>
                    <a:lnTo>
                      <a:pt x="151" y="313"/>
                    </a:lnTo>
                    <a:lnTo>
                      <a:pt x="153" y="310"/>
                    </a:lnTo>
                    <a:lnTo>
                      <a:pt x="155" y="310"/>
                    </a:lnTo>
                    <a:lnTo>
                      <a:pt x="156" y="306"/>
                    </a:lnTo>
                    <a:lnTo>
                      <a:pt x="158" y="306"/>
                    </a:lnTo>
                    <a:lnTo>
                      <a:pt x="163" y="306"/>
                    </a:lnTo>
                    <a:lnTo>
                      <a:pt x="163" y="305"/>
                    </a:lnTo>
                    <a:lnTo>
                      <a:pt x="163" y="303"/>
                    </a:lnTo>
                    <a:lnTo>
                      <a:pt x="161" y="296"/>
                    </a:lnTo>
                    <a:lnTo>
                      <a:pt x="161" y="295"/>
                    </a:lnTo>
                    <a:lnTo>
                      <a:pt x="165" y="288"/>
                    </a:lnTo>
                    <a:lnTo>
                      <a:pt x="168" y="284"/>
                    </a:lnTo>
                    <a:lnTo>
                      <a:pt x="173" y="283"/>
                    </a:lnTo>
                    <a:lnTo>
                      <a:pt x="172" y="276"/>
                    </a:lnTo>
                    <a:lnTo>
                      <a:pt x="173" y="272"/>
                    </a:lnTo>
                    <a:lnTo>
                      <a:pt x="177" y="266"/>
                    </a:lnTo>
                    <a:lnTo>
                      <a:pt x="180" y="264"/>
                    </a:lnTo>
                    <a:lnTo>
                      <a:pt x="180" y="262"/>
                    </a:lnTo>
                    <a:lnTo>
                      <a:pt x="182" y="261"/>
                    </a:lnTo>
                    <a:lnTo>
                      <a:pt x="184" y="259"/>
                    </a:lnTo>
                    <a:lnTo>
                      <a:pt x="182" y="254"/>
                    </a:lnTo>
                    <a:lnTo>
                      <a:pt x="184" y="250"/>
                    </a:lnTo>
                    <a:lnTo>
                      <a:pt x="185" y="247"/>
                    </a:lnTo>
                    <a:lnTo>
                      <a:pt x="184" y="240"/>
                    </a:lnTo>
                    <a:lnTo>
                      <a:pt x="184" y="238"/>
                    </a:lnTo>
                    <a:lnTo>
                      <a:pt x="184" y="235"/>
                    </a:lnTo>
                    <a:lnTo>
                      <a:pt x="192" y="233"/>
                    </a:lnTo>
                    <a:lnTo>
                      <a:pt x="195" y="228"/>
                    </a:lnTo>
                    <a:lnTo>
                      <a:pt x="195" y="227"/>
                    </a:lnTo>
                    <a:lnTo>
                      <a:pt x="197" y="227"/>
                    </a:lnTo>
                    <a:lnTo>
                      <a:pt x="202" y="228"/>
                    </a:lnTo>
                    <a:lnTo>
                      <a:pt x="204" y="225"/>
                    </a:lnTo>
                    <a:lnTo>
                      <a:pt x="206" y="227"/>
                    </a:lnTo>
                    <a:lnTo>
                      <a:pt x="207" y="223"/>
                    </a:lnTo>
                    <a:lnTo>
                      <a:pt x="207" y="220"/>
                    </a:lnTo>
                    <a:lnTo>
                      <a:pt x="211" y="220"/>
                    </a:lnTo>
                    <a:lnTo>
                      <a:pt x="212" y="218"/>
                    </a:lnTo>
                    <a:lnTo>
                      <a:pt x="212" y="211"/>
                    </a:lnTo>
                    <a:lnTo>
                      <a:pt x="216" y="208"/>
                    </a:lnTo>
                    <a:lnTo>
                      <a:pt x="218" y="201"/>
                    </a:lnTo>
                    <a:lnTo>
                      <a:pt x="216" y="199"/>
                    </a:lnTo>
                    <a:lnTo>
                      <a:pt x="218" y="196"/>
                    </a:lnTo>
                    <a:lnTo>
                      <a:pt x="218" y="191"/>
                    </a:lnTo>
                    <a:lnTo>
                      <a:pt x="216" y="189"/>
                    </a:lnTo>
                    <a:lnTo>
                      <a:pt x="216" y="187"/>
                    </a:lnTo>
                    <a:lnTo>
                      <a:pt x="219" y="186"/>
                    </a:lnTo>
                    <a:lnTo>
                      <a:pt x="221" y="184"/>
                    </a:lnTo>
                    <a:lnTo>
                      <a:pt x="224" y="182"/>
                    </a:lnTo>
                    <a:lnTo>
                      <a:pt x="231" y="181"/>
                    </a:lnTo>
                    <a:lnTo>
                      <a:pt x="231" y="179"/>
                    </a:lnTo>
                    <a:lnTo>
                      <a:pt x="233" y="179"/>
                    </a:lnTo>
                    <a:lnTo>
                      <a:pt x="233" y="177"/>
                    </a:lnTo>
                    <a:lnTo>
                      <a:pt x="235" y="174"/>
                    </a:lnTo>
                    <a:lnTo>
                      <a:pt x="235" y="172"/>
                    </a:lnTo>
                    <a:lnTo>
                      <a:pt x="235" y="169"/>
                    </a:lnTo>
                    <a:lnTo>
                      <a:pt x="238" y="165"/>
                    </a:lnTo>
                    <a:lnTo>
                      <a:pt x="235" y="164"/>
                    </a:lnTo>
                    <a:lnTo>
                      <a:pt x="235" y="162"/>
                    </a:lnTo>
                    <a:lnTo>
                      <a:pt x="236" y="160"/>
                    </a:lnTo>
                    <a:lnTo>
                      <a:pt x="236" y="158"/>
                    </a:lnTo>
                    <a:lnTo>
                      <a:pt x="235" y="157"/>
                    </a:lnTo>
                    <a:lnTo>
                      <a:pt x="235" y="155"/>
                    </a:lnTo>
                    <a:lnTo>
                      <a:pt x="236" y="153"/>
                    </a:lnTo>
                    <a:lnTo>
                      <a:pt x="238" y="152"/>
                    </a:lnTo>
                    <a:lnTo>
                      <a:pt x="241" y="150"/>
                    </a:lnTo>
                    <a:lnTo>
                      <a:pt x="245" y="148"/>
                    </a:lnTo>
                    <a:lnTo>
                      <a:pt x="245" y="145"/>
                    </a:lnTo>
                    <a:lnTo>
                      <a:pt x="246" y="143"/>
                    </a:lnTo>
                    <a:lnTo>
                      <a:pt x="248" y="133"/>
                    </a:lnTo>
                    <a:lnTo>
                      <a:pt x="250" y="131"/>
                    </a:lnTo>
                    <a:lnTo>
                      <a:pt x="248" y="128"/>
                    </a:lnTo>
                    <a:lnTo>
                      <a:pt x="248" y="124"/>
                    </a:lnTo>
                    <a:lnTo>
                      <a:pt x="252" y="123"/>
                    </a:lnTo>
                    <a:lnTo>
                      <a:pt x="252" y="121"/>
                    </a:lnTo>
                    <a:lnTo>
                      <a:pt x="253" y="118"/>
                    </a:lnTo>
                    <a:lnTo>
                      <a:pt x="257" y="114"/>
                    </a:lnTo>
                    <a:lnTo>
                      <a:pt x="257" y="107"/>
                    </a:lnTo>
                    <a:lnTo>
                      <a:pt x="262" y="106"/>
                    </a:lnTo>
                    <a:lnTo>
                      <a:pt x="263" y="102"/>
                    </a:lnTo>
                    <a:lnTo>
                      <a:pt x="265" y="102"/>
                    </a:lnTo>
                    <a:lnTo>
                      <a:pt x="267" y="99"/>
                    </a:lnTo>
                    <a:lnTo>
                      <a:pt x="269" y="97"/>
                    </a:lnTo>
                    <a:lnTo>
                      <a:pt x="272" y="90"/>
                    </a:lnTo>
                    <a:lnTo>
                      <a:pt x="279" y="94"/>
                    </a:lnTo>
                    <a:lnTo>
                      <a:pt x="280" y="94"/>
                    </a:lnTo>
                    <a:lnTo>
                      <a:pt x="289" y="87"/>
                    </a:lnTo>
                    <a:lnTo>
                      <a:pt x="294" y="85"/>
                    </a:lnTo>
                    <a:lnTo>
                      <a:pt x="296" y="82"/>
                    </a:lnTo>
                    <a:lnTo>
                      <a:pt x="304" y="80"/>
                    </a:lnTo>
                    <a:lnTo>
                      <a:pt x="304" y="79"/>
                    </a:lnTo>
                    <a:lnTo>
                      <a:pt x="306" y="75"/>
                    </a:lnTo>
                    <a:lnTo>
                      <a:pt x="306" y="73"/>
                    </a:lnTo>
                    <a:lnTo>
                      <a:pt x="301" y="70"/>
                    </a:lnTo>
                    <a:lnTo>
                      <a:pt x="304" y="67"/>
                    </a:lnTo>
                    <a:lnTo>
                      <a:pt x="303" y="62"/>
                    </a:lnTo>
                    <a:lnTo>
                      <a:pt x="306" y="60"/>
                    </a:lnTo>
                    <a:lnTo>
                      <a:pt x="304" y="58"/>
                    </a:lnTo>
                    <a:lnTo>
                      <a:pt x="306" y="58"/>
                    </a:lnTo>
                    <a:lnTo>
                      <a:pt x="304" y="53"/>
                    </a:lnTo>
                    <a:lnTo>
                      <a:pt x="306" y="53"/>
                    </a:lnTo>
                    <a:lnTo>
                      <a:pt x="304" y="51"/>
                    </a:lnTo>
                    <a:lnTo>
                      <a:pt x="308" y="46"/>
                    </a:lnTo>
                    <a:lnTo>
                      <a:pt x="306" y="46"/>
                    </a:lnTo>
                    <a:lnTo>
                      <a:pt x="304" y="46"/>
                    </a:lnTo>
                    <a:lnTo>
                      <a:pt x="303" y="46"/>
                    </a:lnTo>
                    <a:lnTo>
                      <a:pt x="304" y="45"/>
                    </a:lnTo>
                    <a:lnTo>
                      <a:pt x="303" y="45"/>
                    </a:lnTo>
                    <a:lnTo>
                      <a:pt x="301" y="43"/>
                    </a:lnTo>
                    <a:lnTo>
                      <a:pt x="301" y="41"/>
                    </a:lnTo>
                    <a:lnTo>
                      <a:pt x="299" y="41"/>
                    </a:lnTo>
                    <a:lnTo>
                      <a:pt x="299" y="39"/>
                    </a:lnTo>
                    <a:lnTo>
                      <a:pt x="297" y="39"/>
                    </a:lnTo>
                    <a:lnTo>
                      <a:pt x="297" y="38"/>
                    </a:lnTo>
                    <a:lnTo>
                      <a:pt x="296" y="38"/>
                    </a:lnTo>
                    <a:lnTo>
                      <a:pt x="294" y="36"/>
                    </a:lnTo>
                    <a:lnTo>
                      <a:pt x="292" y="38"/>
                    </a:lnTo>
                    <a:lnTo>
                      <a:pt x="289" y="36"/>
                    </a:lnTo>
                    <a:lnTo>
                      <a:pt x="289" y="38"/>
                    </a:lnTo>
                    <a:lnTo>
                      <a:pt x="287" y="36"/>
                    </a:lnTo>
                    <a:lnTo>
                      <a:pt x="287" y="38"/>
                    </a:lnTo>
                    <a:lnTo>
                      <a:pt x="287" y="36"/>
                    </a:lnTo>
                    <a:lnTo>
                      <a:pt x="284" y="38"/>
                    </a:lnTo>
                    <a:lnTo>
                      <a:pt x="282" y="34"/>
                    </a:lnTo>
                    <a:lnTo>
                      <a:pt x="282" y="33"/>
                    </a:lnTo>
                    <a:lnTo>
                      <a:pt x="282" y="31"/>
                    </a:lnTo>
                    <a:lnTo>
                      <a:pt x="282" y="29"/>
                    </a:lnTo>
                    <a:lnTo>
                      <a:pt x="279" y="14"/>
                    </a:lnTo>
                    <a:lnTo>
                      <a:pt x="277" y="0"/>
                    </a:lnTo>
                    <a:close/>
                    <a:moveTo>
                      <a:pt x="43" y="461"/>
                    </a:moveTo>
                    <a:lnTo>
                      <a:pt x="43" y="463"/>
                    </a:lnTo>
                    <a:lnTo>
                      <a:pt x="43" y="465"/>
                    </a:lnTo>
                    <a:lnTo>
                      <a:pt x="41" y="465"/>
                    </a:lnTo>
                    <a:lnTo>
                      <a:pt x="41" y="466"/>
                    </a:lnTo>
                    <a:lnTo>
                      <a:pt x="41" y="465"/>
                    </a:lnTo>
                    <a:lnTo>
                      <a:pt x="44" y="465"/>
                    </a:lnTo>
                    <a:lnTo>
                      <a:pt x="41" y="466"/>
                    </a:lnTo>
                    <a:lnTo>
                      <a:pt x="39" y="466"/>
                    </a:lnTo>
                    <a:lnTo>
                      <a:pt x="36" y="465"/>
                    </a:lnTo>
                    <a:lnTo>
                      <a:pt x="34" y="463"/>
                    </a:lnTo>
                    <a:lnTo>
                      <a:pt x="36" y="461"/>
                    </a:lnTo>
                    <a:lnTo>
                      <a:pt x="36" y="463"/>
                    </a:lnTo>
                    <a:lnTo>
                      <a:pt x="36" y="461"/>
                    </a:lnTo>
                    <a:lnTo>
                      <a:pt x="37" y="463"/>
                    </a:lnTo>
                    <a:lnTo>
                      <a:pt x="39" y="463"/>
                    </a:lnTo>
                    <a:lnTo>
                      <a:pt x="41" y="463"/>
                    </a:lnTo>
                    <a:lnTo>
                      <a:pt x="41" y="461"/>
                    </a:lnTo>
                    <a:lnTo>
                      <a:pt x="41" y="460"/>
                    </a:lnTo>
                    <a:lnTo>
                      <a:pt x="41" y="461"/>
                    </a:lnTo>
                    <a:lnTo>
                      <a:pt x="43" y="461"/>
                    </a:lnTo>
                    <a:close/>
                    <a:moveTo>
                      <a:pt x="53" y="468"/>
                    </a:moveTo>
                    <a:lnTo>
                      <a:pt x="54" y="470"/>
                    </a:lnTo>
                    <a:lnTo>
                      <a:pt x="54" y="473"/>
                    </a:lnTo>
                    <a:lnTo>
                      <a:pt x="53" y="473"/>
                    </a:lnTo>
                    <a:lnTo>
                      <a:pt x="51" y="473"/>
                    </a:lnTo>
                    <a:lnTo>
                      <a:pt x="49" y="471"/>
                    </a:lnTo>
                    <a:lnTo>
                      <a:pt x="51" y="468"/>
                    </a:lnTo>
                    <a:lnTo>
                      <a:pt x="53" y="468"/>
                    </a:lnTo>
                    <a:close/>
                    <a:moveTo>
                      <a:pt x="12" y="434"/>
                    </a:moveTo>
                    <a:lnTo>
                      <a:pt x="9" y="429"/>
                    </a:lnTo>
                    <a:lnTo>
                      <a:pt x="9" y="427"/>
                    </a:lnTo>
                    <a:lnTo>
                      <a:pt x="10" y="427"/>
                    </a:lnTo>
                    <a:lnTo>
                      <a:pt x="10" y="429"/>
                    </a:lnTo>
                    <a:lnTo>
                      <a:pt x="12" y="431"/>
                    </a:lnTo>
                    <a:lnTo>
                      <a:pt x="12" y="434"/>
                    </a:lnTo>
                    <a:close/>
                    <a:moveTo>
                      <a:pt x="39" y="461"/>
                    </a:moveTo>
                    <a:lnTo>
                      <a:pt x="39" y="463"/>
                    </a:lnTo>
                    <a:lnTo>
                      <a:pt x="36" y="461"/>
                    </a:lnTo>
                    <a:lnTo>
                      <a:pt x="37" y="460"/>
                    </a:lnTo>
                    <a:lnTo>
                      <a:pt x="39" y="460"/>
                    </a:lnTo>
                    <a:lnTo>
                      <a:pt x="41" y="458"/>
                    </a:lnTo>
                    <a:lnTo>
                      <a:pt x="41" y="460"/>
                    </a:lnTo>
                    <a:lnTo>
                      <a:pt x="39" y="461"/>
                    </a:lnTo>
                    <a:close/>
                    <a:moveTo>
                      <a:pt x="44" y="460"/>
                    </a:moveTo>
                    <a:lnTo>
                      <a:pt x="46" y="460"/>
                    </a:lnTo>
                    <a:lnTo>
                      <a:pt x="46" y="463"/>
                    </a:lnTo>
                    <a:lnTo>
                      <a:pt x="44" y="463"/>
                    </a:lnTo>
                    <a:lnTo>
                      <a:pt x="44" y="460"/>
                    </a:lnTo>
                    <a:close/>
                    <a:moveTo>
                      <a:pt x="53" y="483"/>
                    </a:moveTo>
                    <a:lnTo>
                      <a:pt x="51" y="483"/>
                    </a:lnTo>
                    <a:lnTo>
                      <a:pt x="53" y="482"/>
                    </a:lnTo>
                    <a:lnTo>
                      <a:pt x="56" y="482"/>
                    </a:lnTo>
                    <a:lnTo>
                      <a:pt x="53" y="483"/>
                    </a:lnTo>
                    <a:close/>
                    <a:moveTo>
                      <a:pt x="43" y="460"/>
                    </a:moveTo>
                    <a:lnTo>
                      <a:pt x="44" y="460"/>
                    </a:lnTo>
                    <a:lnTo>
                      <a:pt x="44" y="461"/>
                    </a:lnTo>
                    <a:lnTo>
                      <a:pt x="43" y="461"/>
                    </a:lnTo>
                    <a:lnTo>
                      <a:pt x="43" y="460"/>
                    </a:lnTo>
                    <a:close/>
                    <a:moveTo>
                      <a:pt x="41" y="456"/>
                    </a:moveTo>
                    <a:lnTo>
                      <a:pt x="43" y="456"/>
                    </a:lnTo>
                    <a:lnTo>
                      <a:pt x="43" y="460"/>
                    </a:lnTo>
                    <a:lnTo>
                      <a:pt x="41" y="460"/>
                    </a:lnTo>
                    <a:lnTo>
                      <a:pt x="41" y="456"/>
                    </a:lnTo>
                    <a:close/>
                    <a:moveTo>
                      <a:pt x="43" y="458"/>
                    </a:moveTo>
                    <a:lnTo>
                      <a:pt x="44" y="458"/>
                    </a:lnTo>
                    <a:lnTo>
                      <a:pt x="44" y="460"/>
                    </a:lnTo>
                    <a:lnTo>
                      <a:pt x="43" y="460"/>
                    </a:lnTo>
                    <a:lnTo>
                      <a:pt x="43" y="458"/>
                    </a:lnTo>
                    <a:close/>
                    <a:moveTo>
                      <a:pt x="41" y="456"/>
                    </a:moveTo>
                    <a:lnTo>
                      <a:pt x="43" y="456"/>
                    </a:lnTo>
                    <a:lnTo>
                      <a:pt x="43" y="460"/>
                    </a:lnTo>
                    <a:lnTo>
                      <a:pt x="41" y="460"/>
                    </a:lnTo>
                    <a:lnTo>
                      <a:pt x="41" y="456"/>
                    </a:lnTo>
                    <a:close/>
                    <a:moveTo>
                      <a:pt x="37" y="461"/>
                    </a:moveTo>
                    <a:lnTo>
                      <a:pt x="41" y="461"/>
                    </a:lnTo>
                    <a:lnTo>
                      <a:pt x="41" y="463"/>
                    </a:lnTo>
                    <a:lnTo>
                      <a:pt x="37" y="463"/>
                    </a:lnTo>
                    <a:lnTo>
                      <a:pt x="37" y="461"/>
                    </a:lnTo>
                    <a:close/>
                    <a:moveTo>
                      <a:pt x="37" y="458"/>
                    </a:moveTo>
                    <a:lnTo>
                      <a:pt x="39" y="458"/>
                    </a:lnTo>
                    <a:lnTo>
                      <a:pt x="39" y="460"/>
                    </a:lnTo>
                    <a:lnTo>
                      <a:pt x="37" y="460"/>
                    </a:lnTo>
                    <a:lnTo>
                      <a:pt x="37" y="458"/>
                    </a:lnTo>
                    <a:close/>
                    <a:moveTo>
                      <a:pt x="41" y="460"/>
                    </a:moveTo>
                    <a:lnTo>
                      <a:pt x="43" y="460"/>
                    </a:lnTo>
                    <a:lnTo>
                      <a:pt x="43" y="461"/>
                    </a:lnTo>
                    <a:lnTo>
                      <a:pt x="41" y="461"/>
                    </a:lnTo>
                    <a:lnTo>
                      <a:pt x="41" y="460"/>
                    </a:lnTo>
                    <a:close/>
                    <a:moveTo>
                      <a:pt x="17" y="431"/>
                    </a:moveTo>
                    <a:lnTo>
                      <a:pt x="17" y="432"/>
                    </a:lnTo>
                    <a:lnTo>
                      <a:pt x="17" y="431"/>
                    </a:lnTo>
                    <a:close/>
                    <a:moveTo>
                      <a:pt x="44" y="454"/>
                    </a:moveTo>
                    <a:lnTo>
                      <a:pt x="44" y="456"/>
                    </a:lnTo>
                    <a:lnTo>
                      <a:pt x="44" y="454"/>
                    </a:lnTo>
                    <a:close/>
                    <a:moveTo>
                      <a:pt x="54" y="482"/>
                    </a:moveTo>
                    <a:lnTo>
                      <a:pt x="56" y="482"/>
                    </a:lnTo>
                    <a:lnTo>
                      <a:pt x="56" y="483"/>
                    </a:lnTo>
                    <a:lnTo>
                      <a:pt x="54" y="483"/>
                    </a:lnTo>
                    <a:lnTo>
                      <a:pt x="54" y="482"/>
                    </a:lnTo>
                    <a:close/>
                    <a:moveTo>
                      <a:pt x="56" y="482"/>
                    </a:moveTo>
                    <a:lnTo>
                      <a:pt x="58" y="482"/>
                    </a:lnTo>
                    <a:lnTo>
                      <a:pt x="56" y="48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7" name="Freeform 17">
                <a:extLst>
                  <a:ext uri="{FF2B5EF4-FFF2-40B4-BE49-F238E27FC236}">
                    <a16:creationId xmlns:a16="http://schemas.microsoft.com/office/drawing/2014/main" id="{9D4539A0-EF1C-4775-8A05-3365042ECAE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260825" y="3065337"/>
                <a:ext cx="15875" cy="26987"/>
              </a:xfrm>
              <a:custGeom>
                <a:avLst/>
                <a:gdLst>
                  <a:gd name="T0" fmla="*/ 7 w 10"/>
                  <a:gd name="T1" fmla="*/ 13 h 17"/>
                  <a:gd name="T2" fmla="*/ 7 w 10"/>
                  <a:gd name="T3" fmla="*/ 17 h 17"/>
                  <a:gd name="T4" fmla="*/ 2 w 10"/>
                  <a:gd name="T5" fmla="*/ 13 h 17"/>
                  <a:gd name="T6" fmla="*/ 2 w 10"/>
                  <a:gd name="T7" fmla="*/ 13 h 17"/>
                  <a:gd name="T8" fmla="*/ 3 w 10"/>
                  <a:gd name="T9" fmla="*/ 10 h 17"/>
                  <a:gd name="T10" fmla="*/ 10 w 10"/>
                  <a:gd name="T11" fmla="*/ 17 h 17"/>
                  <a:gd name="T12" fmla="*/ 2 w 10"/>
                  <a:gd name="T13" fmla="*/ 17 h 17"/>
                  <a:gd name="T14" fmla="*/ 7 w 10"/>
                  <a:gd name="T15" fmla="*/ 17 h 17"/>
                  <a:gd name="T16" fmla="*/ 8 w 10"/>
                  <a:gd name="T17" fmla="*/ 15 h 17"/>
                  <a:gd name="T18" fmla="*/ 3 w 10"/>
                  <a:gd name="T19" fmla="*/ 1 h 17"/>
                  <a:gd name="T20" fmla="*/ 7 w 10"/>
                  <a:gd name="T21" fmla="*/ 3 h 17"/>
                  <a:gd name="T22" fmla="*/ 2 w 10"/>
                  <a:gd name="T23" fmla="*/ 3 h 17"/>
                  <a:gd name="T24" fmla="*/ 5 w 10"/>
                  <a:gd name="T25" fmla="*/ 7 h 17"/>
                  <a:gd name="T26" fmla="*/ 7 w 10"/>
                  <a:gd name="T27" fmla="*/ 7 h 17"/>
                  <a:gd name="T28" fmla="*/ 5 w 10"/>
                  <a:gd name="T29" fmla="*/ 10 h 17"/>
                  <a:gd name="T30" fmla="*/ 3 w 10"/>
                  <a:gd name="T31" fmla="*/ 8 h 17"/>
                  <a:gd name="T32" fmla="*/ 3 w 10"/>
                  <a:gd name="T33" fmla="*/ 7 h 17"/>
                  <a:gd name="T34" fmla="*/ 5 w 10"/>
                  <a:gd name="T35" fmla="*/ 5 h 17"/>
                  <a:gd name="T36" fmla="*/ 2 w 10"/>
                  <a:gd name="T37" fmla="*/ 13 h 17"/>
                  <a:gd name="T38" fmla="*/ 0 w 10"/>
                  <a:gd name="T39" fmla="*/ 17 h 17"/>
                  <a:gd name="T40" fmla="*/ 2 w 10"/>
                  <a:gd name="T41" fmla="*/ 12 h 17"/>
                  <a:gd name="T42" fmla="*/ 7 w 10"/>
                  <a:gd name="T43" fmla="*/ 10 h 17"/>
                  <a:gd name="T44" fmla="*/ 7 w 10"/>
                  <a:gd name="T45" fmla="*/ 13 h 17"/>
                  <a:gd name="T46" fmla="*/ 5 w 10"/>
                  <a:gd name="T47" fmla="*/ 10 h 17"/>
                  <a:gd name="T48" fmla="*/ 7 w 10"/>
                  <a:gd name="T49" fmla="*/ 10 h 17"/>
                  <a:gd name="T50" fmla="*/ 3 w 10"/>
                  <a:gd name="T51" fmla="*/ 10 h 17"/>
                  <a:gd name="T52" fmla="*/ 0 w 10"/>
                  <a:gd name="T53" fmla="*/ 8 h 17"/>
                  <a:gd name="T54" fmla="*/ 2 w 10"/>
                  <a:gd name="T55" fmla="*/ 10 h 17"/>
                  <a:gd name="T56" fmla="*/ 3 w 10"/>
                  <a:gd name="T57" fmla="*/ 7 h 17"/>
                  <a:gd name="T58" fmla="*/ 2 w 10"/>
                  <a:gd name="T59" fmla="*/ 10 h 17"/>
                  <a:gd name="T60" fmla="*/ 2 w 10"/>
                  <a:gd name="T61" fmla="*/ 10 h 17"/>
                  <a:gd name="T62" fmla="*/ 3 w 10"/>
                  <a:gd name="T63" fmla="*/ 12 h 17"/>
                  <a:gd name="T64" fmla="*/ 2 w 10"/>
                  <a:gd name="T65" fmla="*/ 10 h 17"/>
                  <a:gd name="T66" fmla="*/ 7 w 10"/>
                  <a:gd name="T67" fmla="*/ 3 h 17"/>
                  <a:gd name="T68" fmla="*/ 5 w 10"/>
                  <a:gd name="T69" fmla="*/ 7 h 17"/>
                  <a:gd name="T70" fmla="*/ 2 w 10"/>
                  <a:gd name="T71" fmla="*/ 5 h 17"/>
                  <a:gd name="T72" fmla="*/ 3 w 10"/>
                  <a:gd name="T73" fmla="*/ 7 h 17"/>
                  <a:gd name="T74" fmla="*/ 2 w 10"/>
                  <a:gd name="T75" fmla="*/ 5 h 17"/>
                  <a:gd name="T76" fmla="*/ 2 w 10"/>
                  <a:gd name="T77" fmla="*/ 5 h 17"/>
                  <a:gd name="T78" fmla="*/ 0 w 10"/>
                  <a:gd name="T79" fmla="*/ 7 h 17"/>
                  <a:gd name="T80" fmla="*/ 2 w 10"/>
                  <a:gd name="T81" fmla="*/ 8 h 17"/>
                  <a:gd name="T82" fmla="*/ 0 w 10"/>
                  <a:gd name="T83" fmla="*/ 7 h 17"/>
                  <a:gd name="T84" fmla="*/ 3 w 10"/>
                  <a:gd name="T85" fmla="*/ 1 h 17"/>
                  <a:gd name="T86" fmla="*/ 2 w 10"/>
                  <a:gd name="T87" fmla="*/ 3 h 17"/>
                  <a:gd name="T88" fmla="*/ 2 w 10"/>
                  <a:gd name="T89" fmla="*/ 0 h 17"/>
                  <a:gd name="T90" fmla="*/ 3 w 10"/>
                  <a:gd name="T91" fmla="*/ 1 h 17"/>
                  <a:gd name="T92" fmla="*/ 2 w 10"/>
                  <a:gd name="T93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0" h="17">
                    <a:moveTo>
                      <a:pt x="5" y="10"/>
                    </a:moveTo>
                    <a:lnTo>
                      <a:pt x="7" y="13"/>
                    </a:lnTo>
                    <a:lnTo>
                      <a:pt x="7" y="15"/>
                    </a:lnTo>
                    <a:lnTo>
                      <a:pt x="7" y="17"/>
                    </a:lnTo>
                    <a:lnTo>
                      <a:pt x="3" y="17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2" y="13"/>
                    </a:lnTo>
                    <a:lnTo>
                      <a:pt x="3" y="12"/>
                    </a:lnTo>
                    <a:lnTo>
                      <a:pt x="3" y="10"/>
                    </a:lnTo>
                    <a:lnTo>
                      <a:pt x="5" y="10"/>
                    </a:lnTo>
                    <a:close/>
                    <a:moveTo>
                      <a:pt x="10" y="17"/>
                    </a:moveTo>
                    <a:lnTo>
                      <a:pt x="8" y="17"/>
                    </a:lnTo>
                    <a:lnTo>
                      <a:pt x="2" y="17"/>
                    </a:lnTo>
                    <a:lnTo>
                      <a:pt x="3" y="17"/>
                    </a:lnTo>
                    <a:lnTo>
                      <a:pt x="7" y="17"/>
                    </a:lnTo>
                    <a:lnTo>
                      <a:pt x="7" y="15"/>
                    </a:lnTo>
                    <a:lnTo>
                      <a:pt x="8" y="15"/>
                    </a:lnTo>
                    <a:lnTo>
                      <a:pt x="10" y="17"/>
                    </a:lnTo>
                    <a:close/>
                    <a:moveTo>
                      <a:pt x="3" y="1"/>
                    </a:moveTo>
                    <a:lnTo>
                      <a:pt x="5" y="0"/>
                    </a:lnTo>
                    <a:lnTo>
                      <a:pt x="7" y="3"/>
                    </a:lnTo>
                    <a:lnTo>
                      <a:pt x="3" y="5"/>
                    </a:lnTo>
                    <a:lnTo>
                      <a:pt x="2" y="3"/>
                    </a:lnTo>
                    <a:lnTo>
                      <a:pt x="3" y="1"/>
                    </a:lnTo>
                    <a:close/>
                    <a:moveTo>
                      <a:pt x="5" y="7"/>
                    </a:moveTo>
                    <a:lnTo>
                      <a:pt x="5" y="5"/>
                    </a:lnTo>
                    <a:lnTo>
                      <a:pt x="7" y="7"/>
                    </a:lnTo>
                    <a:lnTo>
                      <a:pt x="5" y="8"/>
                    </a:lnTo>
                    <a:lnTo>
                      <a:pt x="5" y="10"/>
                    </a:lnTo>
                    <a:lnTo>
                      <a:pt x="3" y="10"/>
                    </a:lnTo>
                    <a:lnTo>
                      <a:pt x="3" y="8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3" y="5"/>
                    </a:lnTo>
                    <a:lnTo>
                      <a:pt x="5" y="5"/>
                    </a:lnTo>
                    <a:lnTo>
                      <a:pt x="5" y="7"/>
                    </a:lnTo>
                    <a:close/>
                    <a:moveTo>
                      <a:pt x="2" y="13"/>
                    </a:moveTo>
                    <a:lnTo>
                      <a:pt x="3" y="15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2" y="12"/>
                    </a:lnTo>
                    <a:lnTo>
                      <a:pt x="2" y="13"/>
                    </a:lnTo>
                    <a:close/>
                    <a:moveTo>
                      <a:pt x="7" y="10"/>
                    </a:moveTo>
                    <a:lnTo>
                      <a:pt x="8" y="15"/>
                    </a:lnTo>
                    <a:lnTo>
                      <a:pt x="7" y="13"/>
                    </a:lnTo>
                    <a:lnTo>
                      <a:pt x="7" y="12"/>
                    </a:lnTo>
                    <a:lnTo>
                      <a:pt x="5" y="10"/>
                    </a:lnTo>
                    <a:lnTo>
                      <a:pt x="7" y="7"/>
                    </a:lnTo>
                    <a:lnTo>
                      <a:pt x="7" y="10"/>
                    </a:lnTo>
                    <a:close/>
                    <a:moveTo>
                      <a:pt x="2" y="10"/>
                    </a:moveTo>
                    <a:lnTo>
                      <a:pt x="3" y="10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10"/>
                    </a:lnTo>
                    <a:close/>
                    <a:moveTo>
                      <a:pt x="2" y="7"/>
                    </a:moveTo>
                    <a:lnTo>
                      <a:pt x="3" y="7"/>
                    </a:lnTo>
                    <a:lnTo>
                      <a:pt x="3" y="10"/>
                    </a:lnTo>
                    <a:lnTo>
                      <a:pt x="2" y="10"/>
                    </a:lnTo>
                    <a:lnTo>
                      <a:pt x="2" y="7"/>
                    </a:lnTo>
                    <a:close/>
                    <a:moveTo>
                      <a:pt x="2" y="10"/>
                    </a:moveTo>
                    <a:lnTo>
                      <a:pt x="3" y="10"/>
                    </a:lnTo>
                    <a:lnTo>
                      <a:pt x="3" y="12"/>
                    </a:lnTo>
                    <a:lnTo>
                      <a:pt x="2" y="12"/>
                    </a:lnTo>
                    <a:lnTo>
                      <a:pt x="2" y="10"/>
                    </a:lnTo>
                    <a:close/>
                    <a:moveTo>
                      <a:pt x="5" y="3"/>
                    </a:moveTo>
                    <a:lnTo>
                      <a:pt x="7" y="3"/>
                    </a:lnTo>
                    <a:lnTo>
                      <a:pt x="7" y="7"/>
                    </a:lnTo>
                    <a:lnTo>
                      <a:pt x="5" y="7"/>
                    </a:lnTo>
                    <a:lnTo>
                      <a:pt x="5" y="3"/>
                    </a:lnTo>
                    <a:close/>
                    <a:moveTo>
                      <a:pt x="2" y="5"/>
                    </a:moveTo>
                    <a:lnTo>
                      <a:pt x="3" y="5"/>
                    </a:lnTo>
                    <a:lnTo>
                      <a:pt x="3" y="7"/>
                    </a:lnTo>
                    <a:lnTo>
                      <a:pt x="2" y="7"/>
                    </a:lnTo>
                    <a:lnTo>
                      <a:pt x="2" y="5"/>
                    </a:lnTo>
                    <a:close/>
                    <a:moveTo>
                      <a:pt x="2" y="3"/>
                    </a:moveTo>
                    <a:lnTo>
                      <a:pt x="2" y="5"/>
                    </a:lnTo>
                    <a:lnTo>
                      <a:pt x="2" y="3"/>
                    </a:lnTo>
                    <a:close/>
                    <a:moveTo>
                      <a:pt x="0" y="7"/>
                    </a:moveTo>
                    <a:lnTo>
                      <a:pt x="2" y="7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7"/>
                    </a:lnTo>
                    <a:close/>
                    <a:moveTo>
                      <a:pt x="2" y="1"/>
                    </a:moveTo>
                    <a:lnTo>
                      <a:pt x="3" y="1"/>
                    </a:lnTo>
                    <a:lnTo>
                      <a:pt x="3" y="3"/>
                    </a:lnTo>
                    <a:lnTo>
                      <a:pt x="2" y="3"/>
                    </a:lnTo>
                    <a:lnTo>
                      <a:pt x="2" y="1"/>
                    </a:lnTo>
                    <a:close/>
                    <a:moveTo>
                      <a:pt x="2" y="0"/>
                    </a:moveTo>
                    <a:lnTo>
                      <a:pt x="3" y="0"/>
                    </a:lnTo>
                    <a:lnTo>
                      <a:pt x="3" y="1"/>
                    </a:lnTo>
                    <a:lnTo>
                      <a:pt x="2" y="1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8" name="Freeform 18">
                <a:extLst>
                  <a:ext uri="{FF2B5EF4-FFF2-40B4-BE49-F238E27FC236}">
                    <a16:creationId xmlns:a16="http://schemas.microsoft.com/office/drawing/2014/main" id="{1AEA3446-7129-4CD4-B085-CBBFF9393E8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35474" y="2568469"/>
                <a:ext cx="1047720" cy="706409"/>
              </a:xfrm>
              <a:custGeom>
                <a:avLst/>
                <a:gdLst>
                  <a:gd name="T0" fmla="*/ 466 w 660"/>
                  <a:gd name="T1" fmla="*/ 76 h 445"/>
                  <a:gd name="T2" fmla="*/ 459 w 660"/>
                  <a:gd name="T3" fmla="*/ 97 h 445"/>
                  <a:gd name="T4" fmla="*/ 466 w 660"/>
                  <a:gd name="T5" fmla="*/ 114 h 445"/>
                  <a:gd name="T6" fmla="*/ 498 w 660"/>
                  <a:gd name="T7" fmla="*/ 117 h 445"/>
                  <a:gd name="T8" fmla="*/ 522 w 660"/>
                  <a:gd name="T9" fmla="*/ 141 h 445"/>
                  <a:gd name="T10" fmla="*/ 551 w 660"/>
                  <a:gd name="T11" fmla="*/ 166 h 445"/>
                  <a:gd name="T12" fmla="*/ 563 w 660"/>
                  <a:gd name="T13" fmla="*/ 189 h 445"/>
                  <a:gd name="T14" fmla="*/ 583 w 660"/>
                  <a:gd name="T15" fmla="*/ 200 h 445"/>
                  <a:gd name="T16" fmla="*/ 605 w 660"/>
                  <a:gd name="T17" fmla="*/ 219 h 445"/>
                  <a:gd name="T18" fmla="*/ 614 w 660"/>
                  <a:gd name="T19" fmla="*/ 241 h 445"/>
                  <a:gd name="T20" fmla="*/ 638 w 660"/>
                  <a:gd name="T21" fmla="*/ 262 h 445"/>
                  <a:gd name="T22" fmla="*/ 649 w 660"/>
                  <a:gd name="T23" fmla="*/ 287 h 445"/>
                  <a:gd name="T24" fmla="*/ 631 w 660"/>
                  <a:gd name="T25" fmla="*/ 303 h 445"/>
                  <a:gd name="T26" fmla="*/ 614 w 660"/>
                  <a:gd name="T27" fmla="*/ 303 h 445"/>
                  <a:gd name="T28" fmla="*/ 604 w 660"/>
                  <a:gd name="T29" fmla="*/ 297 h 445"/>
                  <a:gd name="T30" fmla="*/ 593 w 660"/>
                  <a:gd name="T31" fmla="*/ 291 h 445"/>
                  <a:gd name="T32" fmla="*/ 581 w 660"/>
                  <a:gd name="T33" fmla="*/ 294 h 445"/>
                  <a:gd name="T34" fmla="*/ 568 w 660"/>
                  <a:gd name="T35" fmla="*/ 287 h 445"/>
                  <a:gd name="T36" fmla="*/ 558 w 660"/>
                  <a:gd name="T37" fmla="*/ 289 h 445"/>
                  <a:gd name="T38" fmla="*/ 546 w 660"/>
                  <a:gd name="T39" fmla="*/ 304 h 445"/>
                  <a:gd name="T40" fmla="*/ 524 w 660"/>
                  <a:gd name="T41" fmla="*/ 309 h 445"/>
                  <a:gd name="T42" fmla="*/ 505 w 660"/>
                  <a:gd name="T43" fmla="*/ 299 h 445"/>
                  <a:gd name="T44" fmla="*/ 491 w 660"/>
                  <a:gd name="T45" fmla="*/ 308 h 445"/>
                  <a:gd name="T46" fmla="*/ 459 w 660"/>
                  <a:gd name="T47" fmla="*/ 321 h 445"/>
                  <a:gd name="T48" fmla="*/ 434 w 660"/>
                  <a:gd name="T49" fmla="*/ 313 h 445"/>
                  <a:gd name="T50" fmla="*/ 417 w 660"/>
                  <a:gd name="T51" fmla="*/ 330 h 445"/>
                  <a:gd name="T52" fmla="*/ 386 w 660"/>
                  <a:gd name="T53" fmla="*/ 343 h 445"/>
                  <a:gd name="T54" fmla="*/ 343 w 660"/>
                  <a:gd name="T55" fmla="*/ 340 h 445"/>
                  <a:gd name="T56" fmla="*/ 303 w 660"/>
                  <a:gd name="T57" fmla="*/ 320 h 445"/>
                  <a:gd name="T58" fmla="*/ 260 w 660"/>
                  <a:gd name="T59" fmla="*/ 297 h 445"/>
                  <a:gd name="T60" fmla="*/ 223 w 660"/>
                  <a:gd name="T61" fmla="*/ 325 h 445"/>
                  <a:gd name="T62" fmla="*/ 213 w 660"/>
                  <a:gd name="T63" fmla="*/ 379 h 445"/>
                  <a:gd name="T64" fmla="*/ 189 w 660"/>
                  <a:gd name="T65" fmla="*/ 377 h 445"/>
                  <a:gd name="T66" fmla="*/ 151 w 660"/>
                  <a:gd name="T67" fmla="*/ 372 h 445"/>
                  <a:gd name="T68" fmla="*/ 105 w 660"/>
                  <a:gd name="T69" fmla="*/ 400 h 445"/>
                  <a:gd name="T70" fmla="*/ 85 w 660"/>
                  <a:gd name="T71" fmla="*/ 432 h 445"/>
                  <a:gd name="T72" fmla="*/ 75 w 660"/>
                  <a:gd name="T73" fmla="*/ 400 h 445"/>
                  <a:gd name="T74" fmla="*/ 34 w 660"/>
                  <a:gd name="T75" fmla="*/ 348 h 445"/>
                  <a:gd name="T76" fmla="*/ 14 w 660"/>
                  <a:gd name="T77" fmla="*/ 313 h 445"/>
                  <a:gd name="T78" fmla="*/ 9 w 660"/>
                  <a:gd name="T79" fmla="*/ 280 h 445"/>
                  <a:gd name="T80" fmla="*/ 17 w 660"/>
                  <a:gd name="T81" fmla="*/ 240 h 445"/>
                  <a:gd name="T82" fmla="*/ 41 w 660"/>
                  <a:gd name="T83" fmla="*/ 192 h 445"/>
                  <a:gd name="T84" fmla="*/ 92 w 660"/>
                  <a:gd name="T85" fmla="*/ 172 h 445"/>
                  <a:gd name="T86" fmla="*/ 114 w 660"/>
                  <a:gd name="T87" fmla="*/ 168 h 445"/>
                  <a:gd name="T88" fmla="*/ 133 w 660"/>
                  <a:gd name="T89" fmla="*/ 170 h 445"/>
                  <a:gd name="T90" fmla="*/ 148 w 660"/>
                  <a:gd name="T91" fmla="*/ 161 h 445"/>
                  <a:gd name="T92" fmla="*/ 162 w 660"/>
                  <a:gd name="T93" fmla="*/ 156 h 445"/>
                  <a:gd name="T94" fmla="*/ 221 w 660"/>
                  <a:gd name="T95" fmla="*/ 139 h 445"/>
                  <a:gd name="T96" fmla="*/ 235 w 660"/>
                  <a:gd name="T97" fmla="*/ 115 h 445"/>
                  <a:gd name="T98" fmla="*/ 231 w 660"/>
                  <a:gd name="T99" fmla="*/ 104 h 445"/>
                  <a:gd name="T100" fmla="*/ 250 w 660"/>
                  <a:gd name="T101" fmla="*/ 100 h 445"/>
                  <a:gd name="T102" fmla="*/ 272 w 660"/>
                  <a:gd name="T103" fmla="*/ 98 h 445"/>
                  <a:gd name="T104" fmla="*/ 289 w 660"/>
                  <a:gd name="T105" fmla="*/ 95 h 445"/>
                  <a:gd name="T106" fmla="*/ 308 w 660"/>
                  <a:gd name="T107" fmla="*/ 87 h 445"/>
                  <a:gd name="T108" fmla="*/ 326 w 660"/>
                  <a:gd name="T109" fmla="*/ 76 h 445"/>
                  <a:gd name="T110" fmla="*/ 333 w 660"/>
                  <a:gd name="T111" fmla="*/ 68 h 445"/>
                  <a:gd name="T112" fmla="*/ 347 w 660"/>
                  <a:gd name="T113" fmla="*/ 51 h 445"/>
                  <a:gd name="T114" fmla="*/ 357 w 660"/>
                  <a:gd name="T115" fmla="*/ 44 h 445"/>
                  <a:gd name="T116" fmla="*/ 371 w 660"/>
                  <a:gd name="T117" fmla="*/ 32 h 445"/>
                  <a:gd name="T118" fmla="*/ 374 w 660"/>
                  <a:gd name="T119" fmla="*/ 12 h 445"/>
                  <a:gd name="T120" fmla="*/ 388 w 660"/>
                  <a:gd name="T121" fmla="*/ 5 h 445"/>
                  <a:gd name="T122" fmla="*/ 422 w 660"/>
                  <a:gd name="T123" fmla="*/ 1 h 4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60" h="445">
                    <a:moveTo>
                      <a:pt x="428" y="3"/>
                    </a:moveTo>
                    <a:lnTo>
                      <a:pt x="432" y="7"/>
                    </a:lnTo>
                    <a:lnTo>
                      <a:pt x="435" y="15"/>
                    </a:lnTo>
                    <a:lnTo>
                      <a:pt x="442" y="18"/>
                    </a:lnTo>
                    <a:lnTo>
                      <a:pt x="444" y="22"/>
                    </a:lnTo>
                    <a:lnTo>
                      <a:pt x="449" y="27"/>
                    </a:lnTo>
                    <a:lnTo>
                      <a:pt x="451" y="27"/>
                    </a:lnTo>
                    <a:lnTo>
                      <a:pt x="457" y="39"/>
                    </a:lnTo>
                    <a:lnTo>
                      <a:pt x="469" y="56"/>
                    </a:lnTo>
                    <a:lnTo>
                      <a:pt x="469" y="68"/>
                    </a:lnTo>
                    <a:lnTo>
                      <a:pt x="466" y="73"/>
                    </a:lnTo>
                    <a:lnTo>
                      <a:pt x="468" y="75"/>
                    </a:lnTo>
                    <a:lnTo>
                      <a:pt x="466" y="76"/>
                    </a:lnTo>
                    <a:lnTo>
                      <a:pt x="468" y="80"/>
                    </a:lnTo>
                    <a:lnTo>
                      <a:pt x="469" y="78"/>
                    </a:lnTo>
                    <a:lnTo>
                      <a:pt x="469" y="80"/>
                    </a:lnTo>
                    <a:lnTo>
                      <a:pt x="468" y="83"/>
                    </a:lnTo>
                    <a:lnTo>
                      <a:pt x="466" y="85"/>
                    </a:lnTo>
                    <a:lnTo>
                      <a:pt x="468" y="87"/>
                    </a:lnTo>
                    <a:lnTo>
                      <a:pt x="468" y="88"/>
                    </a:lnTo>
                    <a:lnTo>
                      <a:pt x="466" y="88"/>
                    </a:lnTo>
                    <a:lnTo>
                      <a:pt x="466" y="90"/>
                    </a:lnTo>
                    <a:lnTo>
                      <a:pt x="462" y="92"/>
                    </a:lnTo>
                    <a:lnTo>
                      <a:pt x="459" y="92"/>
                    </a:lnTo>
                    <a:lnTo>
                      <a:pt x="459" y="95"/>
                    </a:lnTo>
                    <a:lnTo>
                      <a:pt x="459" y="97"/>
                    </a:lnTo>
                    <a:lnTo>
                      <a:pt x="457" y="100"/>
                    </a:lnTo>
                    <a:lnTo>
                      <a:pt x="457" y="102"/>
                    </a:lnTo>
                    <a:lnTo>
                      <a:pt x="461" y="104"/>
                    </a:lnTo>
                    <a:lnTo>
                      <a:pt x="462" y="100"/>
                    </a:lnTo>
                    <a:lnTo>
                      <a:pt x="464" y="100"/>
                    </a:lnTo>
                    <a:lnTo>
                      <a:pt x="464" y="102"/>
                    </a:lnTo>
                    <a:lnTo>
                      <a:pt x="464" y="109"/>
                    </a:lnTo>
                    <a:lnTo>
                      <a:pt x="461" y="110"/>
                    </a:lnTo>
                    <a:lnTo>
                      <a:pt x="461" y="114"/>
                    </a:lnTo>
                    <a:lnTo>
                      <a:pt x="461" y="115"/>
                    </a:lnTo>
                    <a:lnTo>
                      <a:pt x="462" y="115"/>
                    </a:lnTo>
                    <a:lnTo>
                      <a:pt x="464" y="114"/>
                    </a:lnTo>
                    <a:lnTo>
                      <a:pt x="466" y="114"/>
                    </a:lnTo>
                    <a:lnTo>
                      <a:pt x="468" y="115"/>
                    </a:lnTo>
                    <a:lnTo>
                      <a:pt x="473" y="115"/>
                    </a:lnTo>
                    <a:lnTo>
                      <a:pt x="474" y="117"/>
                    </a:lnTo>
                    <a:lnTo>
                      <a:pt x="478" y="115"/>
                    </a:lnTo>
                    <a:lnTo>
                      <a:pt x="479" y="115"/>
                    </a:lnTo>
                    <a:lnTo>
                      <a:pt x="483" y="115"/>
                    </a:lnTo>
                    <a:lnTo>
                      <a:pt x="485" y="117"/>
                    </a:lnTo>
                    <a:lnTo>
                      <a:pt x="486" y="115"/>
                    </a:lnTo>
                    <a:lnTo>
                      <a:pt x="491" y="117"/>
                    </a:lnTo>
                    <a:lnTo>
                      <a:pt x="493" y="117"/>
                    </a:lnTo>
                    <a:lnTo>
                      <a:pt x="495" y="117"/>
                    </a:lnTo>
                    <a:lnTo>
                      <a:pt x="496" y="117"/>
                    </a:lnTo>
                    <a:lnTo>
                      <a:pt x="498" y="117"/>
                    </a:lnTo>
                    <a:lnTo>
                      <a:pt x="496" y="121"/>
                    </a:lnTo>
                    <a:lnTo>
                      <a:pt x="498" y="122"/>
                    </a:lnTo>
                    <a:lnTo>
                      <a:pt x="495" y="127"/>
                    </a:lnTo>
                    <a:lnTo>
                      <a:pt x="493" y="131"/>
                    </a:lnTo>
                    <a:lnTo>
                      <a:pt x="493" y="132"/>
                    </a:lnTo>
                    <a:lnTo>
                      <a:pt x="495" y="136"/>
                    </a:lnTo>
                    <a:lnTo>
                      <a:pt x="496" y="138"/>
                    </a:lnTo>
                    <a:lnTo>
                      <a:pt x="503" y="139"/>
                    </a:lnTo>
                    <a:lnTo>
                      <a:pt x="507" y="138"/>
                    </a:lnTo>
                    <a:lnTo>
                      <a:pt x="508" y="138"/>
                    </a:lnTo>
                    <a:lnTo>
                      <a:pt x="512" y="141"/>
                    </a:lnTo>
                    <a:lnTo>
                      <a:pt x="519" y="141"/>
                    </a:lnTo>
                    <a:lnTo>
                      <a:pt x="522" y="141"/>
                    </a:lnTo>
                    <a:lnTo>
                      <a:pt x="524" y="143"/>
                    </a:lnTo>
                    <a:lnTo>
                      <a:pt x="525" y="143"/>
                    </a:lnTo>
                    <a:lnTo>
                      <a:pt x="529" y="143"/>
                    </a:lnTo>
                    <a:lnTo>
                      <a:pt x="530" y="146"/>
                    </a:lnTo>
                    <a:lnTo>
                      <a:pt x="530" y="149"/>
                    </a:lnTo>
                    <a:lnTo>
                      <a:pt x="534" y="153"/>
                    </a:lnTo>
                    <a:lnTo>
                      <a:pt x="541" y="158"/>
                    </a:lnTo>
                    <a:lnTo>
                      <a:pt x="544" y="158"/>
                    </a:lnTo>
                    <a:lnTo>
                      <a:pt x="547" y="160"/>
                    </a:lnTo>
                    <a:lnTo>
                      <a:pt x="549" y="163"/>
                    </a:lnTo>
                    <a:lnTo>
                      <a:pt x="551" y="163"/>
                    </a:lnTo>
                    <a:lnTo>
                      <a:pt x="551" y="165"/>
                    </a:lnTo>
                    <a:lnTo>
                      <a:pt x="551" y="166"/>
                    </a:lnTo>
                    <a:lnTo>
                      <a:pt x="551" y="168"/>
                    </a:lnTo>
                    <a:lnTo>
                      <a:pt x="551" y="170"/>
                    </a:lnTo>
                    <a:lnTo>
                      <a:pt x="547" y="172"/>
                    </a:lnTo>
                    <a:lnTo>
                      <a:pt x="544" y="173"/>
                    </a:lnTo>
                    <a:lnTo>
                      <a:pt x="546" y="175"/>
                    </a:lnTo>
                    <a:lnTo>
                      <a:pt x="546" y="178"/>
                    </a:lnTo>
                    <a:lnTo>
                      <a:pt x="553" y="182"/>
                    </a:lnTo>
                    <a:lnTo>
                      <a:pt x="554" y="185"/>
                    </a:lnTo>
                    <a:lnTo>
                      <a:pt x="556" y="187"/>
                    </a:lnTo>
                    <a:lnTo>
                      <a:pt x="556" y="185"/>
                    </a:lnTo>
                    <a:lnTo>
                      <a:pt x="559" y="187"/>
                    </a:lnTo>
                    <a:lnTo>
                      <a:pt x="559" y="189"/>
                    </a:lnTo>
                    <a:lnTo>
                      <a:pt x="563" y="189"/>
                    </a:lnTo>
                    <a:lnTo>
                      <a:pt x="563" y="190"/>
                    </a:lnTo>
                    <a:lnTo>
                      <a:pt x="564" y="190"/>
                    </a:lnTo>
                    <a:lnTo>
                      <a:pt x="564" y="192"/>
                    </a:lnTo>
                    <a:lnTo>
                      <a:pt x="566" y="190"/>
                    </a:lnTo>
                    <a:lnTo>
                      <a:pt x="566" y="192"/>
                    </a:lnTo>
                    <a:lnTo>
                      <a:pt x="571" y="194"/>
                    </a:lnTo>
                    <a:lnTo>
                      <a:pt x="573" y="194"/>
                    </a:lnTo>
                    <a:lnTo>
                      <a:pt x="573" y="195"/>
                    </a:lnTo>
                    <a:lnTo>
                      <a:pt x="576" y="195"/>
                    </a:lnTo>
                    <a:lnTo>
                      <a:pt x="576" y="197"/>
                    </a:lnTo>
                    <a:lnTo>
                      <a:pt x="581" y="197"/>
                    </a:lnTo>
                    <a:lnTo>
                      <a:pt x="581" y="199"/>
                    </a:lnTo>
                    <a:lnTo>
                      <a:pt x="583" y="200"/>
                    </a:lnTo>
                    <a:lnTo>
                      <a:pt x="585" y="200"/>
                    </a:lnTo>
                    <a:lnTo>
                      <a:pt x="587" y="202"/>
                    </a:lnTo>
                    <a:lnTo>
                      <a:pt x="588" y="202"/>
                    </a:lnTo>
                    <a:lnTo>
                      <a:pt x="590" y="206"/>
                    </a:lnTo>
                    <a:lnTo>
                      <a:pt x="588" y="207"/>
                    </a:lnTo>
                    <a:lnTo>
                      <a:pt x="590" y="207"/>
                    </a:lnTo>
                    <a:lnTo>
                      <a:pt x="592" y="207"/>
                    </a:lnTo>
                    <a:lnTo>
                      <a:pt x="592" y="211"/>
                    </a:lnTo>
                    <a:lnTo>
                      <a:pt x="595" y="212"/>
                    </a:lnTo>
                    <a:lnTo>
                      <a:pt x="597" y="216"/>
                    </a:lnTo>
                    <a:lnTo>
                      <a:pt x="598" y="216"/>
                    </a:lnTo>
                    <a:lnTo>
                      <a:pt x="600" y="217"/>
                    </a:lnTo>
                    <a:lnTo>
                      <a:pt x="605" y="219"/>
                    </a:lnTo>
                    <a:lnTo>
                      <a:pt x="607" y="221"/>
                    </a:lnTo>
                    <a:lnTo>
                      <a:pt x="607" y="223"/>
                    </a:lnTo>
                    <a:lnTo>
                      <a:pt x="604" y="226"/>
                    </a:lnTo>
                    <a:lnTo>
                      <a:pt x="604" y="228"/>
                    </a:lnTo>
                    <a:lnTo>
                      <a:pt x="602" y="228"/>
                    </a:lnTo>
                    <a:lnTo>
                      <a:pt x="600" y="229"/>
                    </a:lnTo>
                    <a:lnTo>
                      <a:pt x="602" y="229"/>
                    </a:lnTo>
                    <a:lnTo>
                      <a:pt x="602" y="233"/>
                    </a:lnTo>
                    <a:lnTo>
                      <a:pt x="607" y="238"/>
                    </a:lnTo>
                    <a:lnTo>
                      <a:pt x="610" y="240"/>
                    </a:lnTo>
                    <a:lnTo>
                      <a:pt x="610" y="243"/>
                    </a:lnTo>
                    <a:lnTo>
                      <a:pt x="612" y="241"/>
                    </a:lnTo>
                    <a:lnTo>
                      <a:pt x="614" y="241"/>
                    </a:lnTo>
                    <a:lnTo>
                      <a:pt x="612" y="245"/>
                    </a:lnTo>
                    <a:lnTo>
                      <a:pt x="610" y="248"/>
                    </a:lnTo>
                    <a:lnTo>
                      <a:pt x="609" y="250"/>
                    </a:lnTo>
                    <a:lnTo>
                      <a:pt x="612" y="248"/>
                    </a:lnTo>
                    <a:lnTo>
                      <a:pt x="614" y="250"/>
                    </a:lnTo>
                    <a:lnTo>
                      <a:pt x="615" y="253"/>
                    </a:lnTo>
                    <a:lnTo>
                      <a:pt x="621" y="253"/>
                    </a:lnTo>
                    <a:lnTo>
                      <a:pt x="624" y="253"/>
                    </a:lnTo>
                    <a:lnTo>
                      <a:pt x="627" y="255"/>
                    </a:lnTo>
                    <a:lnTo>
                      <a:pt x="629" y="258"/>
                    </a:lnTo>
                    <a:lnTo>
                      <a:pt x="632" y="258"/>
                    </a:lnTo>
                    <a:lnTo>
                      <a:pt x="636" y="262"/>
                    </a:lnTo>
                    <a:lnTo>
                      <a:pt x="638" y="262"/>
                    </a:lnTo>
                    <a:lnTo>
                      <a:pt x="639" y="263"/>
                    </a:lnTo>
                    <a:lnTo>
                      <a:pt x="643" y="263"/>
                    </a:lnTo>
                    <a:lnTo>
                      <a:pt x="646" y="265"/>
                    </a:lnTo>
                    <a:lnTo>
                      <a:pt x="644" y="267"/>
                    </a:lnTo>
                    <a:lnTo>
                      <a:pt x="648" y="267"/>
                    </a:lnTo>
                    <a:lnTo>
                      <a:pt x="648" y="270"/>
                    </a:lnTo>
                    <a:lnTo>
                      <a:pt x="649" y="272"/>
                    </a:lnTo>
                    <a:lnTo>
                      <a:pt x="649" y="274"/>
                    </a:lnTo>
                    <a:lnTo>
                      <a:pt x="651" y="274"/>
                    </a:lnTo>
                    <a:lnTo>
                      <a:pt x="651" y="277"/>
                    </a:lnTo>
                    <a:lnTo>
                      <a:pt x="649" y="282"/>
                    </a:lnTo>
                    <a:lnTo>
                      <a:pt x="649" y="286"/>
                    </a:lnTo>
                    <a:lnTo>
                      <a:pt x="649" y="287"/>
                    </a:lnTo>
                    <a:lnTo>
                      <a:pt x="653" y="291"/>
                    </a:lnTo>
                    <a:lnTo>
                      <a:pt x="653" y="292"/>
                    </a:lnTo>
                    <a:lnTo>
                      <a:pt x="658" y="296"/>
                    </a:lnTo>
                    <a:lnTo>
                      <a:pt x="658" y="299"/>
                    </a:lnTo>
                    <a:lnTo>
                      <a:pt x="660" y="299"/>
                    </a:lnTo>
                    <a:lnTo>
                      <a:pt x="660" y="301"/>
                    </a:lnTo>
                    <a:lnTo>
                      <a:pt x="653" y="297"/>
                    </a:lnTo>
                    <a:lnTo>
                      <a:pt x="649" y="296"/>
                    </a:lnTo>
                    <a:lnTo>
                      <a:pt x="646" y="294"/>
                    </a:lnTo>
                    <a:lnTo>
                      <a:pt x="643" y="294"/>
                    </a:lnTo>
                    <a:lnTo>
                      <a:pt x="638" y="294"/>
                    </a:lnTo>
                    <a:lnTo>
                      <a:pt x="634" y="297"/>
                    </a:lnTo>
                    <a:lnTo>
                      <a:pt x="631" y="303"/>
                    </a:lnTo>
                    <a:lnTo>
                      <a:pt x="629" y="301"/>
                    </a:lnTo>
                    <a:lnTo>
                      <a:pt x="627" y="303"/>
                    </a:lnTo>
                    <a:lnTo>
                      <a:pt x="626" y="299"/>
                    </a:lnTo>
                    <a:lnTo>
                      <a:pt x="622" y="299"/>
                    </a:lnTo>
                    <a:lnTo>
                      <a:pt x="619" y="301"/>
                    </a:lnTo>
                    <a:lnTo>
                      <a:pt x="619" y="299"/>
                    </a:lnTo>
                    <a:lnTo>
                      <a:pt x="619" y="301"/>
                    </a:lnTo>
                    <a:lnTo>
                      <a:pt x="617" y="299"/>
                    </a:lnTo>
                    <a:lnTo>
                      <a:pt x="617" y="301"/>
                    </a:lnTo>
                    <a:lnTo>
                      <a:pt x="615" y="299"/>
                    </a:lnTo>
                    <a:lnTo>
                      <a:pt x="615" y="301"/>
                    </a:lnTo>
                    <a:lnTo>
                      <a:pt x="614" y="301"/>
                    </a:lnTo>
                    <a:lnTo>
                      <a:pt x="614" y="303"/>
                    </a:lnTo>
                    <a:lnTo>
                      <a:pt x="614" y="301"/>
                    </a:lnTo>
                    <a:lnTo>
                      <a:pt x="612" y="303"/>
                    </a:lnTo>
                    <a:lnTo>
                      <a:pt x="612" y="301"/>
                    </a:lnTo>
                    <a:lnTo>
                      <a:pt x="610" y="303"/>
                    </a:lnTo>
                    <a:lnTo>
                      <a:pt x="610" y="301"/>
                    </a:lnTo>
                    <a:lnTo>
                      <a:pt x="609" y="301"/>
                    </a:lnTo>
                    <a:lnTo>
                      <a:pt x="609" y="299"/>
                    </a:lnTo>
                    <a:lnTo>
                      <a:pt x="607" y="299"/>
                    </a:lnTo>
                    <a:lnTo>
                      <a:pt x="607" y="297"/>
                    </a:lnTo>
                    <a:lnTo>
                      <a:pt x="605" y="296"/>
                    </a:lnTo>
                    <a:lnTo>
                      <a:pt x="605" y="297"/>
                    </a:lnTo>
                    <a:lnTo>
                      <a:pt x="604" y="296"/>
                    </a:lnTo>
                    <a:lnTo>
                      <a:pt x="604" y="297"/>
                    </a:lnTo>
                    <a:lnTo>
                      <a:pt x="604" y="296"/>
                    </a:lnTo>
                    <a:lnTo>
                      <a:pt x="604" y="297"/>
                    </a:lnTo>
                    <a:lnTo>
                      <a:pt x="602" y="296"/>
                    </a:lnTo>
                    <a:lnTo>
                      <a:pt x="602" y="297"/>
                    </a:lnTo>
                    <a:lnTo>
                      <a:pt x="602" y="296"/>
                    </a:lnTo>
                    <a:lnTo>
                      <a:pt x="600" y="296"/>
                    </a:lnTo>
                    <a:lnTo>
                      <a:pt x="598" y="296"/>
                    </a:lnTo>
                    <a:lnTo>
                      <a:pt x="598" y="294"/>
                    </a:lnTo>
                    <a:lnTo>
                      <a:pt x="597" y="294"/>
                    </a:lnTo>
                    <a:lnTo>
                      <a:pt x="597" y="292"/>
                    </a:lnTo>
                    <a:lnTo>
                      <a:pt x="595" y="292"/>
                    </a:lnTo>
                    <a:lnTo>
                      <a:pt x="595" y="291"/>
                    </a:lnTo>
                    <a:lnTo>
                      <a:pt x="593" y="291"/>
                    </a:lnTo>
                    <a:lnTo>
                      <a:pt x="592" y="292"/>
                    </a:lnTo>
                    <a:lnTo>
                      <a:pt x="592" y="294"/>
                    </a:lnTo>
                    <a:lnTo>
                      <a:pt x="590" y="292"/>
                    </a:lnTo>
                    <a:lnTo>
                      <a:pt x="590" y="294"/>
                    </a:lnTo>
                    <a:lnTo>
                      <a:pt x="588" y="292"/>
                    </a:lnTo>
                    <a:lnTo>
                      <a:pt x="588" y="294"/>
                    </a:lnTo>
                    <a:lnTo>
                      <a:pt x="587" y="294"/>
                    </a:lnTo>
                    <a:lnTo>
                      <a:pt x="587" y="292"/>
                    </a:lnTo>
                    <a:lnTo>
                      <a:pt x="585" y="292"/>
                    </a:lnTo>
                    <a:lnTo>
                      <a:pt x="585" y="294"/>
                    </a:lnTo>
                    <a:lnTo>
                      <a:pt x="581" y="294"/>
                    </a:lnTo>
                    <a:lnTo>
                      <a:pt x="581" y="296"/>
                    </a:lnTo>
                    <a:lnTo>
                      <a:pt x="581" y="294"/>
                    </a:lnTo>
                    <a:lnTo>
                      <a:pt x="580" y="294"/>
                    </a:lnTo>
                    <a:lnTo>
                      <a:pt x="580" y="292"/>
                    </a:lnTo>
                    <a:lnTo>
                      <a:pt x="578" y="294"/>
                    </a:lnTo>
                    <a:lnTo>
                      <a:pt x="576" y="292"/>
                    </a:lnTo>
                    <a:lnTo>
                      <a:pt x="575" y="292"/>
                    </a:lnTo>
                    <a:lnTo>
                      <a:pt x="576" y="291"/>
                    </a:lnTo>
                    <a:lnTo>
                      <a:pt x="575" y="291"/>
                    </a:lnTo>
                    <a:lnTo>
                      <a:pt x="573" y="292"/>
                    </a:lnTo>
                    <a:lnTo>
                      <a:pt x="573" y="291"/>
                    </a:lnTo>
                    <a:lnTo>
                      <a:pt x="571" y="291"/>
                    </a:lnTo>
                    <a:lnTo>
                      <a:pt x="571" y="289"/>
                    </a:lnTo>
                    <a:lnTo>
                      <a:pt x="570" y="289"/>
                    </a:lnTo>
                    <a:lnTo>
                      <a:pt x="568" y="287"/>
                    </a:lnTo>
                    <a:lnTo>
                      <a:pt x="568" y="289"/>
                    </a:lnTo>
                    <a:lnTo>
                      <a:pt x="568" y="287"/>
                    </a:lnTo>
                    <a:lnTo>
                      <a:pt x="566" y="287"/>
                    </a:lnTo>
                    <a:lnTo>
                      <a:pt x="568" y="287"/>
                    </a:lnTo>
                    <a:lnTo>
                      <a:pt x="566" y="287"/>
                    </a:lnTo>
                    <a:lnTo>
                      <a:pt x="564" y="286"/>
                    </a:lnTo>
                    <a:lnTo>
                      <a:pt x="563" y="284"/>
                    </a:lnTo>
                    <a:lnTo>
                      <a:pt x="563" y="286"/>
                    </a:lnTo>
                    <a:lnTo>
                      <a:pt x="561" y="287"/>
                    </a:lnTo>
                    <a:lnTo>
                      <a:pt x="559" y="286"/>
                    </a:lnTo>
                    <a:lnTo>
                      <a:pt x="559" y="287"/>
                    </a:lnTo>
                    <a:lnTo>
                      <a:pt x="558" y="287"/>
                    </a:lnTo>
                    <a:lnTo>
                      <a:pt x="558" y="289"/>
                    </a:lnTo>
                    <a:lnTo>
                      <a:pt x="556" y="289"/>
                    </a:lnTo>
                    <a:lnTo>
                      <a:pt x="556" y="287"/>
                    </a:lnTo>
                    <a:lnTo>
                      <a:pt x="556" y="289"/>
                    </a:lnTo>
                    <a:lnTo>
                      <a:pt x="554" y="289"/>
                    </a:lnTo>
                    <a:lnTo>
                      <a:pt x="553" y="291"/>
                    </a:lnTo>
                    <a:lnTo>
                      <a:pt x="553" y="294"/>
                    </a:lnTo>
                    <a:lnTo>
                      <a:pt x="551" y="294"/>
                    </a:lnTo>
                    <a:lnTo>
                      <a:pt x="553" y="297"/>
                    </a:lnTo>
                    <a:lnTo>
                      <a:pt x="554" y="296"/>
                    </a:lnTo>
                    <a:lnTo>
                      <a:pt x="553" y="299"/>
                    </a:lnTo>
                    <a:lnTo>
                      <a:pt x="553" y="301"/>
                    </a:lnTo>
                    <a:lnTo>
                      <a:pt x="553" y="303"/>
                    </a:lnTo>
                    <a:lnTo>
                      <a:pt x="546" y="304"/>
                    </a:lnTo>
                    <a:lnTo>
                      <a:pt x="544" y="304"/>
                    </a:lnTo>
                    <a:lnTo>
                      <a:pt x="544" y="303"/>
                    </a:lnTo>
                    <a:lnTo>
                      <a:pt x="542" y="304"/>
                    </a:lnTo>
                    <a:lnTo>
                      <a:pt x="541" y="306"/>
                    </a:lnTo>
                    <a:lnTo>
                      <a:pt x="539" y="308"/>
                    </a:lnTo>
                    <a:lnTo>
                      <a:pt x="534" y="304"/>
                    </a:lnTo>
                    <a:lnTo>
                      <a:pt x="532" y="306"/>
                    </a:lnTo>
                    <a:lnTo>
                      <a:pt x="530" y="306"/>
                    </a:lnTo>
                    <a:lnTo>
                      <a:pt x="529" y="306"/>
                    </a:lnTo>
                    <a:lnTo>
                      <a:pt x="529" y="308"/>
                    </a:lnTo>
                    <a:lnTo>
                      <a:pt x="525" y="308"/>
                    </a:lnTo>
                    <a:lnTo>
                      <a:pt x="525" y="309"/>
                    </a:lnTo>
                    <a:lnTo>
                      <a:pt x="524" y="309"/>
                    </a:lnTo>
                    <a:lnTo>
                      <a:pt x="522" y="309"/>
                    </a:lnTo>
                    <a:lnTo>
                      <a:pt x="520" y="309"/>
                    </a:lnTo>
                    <a:lnTo>
                      <a:pt x="519" y="308"/>
                    </a:lnTo>
                    <a:lnTo>
                      <a:pt x="519" y="306"/>
                    </a:lnTo>
                    <a:lnTo>
                      <a:pt x="517" y="306"/>
                    </a:lnTo>
                    <a:lnTo>
                      <a:pt x="517" y="303"/>
                    </a:lnTo>
                    <a:lnTo>
                      <a:pt x="513" y="303"/>
                    </a:lnTo>
                    <a:lnTo>
                      <a:pt x="512" y="301"/>
                    </a:lnTo>
                    <a:lnTo>
                      <a:pt x="508" y="299"/>
                    </a:lnTo>
                    <a:lnTo>
                      <a:pt x="508" y="301"/>
                    </a:lnTo>
                    <a:lnTo>
                      <a:pt x="507" y="301"/>
                    </a:lnTo>
                    <a:lnTo>
                      <a:pt x="507" y="299"/>
                    </a:lnTo>
                    <a:lnTo>
                      <a:pt x="505" y="299"/>
                    </a:lnTo>
                    <a:lnTo>
                      <a:pt x="503" y="301"/>
                    </a:lnTo>
                    <a:lnTo>
                      <a:pt x="503" y="303"/>
                    </a:lnTo>
                    <a:lnTo>
                      <a:pt x="505" y="301"/>
                    </a:lnTo>
                    <a:lnTo>
                      <a:pt x="505" y="303"/>
                    </a:lnTo>
                    <a:lnTo>
                      <a:pt x="503" y="304"/>
                    </a:lnTo>
                    <a:lnTo>
                      <a:pt x="500" y="304"/>
                    </a:lnTo>
                    <a:lnTo>
                      <a:pt x="498" y="306"/>
                    </a:lnTo>
                    <a:lnTo>
                      <a:pt x="498" y="308"/>
                    </a:lnTo>
                    <a:lnTo>
                      <a:pt x="498" y="306"/>
                    </a:lnTo>
                    <a:lnTo>
                      <a:pt x="496" y="306"/>
                    </a:lnTo>
                    <a:lnTo>
                      <a:pt x="495" y="308"/>
                    </a:lnTo>
                    <a:lnTo>
                      <a:pt x="493" y="309"/>
                    </a:lnTo>
                    <a:lnTo>
                      <a:pt x="491" y="308"/>
                    </a:lnTo>
                    <a:lnTo>
                      <a:pt x="486" y="311"/>
                    </a:lnTo>
                    <a:lnTo>
                      <a:pt x="485" y="311"/>
                    </a:lnTo>
                    <a:lnTo>
                      <a:pt x="483" y="311"/>
                    </a:lnTo>
                    <a:lnTo>
                      <a:pt x="483" y="314"/>
                    </a:lnTo>
                    <a:lnTo>
                      <a:pt x="479" y="313"/>
                    </a:lnTo>
                    <a:lnTo>
                      <a:pt x="478" y="314"/>
                    </a:lnTo>
                    <a:lnTo>
                      <a:pt x="476" y="313"/>
                    </a:lnTo>
                    <a:lnTo>
                      <a:pt x="474" y="314"/>
                    </a:lnTo>
                    <a:lnTo>
                      <a:pt x="471" y="314"/>
                    </a:lnTo>
                    <a:lnTo>
                      <a:pt x="469" y="316"/>
                    </a:lnTo>
                    <a:lnTo>
                      <a:pt x="464" y="316"/>
                    </a:lnTo>
                    <a:lnTo>
                      <a:pt x="462" y="320"/>
                    </a:lnTo>
                    <a:lnTo>
                      <a:pt x="459" y="321"/>
                    </a:lnTo>
                    <a:lnTo>
                      <a:pt x="457" y="321"/>
                    </a:lnTo>
                    <a:lnTo>
                      <a:pt x="456" y="321"/>
                    </a:lnTo>
                    <a:lnTo>
                      <a:pt x="456" y="325"/>
                    </a:lnTo>
                    <a:lnTo>
                      <a:pt x="454" y="325"/>
                    </a:lnTo>
                    <a:lnTo>
                      <a:pt x="452" y="323"/>
                    </a:lnTo>
                    <a:lnTo>
                      <a:pt x="451" y="325"/>
                    </a:lnTo>
                    <a:lnTo>
                      <a:pt x="449" y="323"/>
                    </a:lnTo>
                    <a:lnTo>
                      <a:pt x="447" y="321"/>
                    </a:lnTo>
                    <a:lnTo>
                      <a:pt x="445" y="321"/>
                    </a:lnTo>
                    <a:lnTo>
                      <a:pt x="444" y="318"/>
                    </a:lnTo>
                    <a:lnTo>
                      <a:pt x="440" y="320"/>
                    </a:lnTo>
                    <a:lnTo>
                      <a:pt x="435" y="316"/>
                    </a:lnTo>
                    <a:lnTo>
                      <a:pt x="434" y="313"/>
                    </a:lnTo>
                    <a:lnTo>
                      <a:pt x="432" y="313"/>
                    </a:lnTo>
                    <a:lnTo>
                      <a:pt x="430" y="313"/>
                    </a:lnTo>
                    <a:lnTo>
                      <a:pt x="428" y="314"/>
                    </a:lnTo>
                    <a:lnTo>
                      <a:pt x="428" y="316"/>
                    </a:lnTo>
                    <a:lnTo>
                      <a:pt x="428" y="318"/>
                    </a:lnTo>
                    <a:lnTo>
                      <a:pt x="427" y="320"/>
                    </a:lnTo>
                    <a:lnTo>
                      <a:pt x="425" y="318"/>
                    </a:lnTo>
                    <a:lnTo>
                      <a:pt x="423" y="320"/>
                    </a:lnTo>
                    <a:lnTo>
                      <a:pt x="422" y="323"/>
                    </a:lnTo>
                    <a:lnTo>
                      <a:pt x="422" y="326"/>
                    </a:lnTo>
                    <a:lnTo>
                      <a:pt x="420" y="328"/>
                    </a:lnTo>
                    <a:lnTo>
                      <a:pt x="420" y="330"/>
                    </a:lnTo>
                    <a:lnTo>
                      <a:pt x="417" y="330"/>
                    </a:lnTo>
                    <a:lnTo>
                      <a:pt x="415" y="330"/>
                    </a:lnTo>
                    <a:lnTo>
                      <a:pt x="415" y="331"/>
                    </a:lnTo>
                    <a:lnTo>
                      <a:pt x="413" y="333"/>
                    </a:lnTo>
                    <a:lnTo>
                      <a:pt x="413" y="335"/>
                    </a:lnTo>
                    <a:lnTo>
                      <a:pt x="415" y="337"/>
                    </a:lnTo>
                    <a:lnTo>
                      <a:pt x="413" y="338"/>
                    </a:lnTo>
                    <a:lnTo>
                      <a:pt x="411" y="340"/>
                    </a:lnTo>
                    <a:lnTo>
                      <a:pt x="411" y="343"/>
                    </a:lnTo>
                    <a:lnTo>
                      <a:pt x="406" y="348"/>
                    </a:lnTo>
                    <a:lnTo>
                      <a:pt x="396" y="348"/>
                    </a:lnTo>
                    <a:lnTo>
                      <a:pt x="393" y="347"/>
                    </a:lnTo>
                    <a:lnTo>
                      <a:pt x="388" y="343"/>
                    </a:lnTo>
                    <a:lnTo>
                      <a:pt x="386" y="343"/>
                    </a:lnTo>
                    <a:lnTo>
                      <a:pt x="384" y="342"/>
                    </a:lnTo>
                    <a:lnTo>
                      <a:pt x="381" y="343"/>
                    </a:lnTo>
                    <a:lnTo>
                      <a:pt x="376" y="342"/>
                    </a:lnTo>
                    <a:lnTo>
                      <a:pt x="371" y="340"/>
                    </a:lnTo>
                    <a:lnTo>
                      <a:pt x="369" y="340"/>
                    </a:lnTo>
                    <a:lnTo>
                      <a:pt x="366" y="338"/>
                    </a:lnTo>
                    <a:lnTo>
                      <a:pt x="360" y="342"/>
                    </a:lnTo>
                    <a:lnTo>
                      <a:pt x="357" y="342"/>
                    </a:lnTo>
                    <a:lnTo>
                      <a:pt x="355" y="340"/>
                    </a:lnTo>
                    <a:lnTo>
                      <a:pt x="352" y="340"/>
                    </a:lnTo>
                    <a:lnTo>
                      <a:pt x="349" y="338"/>
                    </a:lnTo>
                    <a:lnTo>
                      <a:pt x="345" y="338"/>
                    </a:lnTo>
                    <a:lnTo>
                      <a:pt x="343" y="340"/>
                    </a:lnTo>
                    <a:lnTo>
                      <a:pt x="342" y="338"/>
                    </a:lnTo>
                    <a:lnTo>
                      <a:pt x="338" y="335"/>
                    </a:lnTo>
                    <a:lnTo>
                      <a:pt x="332" y="333"/>
                    </a:lnTo>
                    <a:lnTo>
                      <a:pt x="326" y="331"/>
                    </a:lnTo>
                    <a:lnTo>
                      <a:pt x="323" y="333"/>
                    </a:lnTo>
                    <a:lnTo>
                      <a:pt x="320" y="333"/>
                    </a:lnTo>
                    <a:lnTo>
                      <a:pt x="315" y="333"/>
                    </a:lnTo>
                    <a:lnTo>
                      <a:pt x="313" y="333"/>
                    </a:lnTo>
                    <a:lnTo>
                      <a:pt x="309" y="331"/>
                    </a:lnTo>
                    <a:lnTo>
                      <a:pt x="306" y="328"/>
                    </a:lnTo>
                    <a:lnTo>
                      <a:pt x="306" y="326"/>
                    </a:lnTo>
                    <a:lnTo>
                      <a:pt x="306" y="323"/>
                    </a:lnTo>
                    <a:lnTo>
                      <a:pt x="303" y="320"/>
                    </a:lnTo>
                    <a:lnTo>
                      <a:pt x="301" y="320"/>
                    </a:lnTo>
                    <a:lnTo>
                      <a:pt x="299" y="316"/>
                    </a:lnTo>
                    <a:lnTo>
                      <a:pt x="294" y="314"/>
                    </a:lnTo>
                    <a:lnTo>
                      <a:pt x="291" y="313"/>
                    </a:lnTo>
                    <a:lnTo>
                      <a:pt x="291" y="309"/>
                    </a:lnTo>
                    <a:lnTo>
                      <a:pt x="287" y="309"/>
                    </a:lnTo>
                    <a:lnTo>
                      <a:pt x="282" y="306"/>
                    </a:lnTo>
                    <a:lnTo>
                      <a:pt x="279" y="306"/>
                    </a:lnTo>
                    <a:lnTo>
                      <a:pt x="277" y="304"/>
                    </a:lnTo>
                    <a:lnTo>
                      <a:pt x="274" y="299"/>
                    </a:lnTo>
                    <a:lnTo>
                      <a:pt x="267" y="297"/>
                    </a:lnTo>
                    <a:lnTo>
                      <a:pt x="262" y="297"/>
                    </a:lnTo>
                    <a:lnTo>
                      <a:pt x="260" y="297"/>
                    </a:lnTo>
                    <a:lnTo>
                      <a:pt x="257" y="297"/>
                    </a:lnTo>
                    <a:lnTo>
                      <a:pt x="253" y="297"/>
                    </a:lnTo>
                    <a:lnTo>
                      <a:pt x="252" y="299"/>
                    </a:lnTo>
                    <a:lnTo>
                      <a:pt x="250" y="301"/>
                    </a:lnTo>
                    <a:lnTo>
                      <a:pt x="243" y="304"/>
                    </a:lnTo>
                    <a:lnTo>
                      <a:pt x="241" y="308"/>
                    </a:lnTo>
                    <a:lnTo>
                      <a:pt x="240" y="308"/>
                    </a:lnTo>
                    <a:lnTo>
                      <a:pt x="236" y="308"/>
                    </a:lnTo>
                    <a:lnTo>
                      <a:pt x="233" y="316"/>
                    </a:lnTo>
                    <a:lnTo>
                      <a:pt x="231" y="316"/>
                    </a:lnTo>
                    <a:lnTo>
                      <a:pt x="228" y="321"/>
                    </a:lnTo>
                    <a:lnTo>
                      <a:pt x="226" y="325"/>
                    </a:lnTo>
                    <a:lnTo>
                      <a:pt x="223" y="325"/>
                    </a:lnTo>
                    <a:lnTo>
                      <a:pt x="223" y="331"/>
                    </a:lnTo>
                    <a:lnTo>
                      <a:pt x="219" y="335"/>
                    </a:lnTo>
                    <a:lnTo>
                      <a:pt x="216" y="337"/>
                    </a:lnTo>
                    <a:lnTo>
                      <a:pt x="213" y="337"/>
                    </a:lnTo>
                    <a:lnTo>
                      <a:pt x="211" y="337"/>
                    </a:lnTo>
                    <a:lnTo>
                      <a:pt x="209" y="337"/>
                    </a:lnTo>
                    <a:lnTo>
                      <a:pt x="209" y="338"/>
                    </a:lnTo>
                    <a:lnTo>
                      <a:pt x="213" y="345"/>
                    </a:lnTo>
                    <a:lnTo>
                      <a:pt x="214" y="354"/>
                    </a:lnTo>
                    <a:lnTo>
                      <a:pt x="214" y="355"/>
                    </a:lnTo>
                    <a:lnTo>
                      <a:pt x="213" y="360"/>
                    </a:lnTo>
                    <a:lnTo>
                      <a:pt x="211" y="367"/>
                    </a:lnTo>
                    <a:lnTo>
                      <a:pt x="213" y="379"/>
                    </a:lnTo>
                    <a:lnTo>
                      <a:pt x="213" y="381"/>
                    </a:lnTo>
                    <a:lnTo>
                      <a:pt x="211" y="381"/>
                    </a:lnTo>
                    <a:lnTo>
                      <a:pt x="209" y="376"/>
                    </a:lnTo>
                    <a:lnTo>
                      <a:pt x="206" y="372"/>
                    </a:lnTo>
                    <a:lnTo>
                      <a:pt x="204" y="376"/>
                    </a:lnTo>
                    <a:lnTo>
                      <a:pt x="202" y="374"/>
                    </a:lnTo>
                    <a:lnTo>
                      <a:pt x="202" y="376"/>
                    </a:lnTo>
                    <a:lnTo>
                      <a:pt x="199" y="374"/>
                    </a:lnTo>
                    <a:lnTo>
                      <a:pt x="197" y="376"/>
                    </a:lnTo>
                    <a:lnTo>
                      <a:pt x="196" y="376"/>
                    </a:lnTo>
                    <a:lnTo>
                      <a:pt x="194" y="381"/>
                    </a:lnTo>
                    <a:lnTo>
                      <a:pt x="190" y="381"/>
                    </a:lnTo>
                    <a:lnTo>
                      <a:pt x="189" y="377"/>
                    </a:lnTo>
                    <a:lnTo>
                      <a:pt x="187" y="377"/>
                    </a:lnTo>
                    <a:lnTo>
                      <a:pt x="182" y="376"/>
                    </a:lnTo>
                    <a:lnTo>
                      <a:pt x="180" y="377"/>
                    </a:lnTo>
                    <a:lnTo>
                      <a:pt x="179" y="376"/>
                    </a:lnTo>
                    <a:lnTo>
                      <a:pt x="177" y="377"/>
                    </a:lnTo>
                    <a:lnTo>
                      <a:pt x="173" y="377"/>
                    </a:lnTo>
                    <a:lnTo>
                      <a:pt x="173" y="376"/>
                    </a:lnTo>
                    <a:lnTo>
                      <a:pt x="172" y="374"/>
                    </a:lnTo>
                    <a:lnTo>
                      <a:pt x="167" y="372"/>
                    </a:lnTo>
                    <a:lnTo>
                      <a:pt x="162" y="374"/>
                    </a:lnTo>
                    <a:lnTo>
                      <a:pt x="158" y="371"/>
                    </a:lnTo>
                    <a:lnTo>
                      <a:pt x="155" y="369"/>
                    </a:lnTo>
                    <a:lnTo>
                      <a:pt x="151" y="372"/>
                    </a:lnTo>
                    <a:lnTo>
                      <a:pt x="150" y="374"/>
                    </a:lnTo>
                    <a:lnTo>
                      <a:pt x="148" y="374"/>
                    </a:lnTo>
                    <a:lnTo>
                      <a:pt x="145" y="374"/>
                    </a:lnTo>
                    <a:lnTo>
                      <a:pt x="143" y="374"/>
                    </a:lnTo>
                    <a:lnTo>
                      <a:pt x="143" y="376"/>
                    </a:lnTo>
                    <a:lnTo>
                      <a:pt x="143" y="377"/>
                    </a:lnTo>
                    <a:lnTo>
                      <a:pt x="131" y="377"/>
                    </a:lnTo>
                    <a:lnTo>
                      <a:pt x="126" y="376"/>
                    </a:lnTo>
                    <a:lnTo>
                      <a:pt x="122" y="379"/>
                    </a:lnTo>
                    <a:lnTo>
                      <a:pt x="114" y="379"/>
                    </a:lnTo>
                    <a:lnTo>
                      <a:pt x="109" y="381"/>
                    </a:lnTo>
                    <a:lnTo>
                      <a:pt x="109" y="388"/>
                    </a:lnTo>
                    <a:lnTo>
                      <a:pt x="105" y="400"/>
                    </a:lnTo>
                    <a:lnTo>
                      <a:pt x="105" y="403"/>
                    </a:lnTo>
                    <a:lnTo>
                      <a:pt x="105" y="406"/>
                    </a:lnTo>
                    <a:lnTo>
                      <a:pt x="104" y="408"/>
                    </a:lnTo>
                    <a:lnTo>
                      <a:pt x="105" y="411"/>
                    </a:lnTo>
                    <a:lnTo>
                      <a:pt x="105" y="413"/>
                    </a:lnTo>
                    <a:lnTo>
                      <a:pt x="104" y="415"/>
                    </a:lnTo>
                    <a:lnTo>
                      <a:pt x="100" y="425"/>
                    </a:lnTo>
                    <a:lnTo>
                      <a:pt x="90" y="445"/>
                    </a:lnTo>
                    <a:lnTo>
                      <a:pt x="88" y="444"/>
                    </a:lnTo>
                    <a:lnTo>
                      <a:pt x="88" y="442"/>
                    </a:lnTo>
                    <a:lnTo>
                      <a:pt x="87" y="439"/>
                    </a:lnTo>
                    <a:lnTo>
                      <a:pt x="83" y="434"/>
                    </a:lnTo>
                    <a:lnTo>
                      <a:pt x="85" y="432"/>
                    </a:lnTo>
                    <a:lnTo>
                      <a:pt x="83" y="428"/>
                    </a:lnTo>
                    <a:lnTo>
                      <a:pt x="85" y="427"/>
                    </a:lnTo>
                    <a:lnTo>
                      <a:pt x="83" y="423"/>
                    </a:lnTo>
                    <a:lnTo>
                      <a:pt x="85" y="420"/>
                    </a:lnTo>
                    <a:lnTo>
                      <a:pt x="83" y="420"/>
                    </a:lnTo>
                    <a:lnTo>
                      <a:pt x="82" y="417"/>
                    </a:lnTo>
                    <a:lnTo>
                      <a:pt x="83" y="415"/>
                    </a:lnTo>
                    <a:lnTo>
                      <a:pt x="85" y="413"/>
                    </a:lnTo>
                    <a:lnTo>
                      <a:pt x="83" y="410"/>
                    </a:lnTo>
                    <a:lnTo>
                      <a:pt x="82" y="406"/>
                    </a:lnTo>
                    <a:lnTo>
                      <a:pt x="80" y="406"/>
                    </a:lnTo>
                    <a:lnTo>
                      <a:pt x="78" y="406"/>
                    </a:lnTo>
                    <a:lnTo>
                      <a:pt x="75" y="400"/>
                    </a:lnTo>
                    <a:lnTo>
                      <a:pt x="71" y="400"/>
                    </a:lnTo>
                    <a:lnTo>
                      <a:pt x="70" y="401"/>
                    </a:lnTo>
                    <a:lnTo>
                      <a:pt x="54" y="382"/>
                    </a:lnTo>
                    <a:lnTo>
                      <a:pt x="43" y="369"/>
                    </a:lnTo>
                    <a:lnTo>
                      <a:pt x="34" y="357"/>
                    </a:lnTo>
                    <a:lnTo>
                      <a:pt x="34" y="355"/>
                    </a:lnTo>
                    <a:lnTo>
                      <a:pt x="32" y="355"/>
                    </a:lnTo>
                    <a:lnTo>
                      <a:pt x="32" y="354"/>
                    </a:lnTo>
                    <a:lnTo>
                      <a:pt x="39" y="352"/>
                    </a:lnTo>
                    <a:lnTo>
                      <a:pt x="37" y="352"/>
                    </a:lnTo>
                    <a:lnTo>
                      <a:pt x="36" y="352"/>
                    </a:lnTo>
                    <a:lnTo>
                      <a:pt x="36" y="350"/>
                    </a:lnTo>
                    <a:lnTo>
                      <a:pt x="34" y="348"/>
                    </a:lnTo>
                    <a:lnTo>
                      <a:pt x="34" y="345"/>
                    </a:lnTo>
                    <a:lnTo>
                      <a:pt x="34" y="338"/>
                    </a:lnTo>
                    <a:lnTo>
                      <a:pt x="31" y="337"/>
                    </a:lnTo>
                    <a:lnTo>
                      <a:pt x="31" y="333"/>
                    </a:lnTo>
                    <a:lnTo>
                      <a:pt x="27" y="333"/>
                    </a:lnTo>
                    <a:lnTo>
                      <a:pt x="24" y="331"/>
                    </a:lnTo>
                    <a:lnTo>
                      <a:pt x="22" y="328"/>
                    </a:lnTo>
                    <a:lnTo>
                      <a:pt x="20" y="328"/>
                    </a:lnTo>
                    <a:lnTo>
                      <a:pt x="15" y="325"/>
                    </a:lnTo>
                    <a:lnTo>
                      <a:pt x="15" y="318"/>
                    </a:lnTo>
                    <a:lnTo>
                      <a:pt x="14" y="316"/>
                    </a:lnTo>
                    <a:lnTo>
                      <a:pt x="15" y="314"/>
                    </a:lnTo>
                    <a:lnTo>
                      <a:pt x="14" y="313"/>
                    </a:lnTo>
                    <a:lnTo>
                      <a:pt x="15" y="311"/>
                    </a:lnTo>
                    <a:lnTo>
                      <a:pt x="14" y="308"/>
                    </a:lnTo>
                    <a:lnTo>
                      <a:pt x="14" y="306"/>
                    </a:lnTo>
                    <a:lnTo>
                      <a:pt x="14" y="304"/>
                    </a:lnTo>
                    <a:lnTo>
                      <a:pt x="14" y="303"/>
                    </a:lnTo>
                    <a:lnTo>
                      <a:pt x="14" y="299"/>
                    </a:lnTo>
                    <a:lnTo>
                      <a:pt x="14" y="296"/>
                    </a:lnTo>
                    <a:lnTo>
                      <a:pt x="12" y="294"/>
                    </a:lnTo>
                    <a:lnTo>
                      <a:pt x="7" y="292"/>
                    </a:lnTo>
                    <a:lnTo>
                      <a:pt x="5" y="291"/>
                    </a:lnTo>
                    <a:lnTo>
                      <a:pt x="7" y="289"/>
                    </a:lnTo>
                    <a:lnTo>
                      <a:pt x="9" y="284"/>
                    </a:lnTo>
                    <a:lnTo>
                      <a:pt x="9" y="280"/>
                    </a:lnTo>
                    <a:lnTo>
                      <a:pt x="10" y="279"/>
                    </a:lnTo>
                    <a:lnTo>
                      <a:pt x="9" y="275"/>
                    </a:lnTo>
                    <a:lnTo>
                      <a:pt x="10" y="269"/>
                    </a:lnTo>
                    <a:lnTo>
                      <a:pt x="10" y="258"/>
                    </a:lnTo>
                    <a:lnTo>
                      <a:pt x="9" y="257"/>
                    </a:lnTo>
                    <a:lnTo>
                      <a:pt x="7" y="258"/>
                    </a:lnTo>
                    <a:lnTo>
                      <a:pt x="3" y="258"/>
                    </a:lnTo>
                    <a:lnTo>
                      <a:pt x="0" y="252"/>
                    </a:lnTo>
                    <a:lnTo>
                      <a:pt x="0" y="250"/>
                    </a:lnTo>
                    <a:lnTo>
                      <a:pt x="2" y="250"/>
                    </a:lnTo>
                    <a:lnTo>
                      <a:pt x="7" y="243"/>
                    </a:lnTo>
                    <a:lnTo>
                      <a:pt x="14" y="241"/>
                    </a:lnTo>
                    <a:lnTo>
                      <a:pt x="17" y="240"/>
                    </a:lnTo>
                    <a:lnTo>
                      <a:pt x="20" y="236"/>
                    </a:lnTo>
                    <a:lnTo>
                      <a:pt x="20" y="233"/>
                    </a:lnTo>
                    <a:lnTo>
                      <a:pt x="27" y="217"/>
                    </a:lnTo>
                    <a:lnTo>
                      <a:pt x="29" y="216"/>
                    </a:lnTo>
                    <a:lnTo>
                      <a:pt x="32" y="216"/>
                    </a:lnTo>
                    <a:lnTo>
                      <a:pt x="32" y="214"/>
                    </a:lnTo>
                    <a:lnTo>
                      <a:pt x="36" y="206"/>
                    </a:lnTo>
                    <a:lnTo>
                      <a:pt x="37" y="200"/>
                    </a:lnTo>
                    <a:lnTo>
                      <a:pt x="37" y="199"/>
                    </a:lnTo>
                    <a:lnTo>
                      <a:pt x="39" y="199"/>
                    </a:lnTo>
                    <a:lnTo>
                      <a:pt x="41" y="197"/>
                    </a:lnTo>
                    <a:lnTo>
                      <a:pt x="39" y="194"/>
                    </a:lnTo>
                    <a:lnTo>
                      <a:pt x="41" y="192"/>
                    </a:lnTo>
                    <a:lnTo>
                      <a:pt x="41" y="190"/>
                    </a:lnTo>
                    <a:lnTo>
                      <a:pt x="51" y="182"/>
                    </a:lnTo>
                    <a:lnTo>
                      <a:pt x="54" y="177"/>
                    </a:lnTo>
                    <a:lnTo>
                      <a:pt x="58" y="177"/>
                    </a:lnTo>
                    <a:lnTo>
                      <a:pt x="66" y="177"/>
                    </a:lnTo>
                    <a:lnTo>
                      <a:pt x="68" y="180"/>
                    </a:lnTo>
                    <a:lnTo>
                      <a:pt x="70" y="180"/>
                    </a:lnTo>
                    <a:lnTo>
                      <a:pt x="78" y="178"/>
                    </a:lnTo>
                    <a:lnTo>
                      <a:pt x="80" y="177"/>
                    </a:lnTo>
                    <a:lnTo>
                      <a:pt x="83" y="173"/>
                    </a:lnTo>
                    <a:lnTo>
                      <a:pt x="88" y="173"/>
                    </a:lnTo>
                    <a:lnTo>
                      <a:pt x="90" y="172"/>
                    </a:lnTo>
                    <a:lnTo>
                      <a:pt x="92" y="172"/>
                    </a:lnTo>
                    <a:lnTo>
                      <a:pt x="95" y="170"/>
                    </a:lnTo>
                    <a:lnTo>
                      <a:pt x="100" y="168"/>
                    </a:lnTo>
                    <a:lnTo>
                      <a:pt x="102" y="166"/>
                    </a:lnTo>
                    <a:lnTo>
                      <a:pt x="100" y="163"/>
                    </a:lnTo>
                    <a:lnTo>
                      <a:pt x="102" y="161"/>
                    </a:lnTo>
                    <a:lnTo>
                      <a:pt x="102" y="163"/>
                    </a:lnTo>
                    <a:lnTo>
                      <a:pt x="104" y="163"/>
                    </a:lnTo>
                    <a:lnTo>
                      <a:pt x="105" y="160"/>
                    </a:lnTo>
                    <a:lnTo>
                      <a:pt x="111" y="158"/>
                    </a:lnTo>
                    <a:lnTo>
                      <a:pt x="109" y="160"/>
                    </a:lnTo>
                    <a:lnTo>
                      <a:pt x="111" y="163"/>
                    </a:lnTo>
                    <a:lnTo>
                      <a:pt x="114" y="165"/>
                    </a:lnTo>
                    <a:lnTo>
                      <a:pt x="114" y="168"/>
                    </a:lnTo>
                    <a:lnTo>
                      <a:pt x="114" y="170"/>
                    </a:lnTo>
                    <a:lnTo>
                      <a:pt x="117" y="170"/>
                    </a:lnTo>
                    <a:lnTo>
                      <a:pt x="121" y="173"/>
                    </a:lnTo>
                    <a:lnTo>
                      <a:pt x="121" y="175"/>
                    </a:lnTo>
                    <a:lnTo>
                      <a:pt x="122" y="175"/>
                    </a:lnTo>
                    <a:lnTo>
                      <a:pt x="124" y="175"/>
                    </a:lnTo>
                    <a:lnTo>
                      <a:pt x="126" y="175"/>
                    </a:lnTo>
                    <a:lnTo>
                      <a:pt x="124" y="173"/>
                    </a:lnTo>
                    <a:lnTo>
                      <a:pt x="126" y="172"/>
                    </a:lnTo>
                    <a:lnTo>
                      <a:pt x="128" y="170"/>
                    </a:lnTo>
                    <a:lnTo>
                      <a:pt x="129" y="172"/>
                    </a:lnTo>
                    <a:lnTo>
                      <a:pt x="129" y="170"/>
                    </a:lnTo>
                    <a:lnTo>
                      <a:pt x="133" y="170"/>
                    </a:lnTo>
                    <a:lnTo>
                      <a:pt x="134" y="170"/>
                    </a:lnTo>
                    <a:lnTo>
                      <a:pt x="134" y="168"/>
                    </a:lnTo>
                    <a:lnTo>
                      <a:pt x="136" y="166"/>
                    </a:lnTo>
                    <a:lnTo>
                      <a:pt x="136" y="170"/>
                    </a:lnTo>
                    <a:lnTo>
                      <a:pt x="138" y="168"/>
                    </a:lnTo>
                    <a:lnTo>
                      <a:pt x="139" y="166"/>
                    </a:lnTo>
                    <a:lnTo>
                      <a:pt x="141" y="166"/>
                    </a:lnTo>
                    <a:lnTo>
                      <a:pt x="141" y="163"/>
                    </a:lnTo>
                    <a:lnTo>
                      <a:pt x="143" y="165"/>
                    </a:lnTo>
                    <a:lnTo>
                      <a:pt x="145" y="165"/>
                    </a:lnTo>
                    <a:lnTo>
                      <a:pt x="143" y="163"/>
                    </a:lnTo>
                    <a:lnTo>
                      <a:pt x="146" y="161"/>
                    </a:lnTo>
                    <a:lnTo>
                      <a:pt x="148" y="161"/>
                    </a:lnTo>
                    <a:lnTo>
                      <a:pt x="148" y="160"/>
                    </a:lnTo>
                    <a:lnTo>
                      <a:pt x="150" y="160"/>
                    </a:lnTo>
                    <a:lnTo>
                      <a:pt x="151" y="160"/>
                    </a:lnTo>
                    <a:lnTo>
                      <a:pt x="151" y="158"/>
                    </a:lnTo>
                    <a:lnTo>
                      <a:pt x="151" y="160"/>
                    </a:lnTo>
                    <a:lnTo>
                      <a:pt x="153" y="158"/>
                    </a:lnTo>
                    <a:lnTo>
                      <a:pt x="155" y="158"/>
                    </a:lnTo>
                    <a:lnTo>
                      <a:pt x="156" y="158"/>
                    </a:lnTo>
                    <a:lnTo>
                      <a:pt x="158" y="158"/>
                    </a:lnTo>
                    <a:lnTo>
                      <a:pt x="158" y="156"/>
                    </a:lnTo>
                    <a:lnTo>
                      <a:pt x="160" y="156"/>
                    </a:lnTo>
                    <a:lnTo>
                      <a:pt x="160" y="155"/>
                    </a:lnTo>
                    <a:lnTo>
                      <a:pt x="162" y="156"/>
                    </a:lnTo>
                    <a:lnTo>
                      <a:pt x="163" y="155"/>
                    </a:lnTo>
                    <a:lnTo>
                      <a:pt x="165" y="153"/>
                    </a:lnTo>
                    <a:lnTo>
                      <a:pt x="167" y="153"/>
                    </a:lnTo>
                    <a:lnTo>
                      <a:pt x="177" y="155"/>
                    </a:lnTo>
                    <a:lnTo>
                      <a:pt x="182" y="151"/>
                    </a:lnTo>
                    <a:lnTo>
                      <a:pt x="196" y="151"/>
                    </a:lnTo>
                    <a:lnTo>
                      <a:pt x="211" y="149"/>
                    </a:lnTo>
                    <a:lnTo>
                      <a:pt x="213" y="149"/>
                    </a:lnTo>
                    <a:lnTo>
                      <a:pt x="213" y="148"/>
                    </a:lnTo>
                    <a:lnTo>
                      <a:pt x="213" y="144"/>
                    </a:lnTo>
                    <a:lnTo>
                      <a:pt x="214" y="143"/>
                    </a:lnTo>
                    <a:lnTo>
                      <a:pt x="216" y="141"/>
                    </a:lnTo>
                    <a:lnTo>
                      <a:pt x="221" y="139"/>
                    </a:lnTo>
                    <a:lnTo>
                      <a:pt x="223" y="138"/>
                    </a:lnTo>
                    <a:lnTo>
                      <a:pt x="224" y="134"/>
                    </a:lnTo>
                    <a:lnTo>
                      <a:pt x="226" y="134"/>
                    </a:lnTo>
                    <a:lnTo>
                      <a:pt x="228" y="132"/>
                    </a:lnTo>
                    <a:lnTo>
                      <a:pt x="228" y="131"/>
                    </a:lnTo>
                    <a:lnTo>
                      <a:pt x="230" y="129"/>
                    </a:lnTo>
                    <a:lnTo>
                      <a:pt x="231" y="127"/>
                    </a:lnTo>
                    <a:lnTo>
                      <a:pt x="231" y="126"/>
                    </a:lnTo>
                    <a:lnTo>
                      <a:pt x="233" y="126"/>
                    </a:lnTo>
                    <a:lnTo>
                      <a:pt x="235" y="121"/>
                    </a:lnTo>
                    <a:lnTo>
                      <a:pt x="238" y="119"/>
                    </a:lnTo>
                    <a:lnTo>
                      <a:pt x="236" y="117"/>
                    </a:lnTo>
                    <a:lnTo>
                      <a:pt x="235" y="115"/>
                    </a:lnTo>
                    <a:lnTo>
                      <a:pt x="233" y="114"/>
                    </a:lnTo>
                    <a:lnTo>
                      <a:pt x="230" y="112"/>
                    </a:lnTo>
                    <a:lnTo>
                      <a:pt x="230" y="110"/>
                    </a:lnTo>
                    <a:lnTo>
                      <a:pt x="228" y="110"/>
                    </a:lnTo>
                    <a:lnTo>
                      <a:pt x="228" y="109"/>
                    </a:lnTo>
                    <a:lnTo>
                      <a:pt x="226" y="109"/>
                    </a:lnTo>
                    <a:lnTo>
                      <a:pt x="226" y="110"/>
                    </a:lnTo>
                    <a:lnTo>
                      <a:pt x="224" y="109"/>
                    </a:lnTo>
                    <a:lnTo>
                      <a:pt x="224" y="107"/>
                    </a:lnTo>
                    <a:lnTo>
                      <a:pt x="226" y="107"/>
                    </a:lnTo>
                    <a:lnTo>
                      <a:pt x="228" y="105"/>
                    </a:lnTo>
                    <a:lnTo>
                      <a:pt x="231" y="105"/>
                    </a:lnTo>
                    <a:lnTo>
                      <a:pt x="231" y="104"/>
                    </a:lnTo>
                    <a:lnTo>
                      <a:pt x="233" y="104"/>
                    </a:lnTo>
                    <a:lnTo>
                      <a:pt x="233" y="102"/>
                    </a:lnTo>
                    <a:lnTo>
                      <a:pt x="235" y="102"/>
                    </a:lnTo>
                    <a:lnTo>
                      <a:pt x="236" y="100"/>
                    </a:lnTo>
                    <a:lnTo>
                      <a:pt x="238" y="102"/>
                    </a:lnTo>
                    <a:lnTo>
                      <a:pt x="238" y="100"/>
                    </a:lnTo>
                    <a:lnTo>
                      <a:pt x="240" y="102"/>
                    </a:lnTo>
                    <a:lnTo>
                      <a:pt x="243" y="100"/>
                    </a:lnTo>
                    <a:lnTo>
                      <a:pt x="247" y="102"/>
                    </a:lnTo>
                    <a:lnTo>
                      <a:pt x="248" y="100"/>
                    </a:lnTo>
                    <a:lnTo>
                      <a:pt x="250" y="100"/>
                    </a:lnTo>
                    <a:lnTo>
                      <a:pt x="250" y="102"/>
                    </a:lnTo>
                    <a:lnTo>
                      <a:pt x="250" y="100"/>
                    </a:lnTo>
                    <a:lnTo>
                      <a:pt x="250" y="102"/>
                    </a:lnTo>
                    <a:lnTo>
                      <a:pt x="255" y="100"/>
                    </a:lnTo>
                    <a:lnTo>
                      <a:pt x="255" y="102"/>
                    </a:lnTo>
                    <a:lnTo>
                      <a:pt x="257" y="100"/>
                    </a:lnTo>
                    <a:lnTo>
                      <a:pt x="258" y="100"/>
                    </a:lnTo>
                    <a:lnTo>
                      <a:pt x="260" y="100"/>
                    </a:lnTo>
                    <a:lnTo>
                      <a:pt x="264" y="100"/>
                    </a:lnTo>
                    <a:lnTo>
                      <a:pt x="265" y="100"/>
                    </a:lnTo>
                    <a:lnTo>
                      <a:pt x="267" y="100"/>
                    </a:lnTo>
                    <a:lnTo>
                      <a:pt x="269" y="98"/>
                    </a:lnTo>
                    <a:lnTo>
                      <a:pt x="269" y="100"/>
                    </a:lnTo>
                    <a:lnTo>
                      <a:pt x="270" y="98"/>
                    </a:lnTo>
                    <a:lnTo>
                      <a:pt x="272" y="98"/>
                    </a:lnTo>
                    <a:lnTo>
                      <a:pt x="274" y="98"/>
                    </a:lnTo>
                    <a:lnTo>
                      <a:pt x="275" y="98"/>
                    </a:lnTo>
                    <a:lnTo>
                      <a:pt x="279" y="97"/>
                    </a:lnTo>
                    <a:lnTo>
                      <a:pt x="279" y="98"/>
                    </a:lnTo>
                    <a:lnTo>
                      <a:pt x="279" y="97"/>
                    </a:lnTo>
                    <a:lnTo>
                      <a:pt x="281" y="97"/>
                    </a:lnTo>
                    <a:lnTo>
                      <a:pt x="282" y="95"/>
                    </a:lnTo>
                    <a:lnTo>
                      <a:pt x="284" y="97"/>
                    </a:lnTo>
                    <a:lnTo>
                      <a:pt x="284" y="95"/>
                    </a:lnTo>
                    <a:lnTo>
                      <a:pt x="286" y="93"/>
                    </a:lnTo>
                    <a:lnTo>
                      <a:pt x="287" y="95"/>
                    </a:lnTo>
                    <a:lnTo>
                      <a:pt x="287" y="93"/>
                    </a:lnTo>
                    <a:lnTo>
                      <a:pt x="289" y="95"/>
                    </a:lnTo>
                    <a:lnTo>
                      <a:pt x="289" y="93"/>
                    </a:lnTo>
                    <a:lnTo>
                      <a:pt x="291" y="95"/>
                    </a:lnTo>
                    <a:lnTo>
                      <a:pt x="292" y="95"/>
                    </a:lnTo>
                    <a:lnTo>
                      <a:pt x="292" y="93"/>
                    </a:lnTo>
                    <a:lnTo>
                      <a:pt x="296" y="95"/>
                    </a:lnTo>
                    <a:lnTo>
                      <a:pt x="298" y="95"/>
                    </a:lnTo>
                    <a:lnTo>
                      <a:pt x="299" y="95"/>
                    </a:lnTo>
                    <a:lnTo>
                      <a:pt x="301" y="95"/>
                    </a:lnTo>
                    <a:lnTo>
                      <a:pt x="303" y="93"/>
                    </a:lnTo>
                    <a:lnTo>
                      <a:pt x="304" y="93"/>
                    </a:lnTo>
                    <a:lnTo>
                      <a:pt x="306" y="92"/>
                    </a:lnTo>
                    <a:lnTo>
                      <a:pt x="309" y="90"/>
                    </a:lnTo>
                    <a:lnTo>
                      <a:pt x="308" y="87"/>
                    </a:lnTo>
                    <a:lnTo>
                      <a:pt x="309" y="87"/>
                    </a:lnTo>
                    <a:lnTo>
                      <a:pt x="309" y="83"/>
                    </a:lnTo>
                    <a:lnTo>
                      <a:pt x="311" y="85"/>
                    </a:lnTo>
                    <a:lnTo>
                      <a:pt x="313" y="85"/>
                    </a:lnTo>
                    <a:lnTo>
                      <a:pt x="315" y="87"/>
                    </a:lnTo>
                    <a:lnTo>
                      <a:pt x="316" y="81"/>
                    </a:lnTo>
                    <a:lnTo>
                      <a:pt x="321" y="81"/>
                    </a:lnTo>
                    <a:lnTo>
                      <a:pt x="321" y="80"/>
                    </a:lnTo>
                    <a:lnTo>
                      <a:pt x="323" y="80"/>
                    </a:lnTo>
                    <a:lnTo>
                      <a:pt x="325" y="80"/>
                    </a:lnTo>
                    <a:lnTo>
                      <a:pt x="325" y="78"/>
                    </a:lnTo>
                    <a:lnTo>
                      <a:pt x="325" y="76"/>
                    </a:lnTo>
                    <a:lnTo>
                      <a:pt x="326" y="76"/>
                    </a:lnTo>
                    <a:lnTo>
                      <a:pt x="326" y="75"/>
                    </a:lnTo>
                    <a:lnTo>
                      <a:pt x="328" y="75"/>
                    </a:lnTo>
                    <a:lnTo>
                      <a:pt x="330" y="75"/>
                    </a:lnTo>
                    <a:lnTo>
                      <a:pt x="328" y="75"/>
                    </a:lnTo>
                    <a:lnTo>
                      <a:pt x="330" y="73"/>
                    </a:lnTo>
                    <a:lnTo>
                      <a:pt x="332" y="73"/>
                    </a:lnTo>
                    <a:lnTo>
                      <a:pt x="332" y="69"/>
                    </a:lnTo>
                    <a:lnTo>
                      <a:pt x="332" y="71"/>
                    </a:lnTo>
                    <a:lnTo>
                      <a:pt x="333" y="69"/>
                    </a:lnTo>
                    <a:lnTo>
                      <a:pt x="332" y="69"/>
                    </a:lnTo>
                    <a:lnTo>
                      <a:pt x="333" y="68"/>
                    </a:lnTo>
                    <a:lnTo>
                      <a:pt x="332" y="68"/>
                    </a:lnTo>
                    <a:lnTo>
                      <a:pt x="333" y="68"/>
                    </a:lnTo>
                    <a:lnTo>
                      <a:pt x="333" y="66"/>
                    </a:lnTo>
                    <a:lnTo>
                      <a:pt x="333" y="64"/>
                    </a:lnTo>
                    <a:lnTo>
                      <a:pt x="335" y="64"/>
                    </a:lnTo>
                    <a:lnTo>
                      <a:pt x="335" y="63"/>
                    </a:lnTo>
                    <a:lnTo>
                      <a:pt x="335" y="61"/>
                    </a:lnTo>
                    <a:lnTo>
                      <a:pt x="337" y="63"/>
                    </a:lnTo>
                    <a:lnTo>
                      <a:pt x="340" y="61"/>
                    </a:lnTo>
                    <a:lnTo>
                      <a:pt x="340" y="59"/>
                    </a:lnTo>
                    <a:lnTo>
                      <a:pt x="342" y="58"/>
                    </a:lnTo>
                    <a:lnTo>
                      <a:pt x="343" y="56"/>
                    </a:lnTo>
                    <a:lnTo>
                      <a:pt x="343" y="52"/>
                    </a:lnTo>
                    <a:lnTo>
                      <a:pt x="347" y="52"/>
                    </a:lnTo>
                    <a:lnTo>
                      <a:pt x="347" y="51"/>
                    </a:lnTo>
                    <a:lnTo>
                      <a:pt x="349" y="52"/>
                    </a:lnTo>
                    <a:lnTo>
                      <a:pt x="349" y="51"/>
                    </a:lnTo>
                    <a:lnTo>
                      <a:pt x="350" y="51"/>
                    </a:lnTo>
                    <a:lnTo>
                      <a:pt x="350" y="52"/>
                    </a:lnTo>
                    <a:lnTo>
                      <a:pt x="352" y="51"/>
                    </a:lnTo>
                    <a:lnTo>
                      <a:pt x="352" y="52"/>
                    </a:lnTo>
                    <a:lnTo>
                      <a:pt x="354" y="51"/>
                    </a:lnTo>
                    <a:lnTo>
                      <a:pt x="354" y="47"/>
                    </a:lnTo>
                    <a:lnTo>
                      <a:pt x="355" y="49"/>
                    </a:lnTo>
                    <a:lnTo>
                      <a:pt x="355" y="46"/>
                    </a:lnTo>
                    <a:lnTo>
                      <a:pt x="357" y="46"/>
                    </a:lnTo>
                    <a:lnTo>
                      <a:pt x="355" y="44"/>
                    </a:lnTo>
                    <a:lnTo>
                      <a:pt x="357" y="44"/>
                    </a:lnTo>
                    <a:lnTo>
                      <a:pt x="357" y="42"/>
                    </a:lnTo>
                    <a:lnTo>
                      <a:pt x="359" y="42"/>
                    </a:lnTo>
                    <a:lnTo>
                      <a:pt x="359" y="41"/>
                    </a:lnTo>
                    <a:lnTo>
                      <a:pt x="360" y="39"/>
                    </a:lnTo>
                    <a:lnTo>
                      <a:pt x="362" y="41"/>
                    </a:lnTo>
                    <a:lnTo>
                      <a:pt x="364" y="41"/>
                    </a:lnTo>
                    <a:lnTo>
                      <a:pt x="366" y="39"/>
                    </a:lnTo>
                    <a:lnTo>
                      <a:pt x="367" y="39"/>
                    </a:lnTo>
                    <a:lnTo>
                      <a:pt x="367" y="37"/>
                    </a:lnTo>
                    <a:lnTo>
                      <a:pt x="367" y="35"/>
                    </a:lnTo>
                    <a:lnTo>
                      <a:pt x="369" y="37"/>
                    </a:lnTo>
                    <a:lnTo>
                      <a:pt x="371" y="34"/>
                    </a:lnTo>
                    <a:lnTo>
                      <a:pt x="371" y="32"/>
                    </a:lnTo>
                    <a:lnTo>
                      <a:pt x="371" y="30"/>
                    </a:lnTo>
                    <a:lnTo>
                      <a:pt x="372" y="29"/>
                    </a:lnTo>
                    <a:lnTo>
                      <a:pt x="371" y="29"/>
                    </a:lnTo>
                    <a:lnTo>
                      <a:pt x="371" y="27"/>
                    </a:lnTo>
                    <a:lnTo>
                      <a:pt x="369" y="25"/>
                    </a:lnTo>
                    <a:lnTo>
                      <a:pt x="371" y="22"/>
                    </a:lnTo>
                    <a:lnTo>
                      <a:pt x="371" y="18"/>
                    </a:lnTo>
                    <a:lnTo>
                      <a:pt x="371" y="17"/>
                    </a:lnTo>
                    <a:lnTo>
                      <a:pt x="372" y="18"/>
                    </a:lnTo>
                    <a:lnTo>
                      <a:pt x="372" y="17"/>
                    </a:lnTo>
                    <a:lnTo>
                      <a:pt x="374" y="13"/>
                    </a:lnTo>
                    <a:lnTo>
                      <a:pt x="372" y="12"/>
                    </a:lnTo>
                    <a:lnTo>
                      <a:pt x="374" y="12"/>
                    </a:lnTo>
                    <a:lnTo>
                      <a:pt x="372" y="10"/>
                    </a:lnTo>
                    <a:lnTo>
                      <a:pt x="374" y="10"/>
                    </a:lnTo>
                    <a:lnTo>
                      <a:pt x="376" y="8"/>
                    </a:lnTo>
                    <a:lnTo>
                      <a:pt x="377" y="8"/>
                    </a:lnTo>
                    <a:lnTo>
                      <a:pt x="377" y="7"/>
                    </a:lnTo>
                    <a:lnTo>
                      <a:pt x="379" y="7"/>
                    </a:lnTo>
                    <a:lnTo>
                      <a:pt x="381" y="8"/>
                    </a:lnTo>
                    <a:lnTo>
                      <a:pt x="381" y="7"/>
                    </a:lnTo>
                    <a:lnTo>
                      <a:pt x="381" y="8"/>
                    </a:lnTo>
                    <a:lnTo>
                      <a:pt x="383" y="7"/>
                    </a:lnTo>
                    <a:lnTo>
                      <a:pt x="384" y="5"/>
                    </a:lnTo>
                    <a:lnTo>
                      <a:pt x="386" y="7"/>
                    </a:lnTo>
                    <a:lnTo>
                      <a:pt x="388" y="5"/>
                    </a:lnTo>
                    <a:lnTo>
                      <a:pt x="391" y="7"/>
                    </a:lnTo>
                    <a:lnTo>
                      <a:pt x="393" y="7"/>
                    </a:lnTo>
                    <a:lnTo>
                      <a:pt x="393" y="5"/>
                    </a:lnTo>
                    <a:lnTo>
                      <a:pt x="398" y="3"/>
                    </a:lnTo>
                    <a:lnTo>
                      <a:pt x="400" y="3"/>
                    </a:lnTo>
                    <a:lnTo>
                      <a:pt x="400" y="1"/>
                    </a:lnTo>
                    <a:lnTo>
                      <a:pt x="405" y="1"/>
                    </a:lnTo>
                    <a:lnTo>
                      <a:pt x="406" y="0"/>
                    </a:lnTo>
                    <a:lnTo>
                      <a:pt x="410" y="0"/>
                    </a:lnTo>
                    <a:lnTo>
                      <a:pt x="413" y="1"/>
                    </a:lnTo>
                    <a:lnTo>
                      <a:pt x="415" y="0"/>
                    </a:lnTo>
                    <a:lnTo>
                      <a:pt x="420" y="1"/>
                    </a:lnTo>
                    <a:lnTo>
                      <a:pt x="422" y="1"/>
                    </a:lnTo>
                    <a:lnTo>
                      <a:pt x="423" y="1"/>
                    </a:lnTo>
                    <a:lnTo>
                      <a:pt x="423" y="3"/>
                    </a:lnTo>
                    <a:lnTo>
                      <a:pt x="425" y="3"/>
                    </a:lnTo>
                    <a:lnTo>
                      <a:pt x="428" y="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69" name="Freeform 19">
                <a:extLst>
                  <a:ext uri="{FF2B5EF4-FFF2-40B4-BE49-F238E27FC236}">
                    <a16:creationId xmlns:a16="http://schemas.microsoft.com/office/drawing/2014/main" id="{265F30FC-F49F-42D2-92DC-83FA081C82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659276" y="1566797"/>
                <a:ext cx="846112" cy="1287411"/>
              </a:xfrm>
              <a:custGeom>
                <a:avLst/>
                <a:gdLst>
                  <a:gd name="T0" fmla="*/ 458 w 533"/>
                  <a:gd name="T1" fmla="*/ 631 h 811"/>
                  <a:gd name="T2" fmla="*/ 436 w 533"/>
                  <a:gd name="T3" fmla="*/ 636 h 811"/>
                  <a:gd name="T4" fmla="*/ 425 w 533"/>
                  <a:gd name="T5" fmla="*/ 639 h 811"/>
                  <a:gd name="T6" fmla="*/ 419 w 533"/>
                  <a:gd name="T7" fmla="*/ 648 h 811"/>
                  <a:gd name="T8" fmla="*/ 419 w 533"/>
                  <a:gd name="T9" fmla="*/ 665 h 811"/>
                  <a:gd name="T10" fmla="*/ 407 w 533"/>
                  <a:gd name="T11" fmla="*/ 672 h 811"/>
                  <a:gd name="T12" fmla="*/ 402 w 533"/>
                  <a:gd name="T13" fmla="*/ 682 h 811"/>
                  <a:gd name="T14" fmla="*/ 391 w 533"/>
                  <a:gd name="T15" fmla="*/ 683 h 811"/>
                  <a:gd name="T16" fmla="*/ 381 w 533"/>
                  <a:gd name="T17" fmla="*/ 695 h 811"/>
                  <a:gd name="T18" fmla="*/ 380 w 533"/>
                  <a:gd name="T19" fmla="*/ 704 h 811"/>
                  <a:gd name="T20" fmla="*/ 373 w 533"/>
                  <a:gd name="T21" fmla="*/ 711 h 811"/>
                  <a:gd name="T22" fmla="*/ 357 w 533"/>
                  <a:gd name="T23" fmla="*/ 718 h 811"/>
                  <a:gd name="T24" fmla="*/ 344 w 533"/>
                  <a:gd name="T25" fmla="*/ 726 h 811"/>
                  <a:gd name="T26" fmla="*/ 332 w 533"/>
                  <a:gd name="T27" fmla="*/ 726 h 811"/>
                  <a:gd name="T28" fmla="*/ 320 w 533"/>
                  <a:gd name="T29" fmla="*/ 729 h 811"/>
                  <a:gd name="T30" fmla="*/ 305 w 533"/>
                  <a:gd name="T31" fmla="*/ 731 h 811"/>
                  <a:gd name="T32" fmla="*/ 291 w 533"/>
                  <a:gd name="T33" fmla="*/ 731 h 811"/>
                  <a:gd name="T34" fmla="*/ 279 w 533"/>
                  <a:gd name="T35" fmla="*/ 736 h 811"/>
                  <a:gd name="T36" fmla="*/ 278 w 533"/>
                  <a:gd name="T37" fmla="*/ 741 h 811"/>
                  <a:gd name="T38" fmla="*/ 279 w 533"/>
                  <a:gd name="T39" fmla="*/ 758 h 811"/>
                  <a:gd name="T40" fmla="*/ 262 w 533"/>
                  <a:gd name="T41" fmla="*/ 774 h 811"/>
                  <a:gd name="T42" fmla="*/ 213 w 533"/>
                  <a:gd name="T43" fmla="*/ 784 h 811"/>
                  <a:gd name="T44" fmla="*/ 201 w 533"/>
                  <a:gd name="T45" fmla="*/ 789 h 811"/>
                  <a:gd name="T46" fmla="*/ 193 w 533"/>
                  <a:gd name="T47" fmla="*/ 796 h 811"/>
                  <a:gd name="T48" fmla="*/ 182 w 533"/>
                  <a:gd name="T49" fmla="*/ 801 h 811"/>
                  <a:gd name="T50" fmla="*/ 170 w 533"/>
                  <a:gd name="T51" fmla="*/ 806 h 811"/>
                  <a:gd name="T52" fmla="*/ 159 w 533"/>
                  <a:gd name="T53" fmla="*/ 789 h 811"/>
                  <a:gd name="T54" fmla="*/ 140 w 533"/>
                  <a:gd name="T55" fmla="*/ 803 h 811"/>
                  <a:gd name="T56" fmla="*/ 106 w 533"/>
                  <a:gd name="T57" fmla="*/ 808 h 811"/>
                  <a:gd name="T58" fmla="*/ 102 w 533"/>
                  <a:gd name="T59" fmla="*/ 792 h 811"/>
                  <a:gd name="T60" fmla="*/ 77 w 533"/>
                  <a:gd name="T61" fmla="*/ 748 h 811"/>
                  <a:gd name="T62" fmla="*/ 57 w 533"/>
                  <a:gd name="T63" fmla="*/ 733 h 811"/>
                  <a:gd name="T64" fmla="*/ 38 w 533"/>
                  <a:gd name="T65" fmla="*/ 712 h 811"/>
                  <a:gd name="T66" fmla="*/ 29 w 533"/>
                  <a:gd name="T67" fmla="*/ 694 h 811"/>
                  <a:gd name="T68" fmla="*/ 65 w 533"/>
                  <a:gd name="T69" fmla="*/ 685 h 811"/>
                  <a:gd name="T70" fmla="*/ 113 w 533"/>
                  <a:gd name="T71" fmla="*/ 682 h 811"/>
                  <a:gd name="T72" fmla="*/ 85 w 533"/>
                  <a:gd name="T73" fmla="*/ 649 h 811"/>
                  <a:gd name="T74" fmla="*/ 82 w 533"/>
                  <a:gd name="T75" fmla="*/ 626 h 811"/>
                  <a:gd name="T76" fmla="*/ 80 w 533"/>
                  <a:gd name="T77" fmla="*/ 609 h 811"/>
                  <a:gd name="T78" fmla="*/ 82 w 533"/>
                  <a:gd name="T79" fmla="*/ 593 h 811"/>
                  <a:gd name="T80" fmla="*/ 80 w 533"/>
                  <a:gd name="T81" fmla="*/ 581 h 811"/>
                  <a:gd name="T82" fmla="*/ 72 w 533"/>
                  <a:gd name="T83" fmla="*/ 573 h 811"/>
                  <a:gd name="T84" fmla="*/ 65 w 533"/>
                  <a:gd name="T85" fmla="*/ 546 h 811"/>
                  <a:gd name="T86" fmla="*/ 55 w 533"/>
                  <a:gd name="T87" fmla="*/ 541 h 811"/>
                  <a:gd name="T88" fmla="*/ 19 w 533"/>
                  <a:gd name="T89" fmla="*/ 510 h 811"/>
                  <a:gd name="T90" fmla="*/ 11 w 533"/>
                  <a:gd name="T91" fmla="*/ 447 h 811"/>
                  <a:gd name="T92" fmla="*/ 77 w 533"/>
                  <a:gd name="T93" fmla="*/ 359 h 811"/>
                  <a:gd name="T94" fmla="*/ 121 w 533"/>
                  <a:gd name="T95" fmla="*/ 151 h 811"/>
                  <a:gd name="T96" fmla="*/ 87 w 533"/>
                  <a:gd name="T97" fmla="*/ 100 h 811"/>
                  <a:gd name="T98" fmla="*/ 284 w 533"/>
                  <a:gd name="T99" fmla="*/ 75 h 811"/>
                  <a:gd name="T100" fmla="*/ 533 w 533"/>
                  <a:gd name="T101" fmla="*/ 326 h 811"/>
                  <a:gd name="T102" fmla="*/ 495 w 533"/>
                  <a:gd name="T103" fmla="*/ 393 h 811"/>
                  <a:gd name="T104" fmla="*/ 483 w 533"/>
                  <a:gd name="T105" fmla="*/ 416 h 811"/>
                  <a:gd name="T106" fmla="*/ 468 w 533"/>
                  <a:gd name="T107" fmla="*/ 433 h 811"/>
                  <a:gd name="T108" fmla="*/ 454 w 533"/>
                  <a:gd name="T109" fmla="*/ 464 h 811"/>
                  <a:gd name="T110" fmla="*/ 444 w 533"/>
                  <a:gd name="T111" fmla="*/ 481 h 811"/>
                  <a:gd name="T112" fmla="*/ 446 w 533"/>
                  <a:gd name="T113" fmla="*/ 512 h 811"/>
                  <a:gd name="T114" fmla="*/ 424 w 533"/>
                  <a:gd name="T115" fmla="*/ 539 h 811"/>
                  <a:gd name="T116" fmla="*/ 451 w 533"/>
                  <a:gd name="T117" fmla="*/ 547 h 811"/>
                  <a:gd name="T118" fmla="*/ 456 w 533"/>
                  <a:gd name="T119" fmla="*/ 578 h 811"/>
                  <a:gd name="T120" fmla="*/ 471 w 533"/>
                  <a:gd name="T121" fmla="*/ 610 h 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33" h="811">
                    <a:moveTo>
                      <a:pt x="476" y="634"/>
                    </a:moveTo>
                    <a:lnTo>
                      <a:pt x="473" y="634"/>
                    </a:lnTo>
                    <a:lnTo>
                      <a:pt x="471" y="634"/>
                    </a:lnTo>
                    <a:lnTo>
                      <a:pt x="471" y="632"/>
                    </a:lnTo>
                    <a:lnTo>
                      <a:pt x="470" y="632"/>
                    </a:lnTo>
                    <a:lnTo>
                      <a:pt x="468" y="632"/>
                    </a:lnTo>
                    <a:lnTo>
                      <a:pt x="463" y="631"/>
                    </a:lnTo>
                    <a:lnTo>
                      <a:pt x="461" y="632"/>
                    </a:lnTo>
                    <a:lnTo>
                      <a:pt x="458" y="631"/>
                    </a:lnTo>
                    <a:lnTo>
                      <a:pt x="454" y="631"/>
                    </a:lnTo>
                    <a:lnTo>
                      <a:pt x="453" y="632"/>
                    </a:lnTo>
                    <a:lnTo>
                      <a:pt x="448" y="632"/>
                    </a:lnTo>
                    <a:lnTo>
                      <a:pt x="448" y="634"/>
                    </a:lnTo>
                    <a:lnTo>
                      <a:pt x="446" y="634"/>
                    </a:lnTo>
                    <a:lnTo>
                      <a:pt x="441" y="636"/>
                    </a:lnTo>
                    <a:lnTo>
                      <a:pt x="441" y="638"/>
                    </a:lnTo>
                    <a:lnTo>
                      <a:pt x="439" y="638"/>
                    </a:lnTo>
                    <a:lnTo>
                      <a:pt x="436" y="636"/>
                    </a:lnTo>
                    <a:lnTo>
                      <a:pt x="434" y="638"/>
                    </a:lnTo>
                    <a:lnTo>
                      <a:pt x="432" y="636"/>
                    </a:lnTo>
                    <a:lnTo>
                      <a:pt x="431" y="638"/>
                    </a:lnTo>
                    <a:lnTo>
                      <a:pt x="429" y="639"/>
                    </a:lnTo>
                    <a:lnTo>
                      <a:pt x="429" y="638"/>
                    </a:lnTo>
                    <a:lnTo>
                      <a:pt x="429" y="639"/>
                    </a:lnTo>
                    <a:lnTo>
                      <a:pt x="427" y="638"/>
                    </a:lnTo>
                    <a:lnTo>
                      <a:pt x="425" y="638"/>
                    </a:lnTo>
                    <a:lnTo>
                      <a:pt x="425" y="639"/>
                    </a:lnTo>
                    <a:lnTo>
                      <a:pt x="424" y="639"/>
                    </a:lnTo>
                    <a:lnTo>
                      <a:pt x="422" y="641"/>
                    </a:lnTo>
                    <a:lnTo>
                      <a:pt x="420" y="641"/>
                    </a:lnTo>
                    <a:lnTo>
                      <a:pt x="422" y="643"/>
                    </a:lnTo>
                    <a:lnTo>
                      <a:pt x="420" y="643"/>
                    </a:lnTo>
                    <a:lnTo>
                      <a:pt x="422" y="644"/>
                    </a:lnTo>
                    <a:lnTo>
                      <a:pt x="420" y="648"/>
                    </a:lnTo>
                    <a:lnTo>
                      <a:pt x="420" y="649"/>
                    </a:lnTo>
                    <a:lnTo>
                      <a:pt x="419" y="648"/>
                    </a:lnTo>
                    <a:lnTo>
                      <a:pt x="419" y="649"/>
                    </a:lnTo>
                    <a:lnTo>
                      <a:pt x="419" y="653"/>
                    </a:lnTo>
                    <a:lnTo>
                      <a:pt x="417" y="656"/>
                    </a:lnTo>
                    <a:lnTo>
                      <a:pt x="419" y="658"/>
                    </a:lnTo>
                    <a:lnTo>
                      <a:pt x="419" y="660"/>
                    </a:lnTo>
                    <a:lnTo>
                      <a:pt x="420" y="660"/>
                    </a:lnTo>
                    <a:lnTo>
                      <a:pt x="419" y="661"/>
                    </a:lnTo>
                    <a:lnTo>
                      <a:pt x="419" y="663"/>
                    </a:lnTo>
                    <a:lnTo>
                      <a:pt x="419" y="665"/>
                    </a:lnTo>
                    <a:lnTo>
                      <a:pt x="417" y="668"/>
                    </a:lnTo>
                    <a:lnTo>
                      <a:pt x="415" y="666"/>
                    </a:lnTo>
                    <a:lnTo>
                      <a:pt x="415" y="668"/>
                    </a:lnTo>
                    <a:lnTo>
                      <a:pt x="415" y="670"/>
                    </a:lnTo>
                    <a:lnTo>
                      <a:pt x="414" y="670"/>
                    </a:lnTo>
                    <a:lnTo>
                      <a:pt x="412" y="672"/>
                    </a:lnTo>
                    <a:lnTo>
                      <a:pt x="410" y="672"/>
                    </a:lnTo>
                    <a:lnTo>
                      <a:pt x="408" y="670"/>
                    </a:lnTo>
                    <a:lnTo>
                      <a:pt x="407" y="672"/>
                    </a:lnTo>
                    <a:lnTo>
                      <a:pt x="407" y="673"/>
                    </a:lnTo>
                    <a:lnTo>
                      <a:pt x="405" y="673"/>
                    </a:lnTo>
                    <a:lnTo>
                      <a:pt x="405" y="675"/>
                    </a:lnTo>
                    <a:lnTo>
                      <a:pt x="403" y="675"/>
                    </a:lnTo>
                    <a:lnTo>
                      <a:pt x="405" y="677"/>
                    </a:lnTo>
                    <a:lnTo>
                      <a:pt x="403" y="677"/>
                    </a:lnTo>
                    <a:lnTo>
                      <a:pt x="403" y="680"/>
                    </a:lnTo>
                    <a:lnTo>
                      <a:pt x="402" y="678"/>
                    </a:lnTo>
                    <a:lnTo>
                      <a:pt x="402" y="682"/>
                    </a:lnTo>
                    <a:lnTo>
                      <a:pt x="400" y="683"/>
                    </a:lnTo>
                    <a:lnTo>
                      <a:pt x="400" y="682"/>
                    </a:lnTo>
                    <a:lnTo>
                      <a:pt x="398" y="683"/>
                    </a:lnTo>
                    <a:lnTo>
                      <a:pt x="398" y="682"/>
                    </a:lnTo>
                    <a:lnTo>
                      <a:pt x="397" y="682"/>
                    </a:lnTo>
                    <a:lnTo>
                      <a:pt x="397" y="683"/>
                    </a:lnTo>
                    <a:lnTo>
                      <a:pt x="395" y="682"/>
                    </a:lnTo>
                    <a:lnTo>
                      <a:pt x="395" y="683"/>
                    </a:lnTo>
                    <a:lnTo>
                      <a:pt x="391" y="683"/>
                    </a:lnTo>
                    <a:lnTo>
                      <a:pt x="391" y="687"/>
                    </a:lnTo>
                    <a:lnTo>
                      <a:pt x="390" y="689"/>
                    </a:lnTo>
                    <a:lnTo>
                      <a:pt x="388" y="690"/>
                    </a:lnTo>
                    <a:lnTo>
                      <a:pt x="388" y="692"/>
                    </a:lnTo>
                    <a:lnTo>
                      <a:pt x="385" y="694"/>
                    </a:lnTo>
                    <a:lnTo>
                      <a:pt x="383" y="692"/>
                    </a:lnTo>
                    <a:lnTo>
                      <a:pt x="383" y="694"/>
                    </a:lnTo>
                    <a:lnTo>
                      <a:pt x="383" y="695"/>
                    </a:lnTo>
                    <a:lnTo>
                      <a:pt x="381" y="695"/>
                    </a:lnTo>
                    <a:lnTo>
                      <a:pt x="381" y="697"/>
                    </a:lnTo>
                    <a:lnTo>
                      <a:pt x="381" y="699"/>
                    </a:lnTo>
                    <a:lnTo>
                      <a:pt x="380" y="699"/>
                    </a:lnTo>
                    <a:lnTo>
                      <a:pt x="381" y="699"/>
                    </a:lnTo>
                    <a:lnTo>
                      <a:pt x="380" y="700"/>
                    </a:lnTo>
                    <a:lnTo>
                      <a:pt x="381" y="700"/>
                    </a:lnTo>
                    <a:lnTo>
                      <a:pt x="380" y="702"/>
                    </a:lnTo>
                    <a:lnTo>
                      <a:pt x="380" y="700"/>
                    </a:lnTo>
                    <a:lnTo>
                      <a:pt x="380" y="704"/>
                    </a:lnTo>
                    <a:lnTo>
                      <a:pt x="378" y="704"/>
                    </a:lnTo>
                    <a:lnTo>
                      <a:pt x="376" y="706"/>
                    </a:lnTo>
                    <a:lnTo>
                      <a:pt x="378" y="706"/>
                    </a:lnTo>
                    <a:lnTo>
                      <a:pt x="376" y="706"/>
                    </a:lnTo>
                    <a:lnTo>
                      <a:pt x="374" y="706"/>
                    </a:lnTo>
                    <a:lnTo>
                      <a:pt x="374" y="707"/>
                    </a:lnTo>
                    <a:lnTo>
                      <a:pt x="373" y="707"/>
                    </a:lnTo>
                    <a:lnTo>
                      <a:pt x="373" y="709"/>
                    </a:lnTo>
                    <a:lnTo>
                      <a:pt x="373" y="711"/>
                    </a:lnTo>
                    <a:lnTo>
                      <a:pt x="371" y="711"/>
                    </a:lnTo>
                    <a:lnTo>
                      <a:pt x="369" y="711"/>
                    </a:lnTo>
                    <a:lnTo>
                      <a:pt x="369" y="712"/>
                    </a:lnTo>
                    <a:lnTo>
                      <a:pt x="364" y="712"/>
                    </a:lnTo>
                    <a:lnTo>
                      <a:pt x="363" y="718"/>
                    </a:lnTo>
                    <a:lnTo>
                      <a:pt x="361" y="716"/>
                    </a:lnTo>
                    <a:lnTo>
                      <a:pt x="359" y="716"/>
                    </a:lnTo>
                    <a:lnTo>
                      <a:pt x="357" y="714"/>
                    </a:lnTo>
                    <a:lnTo>
                      <a:pt x="357" y="718"/>
                    </a:lnTo>
                    <a:lnTo>
                      <a:pt x="356" y="718"/>
                    </a:lnTo>
                    <a:lnTo>
                      <a:pt x="357" y="721"/>
                    </a:lnTo>
                    <a:lnTo>
                      <a:pt x="354" y="723"/>
                    </a:lnTo>
                    <a:lnTo>
                      <a:pt x="352" y="724"/>
                    </a:lnTo>
                    <a:lnTo>
                      <a:pt x="351" y="724"/>
                    </a:lnTo>
                    <a:lnTo>
                      <a:pt x="349" y="726"/>
                    </a:lnTo>
                    <a:lnTo>
                      <a:pt x="347" y="726"/>
                    </a:lnTo>
                    <a:lnTo>
                      <a:pt x="346" y="726"/>
                    </a:lnTo>
                    <a:lnTo>
                      <a:pt x="344" y="726"/>
                    </a:lnTo>
                    <a:lnTo>
                      <a:pt x="340" y="724"/>
                    </a:lnTo>
                    <a:lnTo>
                      <a:pt x="340" y="726"/>
                    </a:lnTo>
                    <a:lnTo>
                      <a:pt x="339" y="726"/>
                    </a:lnTo>
                    <a:lnTo>
                      <a:pt x="337" y="724"/>
                    </a:lnTo>
                    <a:lnTo>
                      <a:pt x="337" y="726"/>
                    </a:lnTo>
                    <a:lnTo>
                      <a:pt x="335" y="724"/>
                    </a:lnTo>
                    <a:lnTo>
                      <a:pt x="335" y="726"/>
                    </a:lnTo>
                    <a:lnTo>
                      <a:pt x="334" y="724"/>
                    </a:lnTo>
                    <a:lnTo>
                      <a:pt x="332" y="726"/>
                    </a:lnTo>
                    <a:lnTo>
                      <a:pt x="332" y="728"/>
                    </a:lnTo>
                    <a:lnTo>
                      <a:pt x="330" y="726"/>
                    </a:lnTo>
                    <a:lnTo>
                      <a:pt x="329" y="728"/>
                    </a:lnTo>
                    <a:lnTo>
                      <a:pt x="327" y="728"/>
                    </a:lnTo>
                    <a:lnTo>
                      <a:pt x="327" y="729"/>
                    </a:lnTo>
                    <a:lnTo>
                      <a:pt x="327" y="728"/>
                    </a:lnTo>
                    <a:lnTo>
                      <a:pt x="323" y="729"/>
                    </a:lnTo>
                    <a:lnTo>
                      <a:pt x="322" y="729"/>
                    </a:lnTo>
                    <a:lnTo>
                      <a:pt x="320" y="729"/>
                    </a:lnTo>
                    <a:lnTo>
                      <a:pt x="318" y="729"/>
                    </a:lnTo>
                    <a:lnTo>
                      <a:pt x="317" y="731"/>
                    </a:lnTo>
                    <a:lnTo>
                      <a:pt x="317" y="729"/>
                    </a:lnTo>
                    <a:lnTo>
                      <a:pt x="315" y="731"/>
                    </a:lnTo>
                    <a:lnTo>
                      <a:pt x="313" y="731"/>
                    </a:lnTo>
                    <a:lnTo>
                      <a:pt x="312" y="731"/>
                    </a:lnTo>
                    <a:lnTo>
                      <a:pt x="308" y="731"/>
                    </a:lnTo>
                    <a:lnTo>
                      <a:pt x="306" y="731"/>
                    </a:lnTo>
                    <a:lnTo>
                      <a:pt x="305" y="731"/>
                    </a:lnTo>
                    <a:lnTo>
                      <a:pt x="303" y="733"/>
                    </a:lnTo>
                    <a:lnTo>
                      <a:pt x="303" y="731"/>
                    </a:lnTo>
                    <a:lnTo>
                      <a:pt x="298" y="733"/>
                    </a:lnTo>
                    <a:lnTo>
                      <a:pt x="298" y="731"/>
                    </a:lnTo>
                    <a:lnTo>
                      <a:pt x="298" y="733"/>
                    </a:lnTo>
                    <a:lnTo>
                      <a:pt x="298" y="731"/>
                    </a:lnTo>
                    <a:lnTo>
                      <a:pt x="296" y="731"/>
                    </a:lnTo>
                    <a:lnTo>
                      <a:pt x="295" y="733"/>
                    </a:lnTo>
                    <a:lnTo>
                      <a:pt x="291" y="731"/>
                    </a:lnTo>
                    <a:lnTo>
                      <a:pt x="288" y="733"/>
                    </a:lnTo>
                    <a:lnTo>
                      <a:pt x="286" y="731"/>
                    </a:lnTo>
                    <a:lnTo>
                      <a:pt x="286" y="733"/>
                    </a:lnTo>
                    <a:lnTo>
                      <a:pt x="284" y="731"/>
                    </a:lnTo>
                    <a:lnTo>
                      <a:pt x="283" y="733"/>
                    </a:lnTo>
                    <a:lnTo>
                      <a:pt x="281" y="733"/>
                    </a:lnTo>
                    <a:lnTo>
                      <a:pt x="281" y="735"/>
                    </a:lnTo>
                    <a:lnTo>
                      <a:pt x="279" y="735"/>
                    </a:lnTo>
                    <a:lnTo>
                      <a:pt x="279" y="736"/>
                    </a:lnTo>
                    <a:lnTo>
                      <a:pt x="276" y="736"/>
                    </a:lnTo>
                    <a:lnTo>
                      <a:pt x="274" y="738"/>
                    </a:lnTo>
                    <a:lnTo>
                      <a:pt x="272" y="738"/>
                    </a:lnTo>
                    <a:lnTo>
                      <a:pt x="272" y="740"/>
                    </a:lnTo>
                    <a:lnTo>
                      <a:pt x="274" y="741"/>
                    </a:lnTo>
                    <a:lnTo>
                      <a:pt x="274" y="740"/>
                    </a:lnTo>
                    <a:lnTo>
                      <a:pt x="276" y="740"/>
                    </a:lnTo>
                    <a:lnTo>
                      <a:pt x="276" y="741"/>
                    </a:lnTo>
                    <a:lnTo>
                      <a:pt x="278" y="741"/>
                    </a:lnTo>
                    <a:lnTo>
                      <a:pt x="278" y="743"/>
                    </a:lnTo>
                    <a:lnTo>
                      <a:pt x="281" y="745"/>
                    </a:lnTo>
                    <a:lnTo>
                      <a:pt x="283" y="746"/>
                    </a:lnTo>
                    <a:lnTo>
                      <a:pt x="284" y="748"/>
                    </a:lnTo>
                    <a:lnTo>
                      <a:pt x="286" y="750"/>
                    </a:lnTo>
                    <a:lnTo>
                      <a:pt x="283" y="752"/>
                    </a:lnTo>
                    <a:lnTo>
                      <a:pt x="281" y="757"/>
                    </a:lnTo>
                    <a:lnTo>
                      <a:pt x="279" y="757"/>
                    </a:lnTo>
                    <a:lnTo>
                      <a:pt x="279" y="758"/>
                    </a:lnTo>
                    <a:lnTo>
                      <a:pt x="278" y="760"/>
                    </a:lnTo>
                    <a:lnTo>
                      <a:pt x="276" y="762"/>
                    </a:lnTo>
                    <a:lnTo>
                      <a:pt x="276" y="763"/>
                    </a:lnTo>
                    <a:lnTo>
                      <a:pt x="274" y="765"/>
                    </a:lnTo>
                    <a:lnTo>
                      <a:pt x="272" y="765"/>
                    </a:lnTo>
                    <a:lnTo>
                      <a:pt x="271" y="769"/>
                    </a:lnTo>
                    <a:lnTo>
                      <a:pt x="269" y="770"/>
                    </a:lnTo>
                    <a:lnTo>
                      <a:pt x="264" y="772"/>
                    </a:lnTo>
                    <a:lnTo>
                      <a:pt x="262" y="774"/>
                    </a:lnTo>
                    <a:lnTo>
                      <a:pt x="261" y="775"/>
                    </a:lnTo>
                    <a:lnTo>
                      <a:pt x="261" y="779"/>
                    </a:lnTo>
                    <a:lnTo>
                      <a:pt x="261" y="780"/>
                    </a:lnTo>
                    <a:lnTo>
                      <a:pt x="259" y="780"/>
                    </a:lnTo>
                    <a:lnTo>
                      <a:pt x="244" y="782"/>
                    </a:lnTo>
                    <a:lnTo>
                      <a:pt x="230" y="782"/>
                    </a:lnTo>
                    <a:lnTo>
                      <a:pt x="225" y="786"/>
                    </a:lnTo>
                    <a:lnTo>
                      <a:pt x="215" y="784"/>
                    </a:lnTo>
                    <a:lnTo>
                      <a:pt x="213" y="784"/>
                    </a:lnTo>
                    <a:lnTo>
                      <a:pt x="211" y="786"/>
                    </a:lnTo>
                    <a:lnTo>
                      <a:pt x="210" y="787"/>
                    </a:lnTo>
                    <a:lnTo>
                      <a:pt x="208" y="786"/>
                    </a:lnTo>
                    <a:lnTo>
                      <a:pt x="208" y="787"/>
                    </a:lnTo>
                    <a:lnTo>
                      <a:pt x="206" y="787"/>
                    </a:lnTo>
                    <a:lnTo>
                      <a:pt x="206" y="789"/>
                    </a:lnTo>
                    <a:lnTo>
                      <a:pt x="204" y="789"/>
                    </a:lnTo>
                    <a:lnTo>
                      <a:pt x="203" y="789"/>
                    </a:lnTo>
                    <a:lnTo>
                      <a:pt x="201" y="789"/>
                    </a:lnTo>
                    <a:lnTo>
                      <a:pt x="199" y="791"/>
                    </a:lnTo>
                    <a:lnTo>
                      <a:pt x="199" y="789"/>
                    </a:lnTo>
                    <a:lnTo>
                      <a:pt x="199" y="791"/>
                    </a:lnTo>
                    <a:lnTo>
                      <a:pt x="198" y="791"/>
                    </a:lnTo>
                    <a:lnTo>
                      <a:pt x="196" y="791"/>
                    </a:lnTo>
                    <a:lnTo>
                      <a:pt x="196" y="792"/>
                    </a:lnTo>
                    <a:lnTo>
                      <a:pt x="194" y="792"/>
                    </a:lnTo>
                    <a:lnTo>
                      <a:pt x="191" y="794"/>
                    </a:lnTo>
                    <a:lnTo>
                      <a:pt x="193" y="796"/>
                    </a:lnTo>
                    <a:lnTo>
                      <a:pt x="191" y="796"/>
                    </a:lnTo>
                    <a:lnTo>
                      <a:pt x="189" y="794"/>
                    </a:lnTo>
                    <a:lnTo>
                      <a:pt x="189" y="797"/>
                    </a:lnTo>
                    <a:lnTo>
                      <a:pt x="187" y="797"/>
                    </a:lnTo>
                    <a:lnTo>
                      <a:pt x="186" y="799"/>
                    </a:lnTo>
                    <a:lnTo>
                      <a:pt x="184" y="801"/>
                    </a:lnTo>
                    <a:lnTo>
                      <a:pt x="184" y="797"/>
                    </a:lnTo>
                    <a:lnTo>
                      <a:pt x="182" y="799"/>
                    </a:lnTo>
                    <a:lnTo>
                      <a:pt x="182" y="801"/>
                    </a:lnTo>
                    <a:lnTo>
                      <a:pt x="181" y="801"/>
                    </a:lnTo>
                    <a:lnTo>
                      <a:pt x="177" y="801"/>
                    </a:lnTo>
                    <a:lnTo>
                      <a:pt x="177" y="803"/>
                    </a:lnTo>
                    <a:lnTo>
                      <a:pt x="176" y="801"/>
                    </a:lnTo>
                    <a:lnTo>
                      <a:pt x="174" y="803"/>
                    </a:lnTo>
                    <a:lnTo>
                      <a:pt x="172" y="804"/>
                    </a:lnTo>
                    <a:lnTo>
                      <a:pt x="174" y="806"/>
                    </a:lnTo>
                    <a:lnTo>
                      <a:pt x="172" y="806"/>
                    </a:lnTo>
                    <a:lnTo>
                      <a:pt x="170" y="806"/>
                    </a:lnTo>
                    <a:lnTo>
                      <a:pt x="169" y="806"/>
                    </a:lnTo>
                    <a:lnTo>
                      <a:pt x="169" y="804"/>
                    </a:lnTo>
                    <a:lnTo>
                      <a:pt x="165" y="801"/>
                    </a:lnTo>
                    <a:lnTo>
                      <a:pt x="162" y="801"/>
                    </a:lnTo>
                    <a:lnTo>
                      <a:pt x="162" y="799"/>
                    </a:lnTo>
                    <a:lnTo>
                      <a:pt x="162" y="796"/>
                    </a:lnTo>
                    <a:lnTo>
                      <a:pt x="159" y="794"/>
                    </a:lnTo>
                    <a:lnTo>
                      <a:pt x="157" y="791"/>
                    </a:lnTo>
                    <a:lnTo>
                      <a:pt x="159" y="789"/>
                    </a:lnTo>
                    <a:lnTo>
                      <a:pt x="153" y="791"/>
                    </a:lnTo>
                    <a:lnTo>
                      <a:pt x="152" y="794"/>
                    </a:lnTo>
                    <a:lnTo>
                      <a:pt x="150" y="794"/>
                    </a:lnTo>
                    <a:lnTo>
                      <a:pt x="150" y="792"/>
                    </a:lnTo>
                    <a:lnTo>
                      <a:pt x="148" y="794"/>
                    </a:lnTo>
                    <a:lnTo>
                      <a:pt x="150" y="797"/>
                    </a:lnTo>
                    <a:lnTo>
                      <a:pt x="148" y="799"/>
                    </a:lnTo>
                    <a:lnTo>
                      <a:pt x="143" y="801"/>
                    </a:lnTo>
                    <a:lnTo>
                      <a:pt x="140" y="803"/>
                    </a:lnTo>
                    <a:lnTo>
                      <a:pt x="138" y="803"/>
                    </a:lnTo>
                    <a:lnTo>
                      <a:pt x="136" y="804"/>
                    </a:lnTo>
                    <a:lnTo>
                      <a:pt x="131" y="804"/>
                    </a:lnTo>
                    <a:lnTo>
                      <a:pt x="128" y="808"/>
                    </a:lnTo>
                    <a:lnTo>
                      <a:pt x="126" y="809"/>
                    </a:lnTo>
                    <a:lnTo>
                      <a:pt x="118" y="811"/>
                    </a:lnTo>
                    <a:lnTo>
                      <a:pt x="116" y="811"/>
                    </a:lnTo>
                    <a:lnTo>
                      <a:pt x="114" y="808"/>
                    </a:lnTo>
                    <a:lnTo>
                      <a:pt x="106" y="808"/>
                    </a:lnTo>
                    <a:lnTo>
                      <a:pt x="102" y="808"/>
                    </a:lnTo>
                    <a:lnTo>
                      <a:pt x="106" y="804"/>
                    </a:lnTo>
                    <a:lnTo>
                      <a:pt x="106" y="803"/>
                    </a:lnTo>
                    <a:lnTo>
                      <a:pt x="108" y="799"/>
                    </a:lnTo>
                    <a:lnTo>
                      <a:pt x="108" y="796"/>
                    </a:lnTo>
                    <a:lnTo>
                      <a:pt x="106" y="796"/>
                    </a:lnTo>
                    <a:lnTo>
                      <a:pt x="104" y="794"/>
                    </a:lnTo>
                    <a:lnTo>
                      <a:pt x="102" y="794"/>
                    </a:lnTo>
                    <a:lnTo>
                      <a:pt x="102" y="792"/>
                    </a:lnTo>
                    <a:lnTo>
                      <a:pt x="99" y="787"/>
                    </a:lnTo>
                    <a:lnTo>
                      <a:pt x="99" y="784"/>
                    </a:lnTo>
                    <a:lnTo>
                      <a:pt x="96" y="780"/>
                    </a:lnTo>
                    <a:lnTo>
                      <a:pt x="97" y="779"/>
                    </a:lnTo>
                    <a:lnTo>
                      <a:pt x="92" y="769"/>
                    </a:lnTo>
                    <a:lnTo>
                      <a:pt x="87" y="752"/>
                    </a:lnTo>
                    <a:lnTo>
                      <a:pt x="84" y="748"/>
                    </a:lnTo>
                    <a:lnTo>
                      <a:pt x="79" y="750"/>
                    </a:lnTo>
                    <a:lnTo>
                      <a:pt x="77" y="748"/>
                    </a:lnTo>
                    <a:lnTo>
                      <a:pt x="77" y="746"/>
                    </a:lnTo>
                    <a:lnTo>
                      <a:pt x="74" y="745"/>
                    </a:lnTo>
                    <a:lnTo>
                      <a:pt x="74" y="743"/>
                    </a:lnTo>
                    <a:lnTo>
                      <a:pt x="72" y="741"/>
                    </a:lnTo>
                    <a:lnTo>
                      <a:pt x="68" y="743"/>
                    </a:lnTo>
                    <a:lnTo>
                      <a:pt x="65" y="741"/>
                    </a:lnTo>
                    <a:lnTo>
                      <a:pt x="62" y="738"/>
                    </a:lnTo>
                    <a:lnTo>
                      <a:pt x="60" y="736"/>
                    </a:lnTo>
                    <a:lnTo>
                      <a:pt x="57" y="733"/>
                    </a:lnTo>
                    <a:lnTo>
                      <a:pt x="51" y="729"/>
                    </a:lnTo>
                    <a:lnTo>
                      <a:pt x="51" y="728"/>
                    </a:lnTo>
                    <a:lnTo>
                      <a:pt x="48" y="726"/>
                    </a:lnTo>
                    <a:lnTo>
                      <a:pt x="46" y="723"/>
                    </a:lnTo>
                    <a:lnTo>
                      <a:pt x="46" y="718"/>
                    </a:lnTo>
                    <a:lnTo>
                      <a:pt x="43" y="716"/>
                    </a:lnTo>
                    <a:lnTo>
                      <a:pt x="43" y="714"/>
                    </a:lnTo>
                    <a:lnTo>
                      <a:pt x="41" y="714"/>
                    </a:lnTo>
                    <a:lnTo>
                      <a:pt x="38" y="712"/>
                    </a:lnTo>
                    <a:lnTo>
                      <a:pt x="36" y="707"/>
                    </a:lnTo>
                    <a:lnTo>
                      <a:pt x="33" y="706"/>
                    </a:lnTo>
                    <a:lnTo>
                      <a:pt x="29" y="704"/>
                    </a:lnTo>
                    <a:lnTo>
                      <a:pt x="31" y="702"/>
                    </a:lnTo>
                    <a:lnTo>
                      <a:pt x="29" y="700"/>
                    </a:lnTo>
                    <a:lnTo>
                      <a:pt x="29" y="702"/>
                    </a:lnTo>
                    <a:lnTo>
                      <a:pt x="28" y="700"/>
                    </a:lnTo>
                    <a:lnTo>
                      <a:pt x="28" y="697"/>
                    </a:lnTo>
                    <a:lnTo>
                      <a:pt x="29" y="694"/>
                    </a:lnTo>
                    <a:lnTo>
                      <a:pt x="31" y="690"/>
                    </a:lnTo>
                    <a:lnTo>
                      <a:pt x="33" y="690"/>
                    </a:lnTo>
                    <a:lnTo>
                      <a:pt x="34" y="689"/>
                    </a:lnTo>
                    <a:lnTo>
                      <a:pt x="36" y="687"/>
                    </a:lnTo>
                    <a:lnTo>
                      <a:pt x="38" y="682"/>
                    </a:lnTo>
                    <a:lnTo>
                      <a:pt x="40" y="682"/>
                    </a:lnTo>
                    <a:lnTo>
                      <a:pt x="53" y="680"/>
                    </a:lnTo>
                    <a:lnTo>
                      <a:pt x="62" y="683"/>
                    </a:lnTo>
                    <a:lnTo>
                      <a:pt x="65" y="685"/>
                    </a:lnTo>
                    <a:lnTo>
                      <a:pt x="68" y="685"/>
                    </a:lnTo>
                    <a:lnTo>
                      <a:pt x="77" y="682"/>
                    </a:lnTo>
                    <a:lnTo>
                      <a:pt x="82" y="683"/>
                    </a:lnTo>
                    <a:lnTo>
                      <a:pt x="84" y="682"/>
                    </a:lnTo>
                    <a:lnTo>
                      <a:pt x="87" y="683"/>
                    </a:lnTo>
                    <a:lnTo>
                      <a:pt x="89" y="682"/>
                    </a:lnTo>
                    <a:lnTo>
                      <a:pt x="99" y="685"/>
                    </a:lnTo>
                    <a:lnTo>
                      <a:pt x="108" y="683"/>
                    </a:lnTo>
                    <a:lnTo>
                      <a:pt x="113" y="682"/>
                    </a:lnTo>
                    <a:lnTo>
                      <a:pt x="102" y="677"/>
                    </a:lnTo>
                    <a:lnTo>
                      <a:pt x="97" y="670"/>
                    </a:lnTo>
                    <a:lnTo>
                      <a:pt x="96" y="666"/>
                    </a:lnTo>
                    <a:lnTo>
                      <a:pt x="92" y="666"/>
                    </a:lnTo>
                    <a:lnTo>
                      <a:pt x="91" y="661"/>
                    </a:lnTo>
                    <a:lnTo>
                      <a:pt x="91" y="660"/>
                    </a:lnTo>
                    <a:lnTo>
                      <a:pt x="89" y="658"/>
                    </a:lnTo>
                    <a:lnTo>
                      <a:pt x="85" y="655"/>
                    </a:lnTo>
                    <a:lnTo>
                      <a:pt x="85" y="649"/>
                    </a:lnTo>
                    <a:lnTo>
                      <a:pt x="84" y="646"/>
                    </a:lnTo>
                    <a:lnTo>
                      <a:pt x="80" y="641"/>
                    </a:lnTo>
                    <a:lnTo>
                      <a:pt x="82" y="638"/>
                    </a:lnTo>
                    <a:lnTo>
                      <a:pt x="82" y="634"/>
                    </a:lnTo>
                    <a:lnTo>
                      <a:pt x="80" y="631"/>
                    </a:lnTo>
                    <a:lnTo>
                      <a:pt x="80" y="629"/>
                    </a:lnTo>
                    <a:lnTo>
                      <a:pt x="82" y="629"/>
                    </a:lnTo>
                    <a:lnTo>
                      <a:pt x="84" y="627"/>
                    </a:lnTo>
                    <a:lnTo>
                      <a:pt x="82" y="626"/>
                    </a:lnTo>
                    <a:lnTo>
                      <a:pt x="82" y="622"/>
                    </a:lnTo>
                    <a:lnTo>
                      <a:pt x="80" y="621"/>
                    </a:lnTo>
                    <a:lnTo>
                      <a:pt x="80" y="619"/>
                    </a:lnTo>
                    <a:lnTo>
                      <a:pt x="80" y="617"/>
                    </a:lnTo>
                    <a:lnTo>
                      <a:pt x="80" y="615"/>
                    </a:lnTo>
                    <a:lnTo>
                      <a:pt x="80" y="614"/>
                    </a:lnTo>
                    <a:lnTo>
                      <a:pt x="80" y="612"/>
                    </a:lnTo>
                    <a:lnTo>
                      <a:pt x="80" y="610"/>
                    </a:lnTo>
                    <a:lnTo>
                      <a:pt x="80" y="609"/>
                    </a:lnTo>
                    <a:lnTo>
                      <a:pt x="82" y="605"/>
                    </a:lnTo>
                    <a:lnTo>
                      <a:pt x="84" y="605"/>
                    </a:lnTo>
                    <a:lnTo>
                      <a:pt x="85" y="602"/>
                    </a:lnTo>
                    <a:lnTo>
                      <a:pt x="82" y="602"/>
                    </a:lnTo>
                    <a:lnTo>
                      <a:pt x="82" y="600"/>
                    </a:lnTo>
                    <a:lnTo>
                      <a:pt x="82" y="598"/>
                    </a:lnTo>
                    <a:lnTo>
                      <a:pt x="82" y="597"/>
                    </a:lnTo>
                    <a:lnTo>
                      <a:pt x="80" y="595"/>
                    </a:lnTo>
                    <a:lnTo>
                      <a:pt x="82" y="593"/>
                    </a:lnTo>
                    <a:lnTo>
                      <a:pt x="82" y="592"/>
                    </a:lnTo>
                    <a:lnTo>
                      <a:pt x="84" y="592"/>
                    </a:lnTo>
                    <a:lnTo>
                      <a:pt x="82" y="590"/>
                    </a:lnTo>
                    <a:lnTo>
                      <a:pt x="82" y="588"/>
                    </a:lnTo>
                    <a:lnTo>
                      <a:pt x="80" y="588"/>
                    </a:lnTo>
                    <a:lnTo>
                      <a:pt x="80" y="587"/>
                    </a:lnTo>
                    <a:lnTo>
                      <a:pt x="79" y="585"/>
                    </a:lnTo>
                    <a:lnTo>
                      <a:pt x="80" y="583"/>
                    </a:lnTo>
                    <a:lnTo>
                      <a:pt x="80" y="581"/>
                    </a:lnTo>
                    <a:lnTo>
                      <a:pt x="82" y="581"/>
                    </a:lnTo>
                    <a:lnTo>
                      <a:pt x="80" y="580"/>
                    </a:lnTo>
                    <a:lnTo>
                      <a:pt x="79" y="578"/>
                    </a:lnTo>
                    <a:lnTo>
                      <a:pt x="80" y="578"/>
                    </a:lnTo>
                    <a:lnTo>
                      <a:pt x="79" y="576"/>
                    </a:lnTo>
                    <a:lnTo>
                      <a:pt x="79" y="575"/>
                    </a:lnTo>
                    <a:lnTo>
                      <a:pt x="77" y="575"/>
                    </a:lnTo>
                    <a:lnTo>
                      <a:pt x="75" y="576"/>
                    </a:lnTo>
                    <a:lnTo>
                      <a:pt x="72" y="573"/>
                    </a:lnTo>
                    <a:lnTo>
                      <a:pt x="74" y="571"/>
                    </a:lnTo>
                    <a:lnTo>
                      <a:pt x="72" y="570"/>
                    </a:lnTo>
                    <a:lnTo>
                      <a:pt x="74" y="561"/>
                    </a:lnTo>
                    <a:lnTo>
                      <a:pt x="72" y="558"/>
                    </a:lnTo>
                    <a:lnTo>
                      <a:pt x="70" y="558"/>
                    </a:lnTo>
                    <a:lnTo>
                      <a:pt x="70" y="556"/>
                    </a:lnTo>
                    <a:lnTo>
                      <a:pt x="68" y="549"/>
                    </a:lnTo>
                    <a:lnTo>
                      <a:pt x="65" y="547"/>
                    </a:lnTo>
                    <a:lnTo>
                      <a:pt x="65" y="546"/>
                    </a:lnTo>
                    <a:lnTo>
                      <a:pt x="63" y="547"/>
                    </a:lnTo>
                    <a:lnTo>
                      <a:pt x="62" y="546"/>
                    </a:lnTo>
                    <a:lnTo>
                      <a:pt x="63" y="544"/>
                    </a:lnTo>
                    <a:lnTo>
                      <a:pt x="60" y="544"/>
                    </a:lnTo>
                    <a:lnTo>
                      <a:pt x="58" y="542"/>
                    </a:lnTo>
                    <a:lnTo>
                      <a:pt x="58" y="541"/>
                    </a:lnTo>
                    <a:lnTo>
                      <a:pt x="57" y="542"/>
                    </a:lnTo>
                    <a:lnTo>
                      <a:pt x="57" y="541"/>
                    </a:lnTo>
                    <a:lnTo>
                      <a:pt x="55" y="541"/>
                    </a:lnTo>
                    <a:lnTo>
                      <a:pt x="55" y="539"/>
                    </a:lnTo>
                    <a:lnTo>
                      <a:pt x="55" y="537"/>
                    </a:lnTo>
                    <a:lnTo>
                      <a:pt x="55" y="535"/>
                    </a:lnTo>
                    <a:lnTo>
                      <a:pt x="55" y="534"/>
                    </a:lnTo>
                    <a:lnTo>
                      <a:pt x="55" y="532"/>
                    </a:lnTo>
                    <a:lnTo>
                      <a:pt x="50" y="525"/>
                    </a:lnTo>
                    <a:lnTo>
                      <a:pt x="31" y="525"/>
                    </a:lnTo>
                    <a:lnTo>
                      <a:pt x="24" y="518"/>
                    </a:lnTo>
                    <a:lnTo>
                      <a:pt x="19" y="510"/>
                    </a:lnTo>
                    <a:lnTo>
                      <a:pt x="9" y="495"/>
                    </a:lnTo>
                    <a:lnTo>
                      <a:pt x="6" y="481"/>
                    </a:lnTo>
                    <a:lnTo>
                      <a:pt x="2" y="473"/>
                    </a:lnTo>
                    <a:lnTo>
                      <a:pt x="0" y="461"/>
                    </a:lnTo>
                    <a:lnTo>
                      <a:pt x="0" y="456"/>
                    </a:lnTo>
                    <a:lnTo>
                      <a:pt x="6" y="454"/>
                    </a:lnTo>
                    <a:lnTo>
                      <a:pt x="9" y="454"/>
                    </a:lnTo>
                    <a:lnTo>
                      <a:pt x="11" y="452"/>
                    </a:lnTo>
                    <a:lnTo>
                      <a:pt x="11" y="447"/>
                    </a:lnTo>
                    <a:lnTo>
                      <a:pt x="14" y="444"/>
                    </a:lnTo>
                    <a:lnTo>
                      <a:pt x="16" y="444"/>
                    </a:lnTo>
                    <a:lnTo>
                      <a:pt x="17" y="442"/>
                    </a:lnTo>
                    <a:lnTo>
                      <a:pt x="16" y="435"/>
                    </a:lnTo>
                    <a:lnTo>
                      <a:pt x="19" y="427"/>
                    </a:lnTo>
                    <a:lnTo>
                      <a:pt x="26" y="422"/>
                    </a:lnTo>
                    <a:lnTo>
                      <a:pt x="33" y="410"/>
                    </a:lnTo>
                    <a:lnTo>
                      <a:pt x="45" y="393"/>
                    </a:lnTo>
                    <a:lnTo>
                      <a:pt x="77" y="359"/>
                    </a:lnTo>
                    <a:lnTo>
                      <a:pt x="99" y="336"/>
                    </a:lnTo>
                    <a:lnTo>
                      <a:pt x="102" y="333"/>
                    </a:lnTo>
                    <a:lnTo>
                      <a:pt x="104" y="319"/>
                    </a:lnTo>
                    <a:lnTo>
                      <a:pt x="106" y="277"/>
                    </a:lnTo>
                    <a:lnTo>
                      <a:pt x="108" y="238"/>
                    </a:lnTo>
                    <a:lnTo>
                      <a:pt x="116" y="178"/>
                    </a:lnTo>
                    <a:lnTo>
                      <a:pt x="116" y="177"/>
                    </a:lnTo>
                    <a:lnTo>
                      <a:pt x="128" y="158"/>
                    </a:lnTo>
                    <a:lnTo>
                      <a:pt x="121" y="151"/>
                    </a:lnTo>
                    <a:lnTo>
                      <a:pt x="114" y="143"/>
                    </a:lnTo>
                    <a:lnTo>
                      <a:pt x="111" y="137"/>
                    </a:lnTo>
                    <a:lnTo>
                      <a:pt x="108" y="136"/>
                    </a:lnTo>
                    <a:lnTo>
                      <a:pt x="104" y="131"/>
                    </a:lnTo>
                    <a:lnTo>
                      <a:pt x="109" y="126"/>
                    </a:lnTo>
                    <a:lnTo>
                      <a:pt x="101" y="114"/>
                    </a:lnTo>
                    <a:lnTo>
                      <a:pt x="94" y="105"/>
                    </a:lnTo>
                    <a:lnTo>
                      <a:pt x="92" y="102"/>
                    </a:lnTo>
                    <a:lnTo>
                      <a:pt x="87" y="100"/>
                    </a:lnTo>
                    <a:lnTo>
                      <a:pt x="87" y="75"/>
                    </a:lnTo>
                    <a:lnTo>
                      <a:pt x="84" y="54"/>
                    </a:lnTo>
                    <a:lnTo>
                      <a:pt x="77" y="23"/>
                    </a:lnTo>
                    <a:lnTo>
                      <a:pt x="84" y="20"/>
                    </a:lnTo>
                    <a:lnTo>
                      <a:pt x="128" y="0"/>
                    </a:lnTo>
                    <a:lnTo>
                      <a:pt x="174" y="22"/>
                    </a:lnTo>
                    <a:lnTo>
                      <a:pt x="228" y="47"/>
                    </a:lnTo>
                    <a:lnTo>
                      <a:pt x="283" y="73"/>
                    </a:lnTo>
                    <a:lnTo>
                      <a:pt x="284" y="75"/>
                    </a:lnTo>
                    <a:lnTo>
                      <a:pt x="323" y="93"/>
                    </a:lnTo>
                    <a:lnTo>
                      <a:pt x="373" y="117"/>
                    </a:lnTo>
                    <a:lnTo>
                      <a:pt x="381" y="122"/>
                    </a:lnTo>
                    <a:lnTo>
                      <a:pt x="441" y="153"/>
                    </a:lnTo>
                    <a:lnTo>
                      <a:pt x="533" y="200"/>
                    </a:lnTo>
                    <a:lnTo>
                      <a:pt x="533" y="216"/>
                    </a:lnTo>
                    <a:lnTo>
                      <a:pt x="533" y="248"/>
                    </a:lnTo>
                    <a:lnTo>
                      <a:pt x="533" y="285"/>
                    </a:lnTo>
                    <a:lnTo>
                      <a:pt x="533" y="326"/>
                    </a:lnTo>
                    <a:lnTo>
                      <a:pt x="533" y="348"/>
                    </a:lnTo>
                    <a:lnTo>
                      <a:pt x="533" y="353"/>
                    </a:lnTo>
                    <a:lnTo>
                      <a:pt x="533" y="367"/>
                    </a:lnTo>
                    <a:lnTo>
                      <a:pt x="533" y="393"/>
                    </a:lnTo>
                    <a:lnTo>
                      <a:pt x="516" y="389"/>
                    </a:lnTo>
                    <a:lnTo>
                      <a:pt x="510" y="389"/>
                    </a:lnTo>
                    <a:lnTo>
                      <a:pt x="504" y="393"/>
                    </a:lnTo>
                    <a:lnTo>
                      <a:pt x="500" y="394"/>
                    </a:lnTo>
                    <a:lnTo>
                      <a:pt x="495" y="393"/>
                    </a:lnTo>
                    <a:lnTo>
                      <a:pt x="493" y="393"/>
                    </a:lnTo>
                    <a:lnTo>
                      <a:pt x="488" y="393"/>
                    </a:lnTo>
                    <a:lnTo>
                      <a:pt x="483" y="398"/>
                    </a:lnTo>
                    <a:lnTo>
                      <a:pt x="480" y="399"/>
                    </a:lnTo>
                    <a:lnTo>
                      <a:pt x="478" y="405"/>
                    </a:lnTo>
                    <a:lnTo>
                      <a:pt x="482" y="408"/>
                    </a:lnTo>
                    <a:lnTo>
                      <a:pt x="483" y="413"/>
                    </a:lnTo>
                    <a:lnTo>
                      <a:pt x="482" y="415"/>
                    </a:lnTo>
                    <a:lnTo>
                      <a:pt x="483" y="416"/>
                    </a:lnTo>
                    <a:lnTo>
                      <a:pt x="482" y="418"/>
                    </a:lnTo>
                    <a:lnTo>
                      <a:pt x="480" y="420"/>
                    </a:lnTo>
                    <a:lnTo>
                      <a:pt x="480" y="423"/>
                    </a:lnTo>
                    <a:lnTo>
                      <a:pt x="476" y="425"/>
                    </a:lnTo>
                    <a:lnTo>
                      <a:pt x="475" y="427"/>
                    </a:lnTo>
                    <a:lnTo>
                      <a:pt x="473" y="427"/>
                    </a:lnTo>
                    <a:lnTo>
                      <a:pt x="470" y="430"/>
                    </a:lnTo>
                    <a:lnTo>
                      <a:pt x="470" y="433"/>
                    </a:lnTo>
                    <a:lnTo>
                      <a:pt x="468" y="433"/>
                    </a:lnTo>
                    <a:lnTo>
                      <a:pt x="466" y="435"/>
                    </a:lnTo>
                    <a:lnTo>
                      <a:pt x="468" y="444"/>
                    </a:lnTo>
                    <a:lnTo>
                      <a:pt x="456" y="447"/>
                    </a:lnTo>
                    <a:lnTo>
                      <a:pt x="453" y="449"/>
                    </a:lnTo>
                    <a:lnTo>
                      <a:pt x="451" y="454"/>
                    </a:lnTo>
                    <a:lnTo>
                      <a:pt x="454" y="454"/>
                    </a:lnTo>
                    <a:lnTo>
                      <a:pt x="454" y="461"/>
                    </a:lnTo>
                    <a:lnTo>
                      <a:pt x="456" y="462"/>
                    </a:lnTo>
                    <a:lnTo>
                      <a:pt x="454" y="464"/>
                    </a:lnTo>
                    <a:lnTo>
                      <a:pt x="456" y="467"/>
                    </a:lnTo>
                    <a:lnTo>
                      <a:pt x="458" y="467"/>
                    </a:lnTo>
                    <a:lnTo>
                      <a:pt x="459" y="467"/>
                    </a:lnTo>
                    <a:lnTo>
                      <a:pt x="461" y="471"/>
                    </a:lnTo>
                    <a:lnTo>
                      <a:pt x="459" y="473"/>
                    </a:lnTo>
                    <a:lnTo>
                      <a:pt x="458" y="474"/>
                    </a:lnTo>
                    <a:lnTo>
                      <a:pt x="454" y="476"/>
                    </a:lnTo>
                    <a:lnTo>
                      <a:pt x="451" y="476"/>
                    </a:lnTo>
                    <a:lnTo>
                      <a:pt x="444" y="481"/>
                    </a:lnTo>
                    <a:lnTo>
                      <a:pt x="437" y="491"/>
                    </a:lnTo>
                    <a:lnTo>
                      <a:pt x="439" y="493"/>
                    </a:lnTo>
                    <a:lnTo>
                      <a:pt x="437" y="495"/>
                    </a:lnTo>
                    <a:lnTo>
                      <a:pt x="439" y="498"/>
                    </a:lnTo>
                    <a:lnTo>
                      <a:pt x="444" y="501"/>
                    </a:lnTo>
                    <a:lnTo>
                      <a:pt x="442" y="507"/>
                    </a:lnTo>
                    <a:lnTo>
                      <a:pt x="444" y="508"/>
                    </a:lnTo>
                    <a:lnTo>
                      <a:pt x="446" y="510"/>
                    </a:lnTo>
                    <a:lnTo>
                      <a:pt x="446" y="512"/>
                    </a:lnTo>
                    <a:lnTo>
                      <a:pt x="441" y="517"/>
                    </a:lnTo>
                    <a:lnTo>
                      <a:pt x="439" y="522"/>
                    </a:lnTo>
                    <a:lnTo>
                      <a:pt x="436" y="522"/>
                    </a:lnTo>
                    <a:lnTo>
                      <a:pt x="432" y="522"/>
                    </a:lnTo>
                    <a:lnTo>
                      <a:pt x="431" y="525"/>
                    </a:lnTo>
                    <a:lnTo>
                      <a:pt x="429" y="527"/>
                    </a:lnTo>
                    <a:lnTo>
                      <a:pt x="429" y="529"/>
                    </a:lnTo>
                    <a:lnTo>
                      <a:pt x="427" y="530"/>
                    </a:lnTo>
                    <a:lnTo>
                      <a:pt x="424" y="539"/>
                    </a:lnTo>
                    <a:lnTo>
                      <a:pt x="422" y="539"/>
                    </a:lnTo>
                    <a:lnTo>
                      <a:pt x="424" y="541"/>
                    </a:lnTo>
                    <a:lnTo>
                      <a:pt x="424" y="544"/>
                    </a:lnTo>
                    <a:lnTo>
                      <a:pt x="429" y="547"/>
                    </a:lnTo>
                    <a:lnTo>
                      <a:pt x="434" y="547"/>
                    </a:lnTo>
                    <a:lnTo>
                      <a:pt x="439" y="547"/>
                    </a:lnTo>
                    <a:lnTo>
                      <a:pt x="441" y="546"/>
                    </a:lnTo>
                    <a:lnTo>
                      <a:pt x="442" y="542"/>
                    </a:lnTo>
                    <a:lnTo>
                      <a:pt x="451" y="547"/>
                    </a:lnTo>
                    <a:lnTo>
                      <a:pt x="454" y="549"/>
                    </a:lnTo>
                    <a:lnTo>
                      <a:pt x="454" y="554"/>
                    </a:lnTo>
                    <a:lnTo>
                      <a:pt x="451" y="558"/>
                    </a:lnTo>
                    <a:lnTo>
                      <a:pt x="454" y="561"/>
                    </a:lnTo>
                    <a:lnTo>
                      <a:pt x="453" y="563"/>
                    </a:lnTo>
                    <a:lnTo>
                      <a:pt x="454" y="564"/>
                    </a:lnTo>
                    <a:lnTo>
                      <a:pt x="454" y="566"/>
                    </a:lnTo>
                    <a:lnTo>
                      <a:pt x="456" y="571"/>
                    </a:lnTo>
                    <a:lnTo>
                      <a:pt x="456" y="578"/>
                    </a:lnTo>
                    <a:lnTo>
                      <a:pt x="458" y="580"/>
                    </a:lnTo>
                    <a:lnTo>
                      <a:pt x="459" y="578"/>
                    </a:lnTo>
                    <a:lnTo>
                      <a:pt x="465" y="578"/>
                    </a:lnTo>
                    <a:lnTo>
                      <a:pt x="459" y="595"/>
                    </a:lnTo>
                    <a:lnTo>
                      <a:pt x="461" y="600"/>
                    </a:lnTo>
                    <a:lnTo>
                      <a:pt x="465" y="605"/>
                    </a:lnTo>
                    <a:lnTo>
                      <a:pt x="470" y="607"/>
                    </a:lnTo>
                    <a:lnTo>
                      <a:pt x="471" y="609"/>
                    </a:lnTo>
                    <a:lnTo>
                      <a:pt x="471" y="610"/>
                    </a:lnTo>
                    <a:lnTo>
                      <a:pt x="480" y="610"/>
                    </a:lnTo>
                    <a:lnTo>
                      <a:pt x="480" y="615"/>
                    </a:lnTo>
                    <a:lnTo>
                      <a:pt x="482" y="615"/>
                    </a:lnTo>
                    <a:lnTo>
                      <a:pt x="482" y="619"/>
                    </a:lnTo>
                    <a:lnTo>
                      <a:pt x="482" y="624"/>
                    </a:lnTo>
                    <a:lnTo>
                      <a:pt x="476" y="63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0" name="Freeform 20">
                <a:extLst>
                  <a:ext uri="{FF2B5EF4-FFF2-40B4-BE49-F238E27FC236}">
                    <a16:creationId xmlns:a16="http://schemas.microsoft.com/office/drawing/2014/main" id="{AF7B0BC1-91FD-4B19-A1DB-BE0BB5F2057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051570" y="4367033"/>
                <a:ext cx="104772" cy="85721"/>
              </a:xfrm>
              <a:custGeom>
                <a:avLst/>
                <a:gdLst>
                  <a:gd name="T0" fmla="*/ 8 w 66"/>
                  <a:gd name="T1" fmla="*/ 1 h 54"/>
                  <a:gd name="T2" fmla="*/ 10 w 66"/>
                  <a:gd name="T3" fmla="*/ 3 h 54"/>
                  <a:gd name="T4" fmla="*/ 8 w 66"/>
                  <a:gd name="T5" fmla="*/ 15 h 54"/>
                  <a:gd name="T6" fmla="*/ 12 w 66"/>
                  <a:gd name="T7" fmla="*/ 20 h 54"/>
                  <a:gd name="T8" fmla="*/ 12 w 66"/>
                  <a:gd name="T9" fmla="*/ 23 h 54"/>
                  <a:gd name="T10" fmla="*/ 15 w 66"/>
                  <a:gd name="T11" fmla="*/ 27 h 54"/>
                  <a:gd name="T12" fmla="*/ 13 w 66"/>
                  <a:gd name="T13" fmla="*/ 29 h 54"/>
                  <a:gd name="T14" fmla="*/ 12 w 66"/>
                  <a:gd name="T15" fmla="*/ 30 h 54"/>
                  <a:gd name="T16" fmla="*/ 10 w 66"/>
                  <a:gd name="T17" fmla="*/ 29 h 54"/>
                  <a:gd name="T18" fmla="*/ 8 w 66"/>
                  <a:gd name="T19" fmla="*/ 25 h 54"/>
                  <a:gd name="T20" fmla="*/ 3 w 66"/>
                  <a:gd name="T21" fmla="*/ 25 h 54"/>
                  <a:gd name="T22" fmla="*/ 0 w 66"/>
                  <a:gd name="T23" fmla="*/ 20 h 54"/>
                  <a:gd name="T24" fmla="*/ 0 w 66"/>
                  <a:gd name="T25" fmla="*/ 18 h 54"/>
                  <a:gd name="T26" fmla="*/ 1 w 66"/>
                  <a:gd name="T27" fmla="*/ 17 h 54"/>
                  <a:gd name="T28" fmla="*/ 1 w 66"/>
                  <a:gd name="T29" fmla="*/ 3 h 54"/>
                  <a:gd name="T30" fmla="*/ 3 w 66"/>
                  <a:gd name="T31" fmla="*/ 1 h 54"/>
                  <a:gd name="T32" fmla="*/ 6 w 66"/>
                  <a:gd name="T33" fmla="*/ 0 h 54"/>
                  <a:gd name="T34" fmla="*/ 8 w 66"/>
                  <a:gd name="T35" fmla="*/ 1 h 54"/>
                  <a:gd name="T36" fmla="*/ 66 w 66"/>
                  <a:gd name="T37" fmla="*/ 46 h 54"/>
                  <a:gd name="T38" fmla="*/ 66 w 66"/>
                  <a:gd name="T39" fmla="*/ 47 h 54"/>
                  <a:gd name="T40" fmla="*/ 66 w 66"/>
                  <a:gd name="T41" fmla="*/ 51 h 54"/>
                  <a:gd name="T42" fmla="*/ 66 w 66"/>
                  <a:gd name="T43" fmla="*/ 52 h 54"/>
                  <a:gd name="T44" fmla="*/ 64 w 66"/>
                  <a:gd name="T45" fmla="*/ 52 h 54"/>
                  <a:gd name="T46" fmla="*/ 64 w 66"/>
                  <a:gd name="T47" fmla="*/ 51 h 54"/>
                  <a:gd name="T48" fmla="*/ 59 w 66"/>
                  <a:gd name="T49" fmla="*/ 47 h 54"/>
                  <a:gd name="T50" fmla="*/ 59 w 66"/>
                  <a:gd name="T51" fmla="*/ 46 h 54"/>
                  <a:gd name="T52" fmla="*/ 56 w 66"/>
                  <a:gd name="T53" fmla="*/ 46 h 54"/>
                  <a:gd name="T54" fmla="*/ 49 w 66"/>
                  <a:gd name="T55" fmla="*/ 40 h 54"/>
                  <a:gd name="T56" fmla="*/ 54 w 66"/>
                  <a:gd name="T57" fmla="*/ 42 h 54"/>
                  <a:gd name="T58" fmla="*/ 57 w 66"/>
                  <a:gd name="T59" fmla="*/ 42 h 54"/>
                  <a:gd name="T60" fmla="*/ 61 w 66"/>
                  <a:gd name="T61" fmla="*/ 40 h 54"/>
                  <a:gd name="T62" fmla="*/ 61 w 66"/>
                  <a:gd name="T63" fmla="*/ 39 h 54"/>
                  <a:gd name="T64" fmla="*/ 61 w 66"/>
                  <a:gd name="T65" fmla="*/ 37 h 54"/>
                  <a:gd name="T66" fmla="*/ 63 w 66"/>
                  <a:gd name="T67" fmla="*/ 35 h 54"/>
                  <a:gd name="T68" fmla="*/ 64 w 66"/>
                  <a:gd name="T69" fmla="*/ 37 h 54"/>
                  <a:gd name="T70" fmla="*/ 64 w 66"/>
                  <a:gd name="T71" fmla="*/ 39 h 54"/>
                  <a:gd name="T72" fmla="*/ 66 w 66"/>
                  <a:gd name="T73" fmla="*/ 46 h 54"/>
                  <a:gd name="T74" fmla="*/ 25 w 66"/>
                  <a:gd name="T75" fmla="*/ 46 h 54"/>
                  <a:gd name="T76" fmla="*/ 32 w 66"/>
                  <a:gd name="T77" fmla="*/ 51 h 54"/>
                  <a:gd name="T78" fmla="*/ 32 w 66"/>
                  <a:gd name="T79" fmla="*/ 52 h 54"/>
                  <a:gd name="T80" fmla="*/ 29 w 66"/>
                  <a:gd name="T81" fmla="*/ 51 h 54"/>
                  <a:gd name="T82" fmla="*/ 27 w 66"/>
                  <a:gd name="T83" fmla="*/ 52 h 54"/>
                  <a:gd name="T84" fmla="*/ 27 w 66"/>
                  <a:gd name="T85" fmla="*/ 51 h 54"/>
                  <a:gd name="T86" fmla="*/ 22 w 66"/>
                  <a:gd name="T87" fmla="*/ 51 h 54"/>
                  <a:gd name="T88" fmla="*/ 22 w 66"/>
                  <a:gd name="T89" fmla="*/ 49 h 54"/>
                  <a:gd name="T90" fmla="*/ 20 w 66"/>
                  <a:gd name="T91" fmla="*/ 49 h 54"/>
                  <a:gd name="T92" fmla="*/ 20 w 66"/>
                  <a:gd name="T93" fmla="*/ 46 h 54"/>
                  <a:gd name="T94" fmla="*/ 22 w 66"/>
                  <a:gd name="T95" fmla="*/ 46 h 54"/>
                  <a:gd name="T96" fmla="*/ 25 w 66"/>
                  <a:gd name="T97" fmla="*/ 46 h 54"/>
                  <a:gd name="T98" fmla="*/ 22 w 66"/>
                  <a:gd name="T99" fmla="*/ 52 h 54"/>
                  <a:gd name="T100" fmla="*/ 22 w 66"/>
                  <a:gd name="T101" fmla="*/ 54 h 54"/>
                  <a:gd name="T102" fmla="*/ 22 w 66"/>
                  <a:gd name="T103" fmla="*/ 52 h 54"/>
                  <a:gd name="T104" fmla="*/ 23 w 66"/>
                  <a:gd name="T105" fmla="*/ 52 h 54"/>
                  <a:gd name="T106" fmla="*/ 25 w 66"/>
                  <a:gd name="T107" fmla="*/ 52 h 54"/>
                  <a:gd name="T108" fmla="*/ 25 w 66"/>
                  <a:gd name="T109" fmla="*/ 54 h 54"/>
                  <a:gd name="T110" fmla="*/ 23 w 66"/>
                  <a:gd name="T111" fmla="*/ 54 h 54"/>
                  <a:gd name="T112" fmla="*/ 23 w 66"/>
                  <a:gd name="T113" fmla="*/ 52 h 54"/>
                  <a:gd name="T114" fmla="*/ 25 w 66"/>
                  <a:gd name="T115" fmla="*/ 52 h 54"/>
                  <a:gd name="T116" fmla="*/ 25 w 66"/>
                  <a:gd name="T117" fmla="*/ 54 h 54"/>
                  <a:gd name="T118" fmla="*/ 25 w 66"/>
                  <a:gd name="T119" fmla="*/ 5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6" h="54">
                    <a:moveTo>
                      <a:pt x="8" y="1"/>
                    </a:moveTo>
                    <a:lnTo>
                      <a:pt x="10" y="3"/>
                    </a:lnTo>
                    <a:lnTo>
                      <a:pt x="8" y="15"/>
                    </a:lnTo>
                    <a:lnTo>
                      <a:pt x="12" y="20"/>
                    </a:lnTo>
                    <a:lnTo>
                      <a:pt x="12" y="23"/>
                    </a:lnTo>
                    <a:lnTo>
                      <a:pt x="15" y="27"/>
                    </a:lnTo>
                    <a:lnTo>
                      <a:pt x="13" y="29"/>
                    </a:lnTo>
                    <a:lnTo>
                      <a:pt x="12" y="30"/>
                    </a:lnTo>
                    <a:lnTo>
                      <a:pt x="10" y="29"/>
                    </a:lnTo>
                    <a:lnTo>
                      <a:pt x="8" y="25"/>
                    </a:lnTo>
                    <a:lnTo>
                      <a:pt x="3" y="25"/>
                    </a:lnTo>
                    <a:lnTo>
                      <a:pt x="0" y="20"/>
                    </a:lnTo>
                    <a:lnTo>
                      <a:pt x="0" y="18"/>
                    </a:lnTo>
                    <a:lnTo>
                      <a:pt x="1" y="17"/>
                    </a:lnTo>
                    <a:lnTo>
                      <a:pt x="1" y="3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8" y="1"/>
                    </a:lnTo>
                    <a:close/>
                    <a:moveTo>
                      <a:pt x="66" y="46"/>
                    </a:moveTo>
                    <a:lnTo>
                      <a:pt x="66" y="47"/>
                    </a:lnTo>
                    <a:lnTo>
                      <a:pt x="66" y="51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1"/>
                    </a:lnTo>
                    <a:lnTo>
                      <a:pt x="59" y="47"/>
                    </a:lnTo>
                    <a:lnTo>
                      <a:pt x="59" y="46"/>
                    </a:lnTo>
                    <a:lnTo>
                      <a:pt x="56" y="46"/>
                    </a:lnTo>
                    <a:lnTo>
                      <a:pt x="49" y="40"/>
                    </a:lnTo>
                    <a:lnTo>
                      <a:pt x="54" y="42"/>
                    </a:lnTo>
                    <a:lnTo>
                      <a:pt x="57" y="42"/>
                    </a:lnTo>
                    <a:lnTo>
                      <a:pt x="61" y="40"/>
                    </a:lnTo>
                    <a:lnTo>
                      <a:pt x="61" y="39"/>
                    </a:lnTo>
                    <a:lnTo>
                      <a:pt x="61" y="37"/>
                    </a:lnTo>
                    <a:lnTo>
                      <a:pt x="63" y="35"/>
                    </a:lnTo>
                    <a:lnTo>
                      <a:pt x="64" y="37"/>
                    </a:lnTo>
                    <a:lnTo>
                      <a:pt x="64" y="39"/>
                    </a:lnTo>
                    <a:lnTo>
                      <a:pt x="66" y="46"/>
                    </a:lnTo>
                    <a:close/>
                    <a:moveTo>
                      <a:pt x="25" y="46"/>
                    </a:moveTo>
                    <a:lnTo>
                      <a:pt x="32" y="51"/>
                    </a:lnTo>
                    <a:lnTo>
                      <a:pt x="32" y="52"/>
                    </a:lnTo>
                    <a:lnTo>
                      <a:pt x="29" y="51"/>
                    </a:lnTo>
                    <a:lnTo>
                      <a:pt x="27" y="52"/>
                    </a:lnTo>
                    <a:lnTo>
                      <a:pt x="27" y="51"/>
                    </a:lnTo>
                    <a:lnTo>
                      <a:pt x="22" y="51"/>
                    </a:lnTo>
                    <a:lnTo>
                      <a:pt x="22" y="49"/>
                    </a:lnTo>
                    <a:lnTo>
                      <a:pt x="20" y="49"/>
                    </a:lnTo>
                    <a:lnTo>
                      <a:pt x="20" y="46"/>
                    </a:lnTo>
                    <a:lnTo>
                      <a:pt x="22" y="46"/>
                    </a:lnTo>
                    <a:lnTo>
                      <a:pt x="25" y="46"/>
                    </a:lnTo>
                    <a:close/>
                    <a:moveTo>
                      <a:pt x="22" y="52"/>
                    </a:moveTo>
                    <a:lnTo>
                      <a:pt x="22" y="54"/>
                    </a:lnTo>
                    <a:lnTo>
                      <a:pt x="22" y="52"/>
                    </a:lnTo>
                    <a:close/>
                    <a:moveTo>
                      <a:pt x="23" y="52"/>
                    </a:moveTo>
                    <a:lnTo>
                      <a:pt x="25" y="52"/>
                    </a:lnTo>
                    <a:lnTo>
                      <a:pt x="25" y="54"/>
                    </a:lnTo>
                    <a:lnTo>
                      <a:pt x="23" y="54"/>
                    </a:lnTo>
                    <a:lnTo>
                      <a:pt x="23" y="52"/>
                    </a:lnTo>
                    <a:close/>
                    <a:moveTo>
                      <a:pt x="25" y="52"/>
                    </a:moveTo>
                    <a:lnTo>
                      <a:pt x="25" y="54"/>
                    </a:lnTo>
                    <a:lnTo>
                      <a:pt x="25" y="5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1" name="Freeform 21">
                <a:extLst>
                  <a:ext uri="{FF2B5EF4-FFF2-40B4-BE49-F238E27FC236}">
                    <a16:creationId xmlns:a16="http://schemas.microsoft.com/office/drawing/2014/main" id="{23904AE2-3D14-437A-9AB6-62DED9BA49F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70369" y="3154233"/>
                <a:ext cx="604820" cy="704821"/>
              </a:xfrm>
              <a:custGeom>
                <a:avLst/>
                <a:gdLst>
                  <a:gd name="T0" fmla="*/ 361 w 381"/>
                  <a:gd name="T1" fmla="*/ 61 h 444"/>
                  <a:gd name="T2" fmla="*/ 347 w 381"/>
                  <a:gd name="T3" fmla="*/ 119 h 444"/>
                  <a:gd name="T4" fmla="*/ 342 w 381"/>
                  <a:gd name="T5" fmla="*/ 160 h 444"/>
                  <a:gd name="T6" fmla="*/ 334 w 381"/>
                  <a:gd name="T7" fmla="*/ 216 h 444"/>
                  <a:gd name="T8" fmla="*/ 295 w 381"/>
                  <a:gd name="T9" fmla="*/ 248 h 444"/>
                  <a:gd name="T10" fmla="*/ 259 w 381"/>
                  <a:gd name="T11" fmla="*/ 298 h 444"/>
                  <a:gd name="T12" fmla="*/ 257 w 381"/>
                  <a:gd name="T13" fmla="*/ 350 h 444"/>
                  <a:gd name="T14" fmla="*/ 225 w 381"/>
                  <a:gd name="T15" fmla="*/ 393 h 444"/>
                  <a:gd name="T16" fmla="*/ 203 w 381"/>
                  <a:gd name="T17" fmla="*/ 415 h 444"/>
                  <a:gd name="T18" fmla="*/ 165 w 381"/>
                  <a:gd name="T19" fmla="*/ 434 h 444"/>
                  <a:gd name="T20" fmla="*/ 170 w 381"/>
                  <a:gd name="T21" fmla="*/ 413 h 444"/>
                  <a:gd name="T22" fmla="*/ 145 w 381"/>
                  <a:gd name="T23" fmla="*/ 415 h 444"/>
                  <a:gd name="T24" fmla="*/ 130 w 381"/>
                  <a:gd name="T25" fmla="*/ 427 h 444"/>
                  <a:gd name="T26" fmla="*/ 121 w 381"/>
                  <a:gd name="T27" fmla="*/ 430 h 444"/>
                  <a:gd name="T28" fmla="*/ 109 w 381"/>
                  <a:gd name="T29" fmla="*/ 430 h 444"/>
                  <a:gd name="T30" fmla="*/ 96 w 381"/>
                  <a:gd name="T31" fmla="*/ 422 h 444"/>
                  <a:gd name="T32" fmla="*/ 82 w 381"/>
                  <a:gd name="T33" fmla="*/ 415 h 444"/>
                  <a:gd name="T34" fmla="*/ 55 w 381"/>
                  <a:gd name="T35" fmla="*/ 430 h 444"/>
                  <a:gd name="T36" fmla="*/ 34 w 381"/>
                  <a:gd name="T37" fmla="*/ 420 h 444"/>
                  <a:gd name="T38" fmla="*/ 4 w 381"/>
                  <a:gd name="T39" fmla="*/ 379 h 444"/>
                  <a:gd name="T40" fmla="*/ 41 w 381"/>
                  <a:gd name="T41" fmla="*/ 374 h 444"/>
                  <a:gd name="T42" fmla="*/ 31 w 381"/>
                  <a:gd name="T43" fmla="*/ 337 h 444"/>
                  <a:gd name="T44" fmla="*/ 24 w 381"/>
                  <a:gd name="T45" fmla="*/ 309 h 444"/>
                  <a:gd name="T46" fmla="*/ 40 w 381"/>
                  <a:gd name="T47" fmla="*/ 308 h 444"/>
                  <a:gd name="T48" fmla="*/ 68 w 381"/>
                  <a:gd name="T49" fmla="*/ 306 h 444"/>
                  <a:gd name="T50" fmla="*/ 67 w 381"/>
                  <a:gd name="T51" fmla="*/ 289 h 444"/>
                  <a:gd name="T52" fmla="*/ 75 w 381"/>
                  <a:gd name="T53" fmla="*/ 281 h 444"/>
                  <a:gd name="T54" fmla="*/ 87 w 381"/>
                  <a:gd name="T55" fmla="*/ 289 h 444"/>
                  <a:gd name="T56" fmla="*/ 97 w 381"/>
                  <a:gd name="T57" fmla="*/ 304 h 444"/>
                  <a:gd name="T58" fmla="*/ 119 w 381"/>
                  <a:gd name="T59" fmla="*/ 311 h 444"/>
                  <a:gd name="T60" fmla="*/ 140 w 381"/>
                  <a:gd name="T61" fmla="*/ 306 h 444"/>
                  <a:gd name="T62" fmla="*/ 152 w 381"/>
                  <a:gd name="T63" fmla="*/ 316 h 444"/>
                  <a:gd name="T64" fmla="*/ 157 w 381"/>
                  <a:gd name="T65" fmla="*/ 299 h 444"/>
                  <a:gd name="T66" fmla="*/ 167 w 381"/>
                  <a:gd name="T67" fmla="*/ 284 h 444"/>
                  <a:gd name="T68" fmla="*/ 167 w 381"/>
                  <a:gd name="T69" fmla="*/ 269 h 444"/>
                  <a:gd name="T70" fmla="*/ 170 w 381"/>
                  <a:gd name="T71" fmla="*/ 250 h 444"/>
                  <a:gd name="T72" fmla="*/ 169 w 381"/>
                  <a:gd name="T73" fmla="*/ 230 h 444"/>
                  <a:gd name="T74" fmla="*/ 169 w 381"/>
                  <a:gd name="T75" fmla="*/ 214 h 444"/>
                  <a:gd name="T76" fmla="*/ 150 w 381"/>
                  <a:gd name="T77" fmla="*/ 201 h 444"/>
                  <a:gd name="T78" fmla="*/ 147 w 381"/>
                  <a:gd name="T79" fmla="*/ 190 h 444"/>
                  <a:gd name="T80" fmla="*/ 145 w 381"/>
                  <a:gd name="T81" fmla="*/ 170 h 444"/>
                  <a:gd name="T82" fmla="*/ 160 w 381"/>
                  <a:gd name="T83" fmla="*/ 160 h 444"/>
                  <a:gd name="T84" fmla="*/ 165 w 381"/>
                  <a:gd name="T85" fmla="*/ 133 h 444"/>
                  <a:gd name="T86" fmla="*/ 147 w 381"/>
                  <a:gd name="T87" fmla="*/ 116 h 444"/>
                  <a:gd name="T88" fmla="*/ 126 w 381"/>
                  <a:gd name="T89" fmla="*/ 121 h 444"/>
                  <a:gd name="T90" fmla="*/ 114 w 381"/>
                  <a:gd name="T91" fmla="*/ 124 h 444"/>
                  <a:gd name="T92" fmla="*/ 106 w 381"/>
                  <a:gd name="T93" fmla="*/ 124 h 444"/>
                  <a:gd name="T94" fmla="*/ 102 w 381"/>
                  <a:gd name="T95" fmla="*/ 110 h 444"/>
                  <a:gd name="T96" fmla="*/ 106 w 381"/>
                  <a:gd name="T97" fmla="*/ 95 h 444"/>
                  <a:gd name="T98" fmla="*/ 111 w 381"/>
                  <a:gd name="T99" fmla="*/ 80 h 444"/>
                  <a:gd name="T100" fmla="*/ 170 w 381"/>
                  <a:gd name="T101" fmla="*/ 78 h 444"/>
                  <a:gd name="T102" fmla="*/ 184 w 381"/>
                  <a:gd name="T103" fmla="*/ 83 h 444"/>
                  <a:gd name="T104" fmla="*/ 191 w 381"/>
                  <a:gd name="T105" fmla="*/ 87 h 444"/>
                  <a:gd name="T106" fmla="*/ 204 w 381"/>
                  <a:gd name="T107" fmla="*/ 87 h 444"/>
                  <a:gd name="T108" fmla="*/ 225 w 381"/>
                  <a:gd name="T109" fmla="*/ 90 h 444"/>
                  <a:gd name="T110" fmla="*/ 245 w 381"/>
                  <a:gd name="T111" fmla="*/ 99 h 444"/>
                  <a:gd name="T112" fmla="*/ 254 w 381"/>
                  <a:gd name="T113" fmla="*/ 97 h 444"/>
                  <a:gd name="T114" fmla="*/ 254 w 381"/>
                  <a:gd name="T115" fmla="*/ 76 h 444"/>
                  <a:gd name="T116" fmla="*/ 272 w 381"/>
                  <a:gd name="T117" fmla="*/ 31 h 444"/>
                  <a:gd name="T118" fmla="*/ 312 w 381"/>
                  <a:gd name="T119" fmla="*/ 5 h 444"/>
                  <a:gd name="T120" fmla="*/ 340 w 381"/>
                  <a:gd name="T121" fmla="*/ 8 h 444"/>
                  <a:gd name="T122" fmla="*/ 364 w 381"/>
                  <a:gd name="T123" fmla="*/ 7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81" h="444">
                    <a:moveTo>
                      <a:pt x="380" y="12"/>
                    </a:moveTo>
                    <a:lnTo>
                      <a:pt x="381" y="20"/>
                    </a:lnTo>
                    <a:lnTo>
                      <a:pt x="381" y="27"/>
                    </a:lnTo>
                    <a:lnTo>
                      <a:pt x="378" y="31"/>
                    </a:lnTo>
                    <a:lnTo>
                      <a:pt x="376" y="32"/>
                    </a:lnTo>
                    <a:lnTo>
                      <a:pt x="371" y="41"/>
                    </a:lnTo>
                    <a:lnTo>
                      <a:pt x="369" y="48"/>
                    </a:lnTo>
                    <a:lnTo>
                      <a:pt x="366" y="54"/>
                    </a:lnTo>
                    <a:lnTo>
                      <a:pt x="366" y="56"/>
                    </a:lnTo>
                    <a:lnTo>
                      <a:pt x="361" y="61"/>
                    </a:lnTo>
                    <a:lnTo>
                      <a:pt x="359" y="65"/>
                    </a:lnTo>
                    <a:lnTo>
                      <a:pt x="357" y="70"/>
                    </a:lnTo>
                    <a:lnTo>
                      <a:pt x="352" y="75"/>
                    </a:lnTo>
                    <a:lnTo>
                      <a:pt x="352" y="82"/>
                    </a:lnTo>
                    <a:lnTo>
                      <a:pt x="351" y="85"/>
                    </a:lnTo>
                    <a:lnTo>
                      <a:pt x="352" y="90"/>
                    </a:lnTo>
                    <a:lnTo>
                      <a:pt x="351" y="95"/>
                    </a:lnTo>
                    <a:lnTo>
                      <a:pt x="352" y="102"/>
                    </a:lnTo>
                    <a:lnTo>
                      <a:pt x="352" y="110"/>
                    </a:lnTo>
                    <a:lnTo>
                      <a:pt x="347" y="119"/>
                    </a:lnTo>
                    <a:lnTo>
                      <a:pt x="346" y="124"/>
                    </a:lnTo>
                    <a:lnTo>
                      <a:pt x="346" y="129"/>
                    </a:lnTo>
                    <a:lnTo>
                      <a:pt x="342" y="134"/>
                    </a:lnTo>
                    <a:lnTo>
                      <a:pt x="340" y="139"/>
                    </a:lnTo>
                    <a:lnTo>
                      <a:pt x="342" y="150"/>
                    </a:lnTo>
                    <a:lnTo>
                      <a:pt x="342" y="151"/>
                    </a:lnTo>
                    <a:lnTo>
                      <a:pt x="342" y="153"/>
                    </a:lnTo>
                    <a:lnTo>
                      <a:pt x="342" y="155"/>
                    </a:lnTo>
                    <a:lnTo>
                      <a:pt x="342" y="158"/>
                    </a:lnTo>
                    <a:lnTo>
                      <a:pt x="342" y="160"/>
                    </a:lnTo>
                    <a:lnTo>
                      <a:pt x="346" y="161"/>
                    </a:lnTo>
                    <a:lnTo>
                      <a:pt x="346" y="165"/>
                    </a:lnTo>
                    <a:lnTo>
                      <a:pt x="346" y="170"/>
                    </a:lnTo>
                    <a:lnTo>
                      <a:pt x="340" y="175"/>
                    </a:lnTo>
                    <a:lnTo>
                      <a:pt x="337" y="180"/>
                    </a:lnTo>
                    <a:lnTo>
                      <a:pt x="335" y="192"/>
                    </a:lnTo>
                    <a:lnTo>
                      <a:pt x="332" y="197"/>
                    </a:lnTo>
                    <a:lnTo>
                      <a:pt x="332" y="204"/>
                    </a:lnTo>
                    <a:lnTo>
                      <a:pt x="334" y="207"/>
                    </a:lnTo>
                    <a:lnTo>
                      <a:pt x="334" y="216"/>
                    </a:lnTo>
                    <a:lnTo>
                      <a:pt x="329" y="219"/>
                    </a:lnTo>
                    <a:lnTo>
                      <a:pt x="329" y="223"/>
                    </a:lnTo>
                    <a:lnTo>
                      <a:pt x="323" y="226"/>
                    </a:lnTo>
                    <a:lnTo>
                      <a:pt x="320" y="231"/>
                    </a:lnTo>
                    <a:lnTo>
                      <a:pt x="318" y="233"/>
                    </a:lnTo>
                    <a:lnTo>
                      <a:pt x="317" y="236"/>
                    </a:lnTo>
                    <a:lnTo>
                      <a:pt x="308" y="241"/>
                    </a:lnTo>
                    <a:lnTo>
                      <a:pt x="301" y="243"/>
                    </a:lnTo>
                    <a:lnTo>
                      <a:pt x="298" y="245"/>
                    </a:lnTo>
                    <a:lnTo>
                      <a:pt x="295" y="248"/>
                    </a:lnTo>
                    <a:lnTo>
                      <a:pt x="288" y="253"/>
                    </a:lnTo>
                    <a:lnTo>
                      <a:pt x="286" y="258"/>
                    </a:lnTo>
                    <a:lnTo>
                      <a:pt x="281" y="264"/>
                    </a:lnTo>
                    <a:lnTo>
                      <a:pt x="281" y="267"/>
                    </a:lnTo>
                    <a:lnTo>
                      <a:pt x="276" y="277"/>
                    </a:lnTo>
                    <a:lnTo>
                      <a:pt x="276" y="282"/>
                    </a:lnTo>
                    <a:lnTo>
                      <a:pt x="271" y="284"/>
                    </a:lnTo>
                    <a:lnTo>
                      <a:pt x="267" y="289"/>
                    </a:lnTo>
                    <a:lnTo>
                      <a:pt x="266" y="291"/>
                    </a:lnTo>
                    <a:lnTo>
                      <a:pt x="259" y="298"/>
                    </a:lnTo>
                    <a:lnTo>
                      <a:pt x="257" y="301"/>
                    </a:lnTo>
                    <a:lnTo>
                      <a:pt x="255" y="306"/>
                    </a:lnTo>
                    <a:lnTo>
                      <a:pt x="257" y="315"/>
                    </a:lnTo>
                    <a:lnTo>
                      <a:pt x="259" y="320"/>
                    </a:lnTo>
                    <a:lnTo>
                      <a:pt x="259" y="325"/>
                    </a:lnTo>
                    <a:lnTo>
                      <a:pt x="257" y="328"/>
                    </a:lnTo>
                    <a:lnTo>
                      <a:pt x="255" y="337"/>
                    </a:lnTo>
                    <a:lnTo>
                      <a:pt x="257" y="342"/>
                    </a:lnTo>
                    <a:lnTo>
                      <a:pt x="255" y="345"/>
                    </a:lnTo>
                    <a:lnTo>
                      <a:pt x="257" y="350"/>
                    </a:lnTo>
                    <a:lnTo>
                      <a:pt x="255" y="354"/>
                    </a:lnTo>
                    <a:lnTo>
                      <a:pt x="257" y="355"/>
                    </a:lnTo>
                    <a:lnTo>
                      <a:pt x="257" y="359"/>
                    </a:lnTo>
                    <a:lnTo>
                      <a:pt x="254" y="364"/>
                    </a:lnTo>
                    <a:lnTo>
                      <a:pt x="252" y="369"/>
                    </a:lnTo>
                    <a:lnTo>
                      <a:pt x="249" y="372"/>
                    </a:lnTo>
                    <a:lnTo>
                      <a:pt x="242" y="388"/>
                    </a:lnTo>
                    <a:lnTo>
                      <a:pt x="238" y="389"/>
                    </a:lnTo>
                    <a:lnTo>
                      <a:pt x="232" y="391"/>
                    </a:lnTo>
                    <a:lnTo>
                      <a:pt x="225" y="393"/>
                    </a:lnTo>
                    <a:lnTo>
                      <a:pt x="223" y="396"/>
                    </a:lnTo>
                    <a:lnTo>
                      <a:pt x="221" y="398"/>
                    </a:lnTo>
                    <a:lnTo>
                      <a:pt x="221" y="401"/>
                    </a:lnTo>
                    <a:lnTo>
                      <a:pt x="220" y="403"/>
                    </a:lnTo>
                    <a:lnTo>
                      <a:pt x="216" y="406"/>
                    </a:lnTo>
                    <a:lnTo>
                      <a:pt x="211" y="405"/>
                    </a:lnTo>
                    <a:lnTo>
                      <a:pt x="210" y="406"/>
                    </a:lnTo>
                    <a:lnTo>
                      <a:pt x="206" y="408"/>
                    </a:lnTo>
                    <a:lnTo>
                      <a:pt x="204" y="412"/>
                    </a:lnTo>
                    <a:lnTo>
                      <a:pt x="203" y="415"/>
                    </a:lnTo>
                    <a:lnTo>
                      <a:pt x="198" y="418"/>
                    </a:lnTo>
                    <a:lnTo>
                      <a:pt x="191" y="427"/>
                    </a:lnTo>
                    <a:lnTo>
                      <a:pt x="189" y="432"/>
                    </a:lnTo>
                    <a:lnTo>
                      <a:pt x="181" y="437"/>
                    </a:lnTo>
                    <a:lnTo>
                      <a:pt x="179" y="439"/>
                    </a:lnTo>
                    <a:lnTo>
                      <a:pt x="176" y="437"/>
                    </a:lnTo>
                    <a:lnTo>
                      <a:pt x="174" y="435"/>
                    </a:lnTo>
                    <a:lnTo>
                      <a:pt x="170" y="434"/>
                    </a:lnTo>
                    <a:lnTo>
                      <a:pt x="167" y="437"/>
                    </a:lnTo>
                    <a:lnTo>
                      <a:pt x="165" y="434"/>
                    </a:lnTo>
                    <a:lnTo>
                      <a:pt x="165" y="432"/>
                    </a:lnTo>
                    <a:lnTo>
                      <a:pt x="167" y="430"/>
                    </a:lnTo>
                    <a:lnTo>
                      <a:pt x="165" y="429"/>
                    </a:lnTo>
                    <a:lnTo>
                      <a:pt x="167" y="427"/>
                    </a:lnTo>
                    <a:lnTo>
                      <a:pt x="165" y="423"/>
                    </a:lnTo>
                    <a:lnTo>
                      <a:pt x="165" y="420"/>
                    </a:lnTo>
                    <a:lnTo>
                      <a:pt x="165" y="418"/>
                    </a:lnTo>
                    <a:lnTo>
                      <a:pt x="165" y="417"/>
                    </a:lnTo>
                    <a:lnTo>
                      <a:pt x="167" y="417"/>
                    </a:lnTo>
                    <a:lnTo>
                      <a:pt x="170" y="413"/>
                    </a:lnTo>
                    <a:lnTo>
                      <a:pt x="167" y="412"/>
                    </a:lnTo>
                    <a:lnTo>
                      <a:pt x="165" y="408"/>
                    </a:lnTo>
                    <a:lnTo>
                      <a:pt x="167" y="405"/>
                    </a:lnTo>
                    <a:lnTo>
                      <a:pt x="164" y="406"/>
                    </a:lnTo>
                    <a:lnTo>
                      <a:pt x="160" y="408"/>
                    </a:lnTo>
                    <a:lnTo>
                      <a:pt x="159" y="410"/>
                    </a:lnTo>
                    <a:lnTo>
                      <a:pt x="155" y="412"/>
                    </a:lnTo>
                    <a:lnTo>
                      <a:pt x="150" y="412"/>
                    </a:lnTo>
                    <a:lnTo>
                      <a:pt x="147" y="413"/>
                    </a:lnTo>
                    <a:lnTo>
                      <a:pt x="145" y="415"/>
                    </a:lnTo>
                    <a:lnTo>
                      <a:pt x="145" y="417"/>
                    </a:lnTo>
                    <a:lnTo>
                      <a:pt x="143" y="417"/>
                    </a:lnTo>
                    <a:lnTo>
                      <a:pt x="140" y="417"/>
                    </a:lnTo>
                    <a:lnTo>
                      <a:pt x="138" y="413"/>
                    </a:lnTo>
                    <a:lnTo>
                      <a:pt x="136" y="413"/>
                    </a:lnTo>
                    <a:lnTo>
                      <a:pt x="133" y="413"/>
                    </a:lnTo>
                    <a:lnTo>
                      <a:pt x="133" y="420"/>
                    </a:lnTo>
                    <a:lnTo>
                      <a:pt x="131" y="423"/>
                    </a:lnTo>
                    <a:lnTo>
                      <a:pt x="131" y="427"/>
                    </a:lnTo>
                    <a:lnTo>
                      <a:pt x="130" y="427"/>
                    </a:lnTo>
                    <a:lnTo>
                      <a:pt x="130" y="429"/>
                    </a:lnTo>
                    <a:lnTo>
                      <a:pt x="130" y="430"/>
                    </a:lnTo>
                    <a:lnTo>
                      <a:pt x="128" y="429"/>
                    </a:lnTo>
                    <a:lnTo>
                      <a:pt x="126" y="429"/>
                    </a:lnTo>
                    <a:lnTo>
                      <a:pt x="128" y="430"/>
                    </a:lnTo>
                    <a:lnTo>
                      <a:pt x="126" y="430"/>
                    </a:lnTo>
                    <a:lnTo>
                      <a:pt x="126" y="432"/>
                    </a:lnTo>
                    <a:lnTo>
                      <a:pt x="123" y="432"/>
                    </a:lnTo>
                    <a:lnTo>
                      <a:pt x="123" y="430"/>
                    </a:lnTo>
                    <a:lnTo>
                      <a:pt x="121" y="430"/>
                    </a:lnTo>
                    <a:lnTo>
                      <a:pt x="121" y="432"/>
                    </a:lnTo>
                    <a:lnTo>
                      <a:pt x="121" y="434"/>
                    </a:lnTo>
                    <a:lnTo>
                      <a:pt x="119" y="435"/>
                    </a:lnTo>
                    <a:lnTo>
                      <a:pt x="116" y="435"/>
                    </a:lnTo>
                    <a:lnTo>
                      <a:pt x="116" y="437"/>
                    </a:lnTo>
                    <a:lnTo>
                      <a:pt x="114" y="435"/>
                    </a:lnTo>
                    <a:lnTo>
                      <a:pt x="114" y="432"/>
                    </a:lnTo>
                    <a:lnTo>
                      <a:pt x="113" y="430"/>
                    </a:lnTo>
                    <a:lnTo>
                      <a:pt x="111" y="430"/>
                    </a:lnTo>
                    <a:lnTo>
                      <a:pt x="109" y="430"/>
                    </a:lnTo>
                    <a:lnTo>
                      <a:pt x="108" y="429"/>
                    </a:lnTo>
                    <a:lnTo>
                      <a:pt x="108" y="427"/>
                    </a:lnTo>
                    <a:lnTo>
                      <a:pt x="102" y="423"/>
                    </a:lnTo>
                    <a:lnTo>
                      <a:pt x="102" y="422"/>
                    </a:lnTo>
                    <a:lnTo>
                      <a:pt x="101" y="420"/>
                    </a:lnTo>
                    <a:lnTo>
                      <a:pt x="101" y="422"/>
                    </a:lnTo>
                    <a:lnTo>
                      <a:pt x="101" y="423"/>
                    </a:lnTo>
                    <a:lnTo>
                      <a:pt x="99" y="423"/>
                    </a:lnTo>
                    <a:lnTo>
                      <a:pt x="97" y="423"/>
                    </a:lnTo>
                    <a:lnTo>
                      <a:pt x="96" y="422"/>
                    </a:lnTo>
                    <a:lnTo>
                      <a:pt x="94" y="418"/>
                    </a:lnTo>
                    <a:lnTo>
                      <a:pt x="89" y="415"/>
                    </a:lnTo>
                    <a:lnTo>
                      <a:pt x="91" y="412"/>
                    </a:lnTo>
                    <a:lnTo>
                      <a:pt x="85" y="412"/>
                    </a:lnTo>
                    <a:lnTo>
                      <a:pt x="82" y="410"/>
                    </a:lnTo>
                    <a:lnTo>
                      <a:pt x="80" y="413"/>
                    </a:lnTo>
                    <a:lnTo>
                      <a:pt x="84" y="415"/>
                    </a:lnTo>
                    <a:lnTo>
                      <a:pt x="84" y="417"/>
                    </a:lnTo>
                    <a:lnTo>
                      <a:pt x="82" y="417"/>
                    </a:lnTo>
                    <a:lnTo>
                      <a:pt x="82" y="415"/>
                    </a:lnTo>
                    <a:lnTo>
                      <a:pt x="79" y="415"/>
                    </a:lnTo>
                    <a:lnTo>
                      <a:pt x="77" y="417"/>
                    </a:lnTo>
                    <a:lnTo>
                      <a:pt x="75" y="418"/>
                    </a:lnTo>
                    <a:lnTo>
                      <a:pt x="67" y="422"/>
                    </a:lnTo>
                    <a:lnTo>
                      <a:pt x="65" y="422"/>
                    </a:lnTo>
                    <a:lnTo>
                      <a:pt x="65" y="425"/>
                    </a:lnTo>
                    <a:lnTo>
                      <a:pt x="62" y="432"/>
                    </a:lnTo>
                    <a:lnTo>
                      <a:pt x="60" y="432"/>
                    </a:lnTo>
                    <a:lnTo>
                      <a:pt x="57" y="432"/>
                    </a:lnTo>
                    <a:lnTo>
                      <a:pt x="55" y="430"/>
                    </a:lnTo>
                    <a:lnTo>
                      <a:pt x="53" y="437"/>
                    </a:lnTo>
                    <a:lnTo>
                      <a:pt x="45" y="444"/>
                    </a:lnTo>
                    <a:lnTo>
                      <a:pt x="36" y="432"/>
                    </a:lnTo>
                    <a:lnTo>
                      <a:pt x="36" y="430"/>
                    </a:lnTo>
                    <a:lnTo>
                      <a:pt x="36" y="432"/>
                    </a:lnTo>
                    <a:lnTo>
                      <a:pt x="36" y="430"/>
                    </a:lnTo>
                    <a:lnTo>
                      <a:pt x="33" y="425"/>
                    </a:lnTo>
                    <a:lnTo>
                      <a:pt x="34" y="425"/>
                    </a:lnTo>
                    <a:lnTo>
                      <a:pt x="36" y="422"/>
                    </a:lnTo>
                    <a:lnTo>
                      <a:pt x="34" y="420"/>
                    </a:lnTo>
                    <a:lnTo>
                      <a:pt x="29" y="415"/>
                    </a:lnTo>
                    <a:lnTo>
                      <a:pt x="31" y="415"/>
                    </a:lnTo>
                    <a:lnTo>
                      <a:pt x="29" y="415"/>
                    </a:lnTo>
                    <a:lnTo>
                      <a:pt x="14" y="401"/>
                    </a:lnTo>
                    <a:lnTo>
                      <a:pt x="12" y="400"/>
                    </a:lnTo>
                    <a:lnTo>
                      <a:pt x="12" y="398"/>
                    </a:lnTo>
                    <a:lnTo>
                      <a:pt x="11" y="396"/>
                    </a:lnTo>
                    <a:lnTo>
                      <a:pt x="0" y="389"/>
                    </a:lnTo>
                    <a:lnTo>
                      <a:pt x="6" y="383"/>
                    </a:lnTo>
                    <a:lnTo>
                      <a:pt x="4" y="379"/>
                    </a:lnTo>
                    <a:lnTo>
                      <a:pt x="6" y="376"/>
                    </a:lnTo>
                    <a:lnTo>
                      <a:pt x="11" y="371"/>
                    </a:lnTo>
                    <a:lnTo>
                      <a:pt x="16" y="371"/>
                    </a:lnTo>
                    <a:lnTo>
                      <a:pt x="17" y="369"/>
                    </a:lnTo>
                    <a:lnTo>
                      <a:pt x="19" y="362"/>
                    </a:lnTo>
                    <a:lnTo>
                      <a:pt x="23" y="362"/>
                    </a:lnTo>
                    <a:lnTo>
                      <a:pt x="28" y="367"/>
                    </a:lnTo>
                    <a:lnTo>
                      <a:pt x="31" y="374"/>
                    </a:lnTo>
                    <a:lnTo>
                      <a:pt x="36" y="378"/>
                    </a:lnTo>
                    <a:lnTo>
                      <a:pt x="41" y="374"/>
                    </a:lnTo>
                    <a:lnTo>
                      <a:pt x="38" y="369"/>
                    </a:lnTo>
                    <a:lnTo>
                      <a:pt x="38" y="366"/>
                    </a:lnTo>
                    <a:lnTo>
                      <a:pt x="41" y="366"/>
                    </a:lnTo>
                    <a:lnTo>
                      <a:pt x="43" y="362"/>
                    </a:lnTo>
                    <a:lnTo>
                      <a:pt x="43" y="354"/>
                    </a:lnTo>
                    <a:lnTo>
                      <a:pt x="38" y="352"/>
                    </a:lnTo>
                    <a:lnTo>
                      <a:pt x="31" y="347"/>
                    </a:lnTo>
                    <a:lnTo>
                      <a:pt x="31" y="344"/>
                    </a:lnTo>
                    <a:lnTo>
                      <a:pt x="34" y="342"/>
                    </a:lnTo>
                    <a:lnTo>
                      <a:pt x="31" y="337"/>
                    </a:lnTo>
                    <a:lnTo>
                      <a:pt x="28" y="332"/>
                    </a:lnTo>
                    <a:lnTo>
                      <a:pt x="26" y="330"/>
                    </a:lnTo>
                    <a:lnTo>
                      <a:pt x="24" y="335"/>
                    </a:lnTo>
                    <a:lnTo>
                      <a:pt x="23" y="333"/>
                    </a:lnTo>
                    <a:lnTo>
                      <a:pt x="21" y="333"/>
                    </a:lnTo>
                    <a:lnTo>
                      <a:pt x="23" y="332"/>
                    </a:lnTo>
                    <a:lnTo>
                      <a:pt x="26" y="326"/>
                    </a:lnTo>
                    <a:lnTo>
                      <a:pt x="28" y="321"/>
                    </a:lnTo>
                    <a:lnTo>
                      <a:pt x="24" y="316"/>
                    </a:lnTo>
                    <a:lnTo>
                      <a:pt x="24" y="309"/>
                    </a:lnTo>
                    <a:lnTo>
                      <a:pt x="23" y="308"/>
                    </a:lnTo>
                    <a:lnTo>
                      <a:pt x="24" y="308"/>
                    </a:lnTo>
                    <a:lnTo>
                      <a:pt x="26" y="306"/>
                    </a:lnTo>
                    <a:lnTo>
                      <a:pt x="26" y="308"/>
                    </a:lnTo>
                    <a:lnTo>
                      <a:pt x="28" y="308"/>
                    </a:lnTo>
                    <a:lnTo>
                      <a:pt x="29" y="311"/>
                    </a:lnTo>
                    <a:lnTo>
                      <a:pt x="31" y="311"/>
                    </a:lnTo>
                    <a:lnTo>
                      <a:pt x="31" y="313"/>
                    </a:lnTo>
                    <a:lnTo>
                      <a:pt x="34" y="309"/>
                    </a:lnTo>
                    <a:lnTo>
                      <a:pt x="40" y="308"/>
                    </a:lnTo>
                    <a:lnTo>
                      <a:pt x="43" y="306"/>
                    </a:lnTo>
                    <a:lnTo>
                      <a:pt x="45" y="308"/>
                    </a:lnTo>
                    <a:lnTo>
                      <a:pt x="46" y="311"/>
                    </a:lnTo>
                    <a:lnTo>
                      <a:pt x="51" y="311"/>
                    </a:lnTo>
                    <a:lnTo>
                      <a:pt x="70" y="311"/>
                    </a:lnTo>
                    <a:lnTo>
                      <a:pt x="70" y="309"/>
                    </a:lnTo>
                    <a:lnTo>
                      <a:pt x="70" y="308"/>
                    </a:lnTo>
                    <a:lnTo>
                      <a:pt x="70" y="306"/>
                    </a:lnTo>
                    <a:lnTo>
                      <a:pt x="68" y="308"/>
                    </a:lnTo>
                    <a:lnTo>
                      <a:pt x="68" y="306"/>
                    </a:lnTo>
                    <a:lnTo>
                      <a:pt x="68" y="304"/>
                    </a:lnTo>
                    <a:lnTo>
                      <a:pt x="68" y="303"/>
                    </a:lnTo>
                    <a:lnTo>
                      <a:pt x="70" y="301"/>
                    </a:lnTo>
                    <a:lnTo>
                      <a:pt x="68" y="301"/>
                    </a:lnTo>
                    <a:lnTo>
                      <a:pt x="70" y="299"/>
                    </a:lnTo>
                    <a:lnTo>
                      <a:pt x="68" y="298"/>
                    </a:lnTo>
                    <a:lnTo>
                      <a:pt x="70" y="296"/>
                    </a:lnTo>
                    <a:lnTo>
                      <a:pt x="67" y="292"/>
                    </a:lnTo>
                    <a:lnTo>
                      <a:pt x="68" y="291"/>
                    </a:lnTo>
                    <a:lnTo>
                      <a:pt x="67" y="289"/>
                    </a:lnTo>
                    <a:lnTo>
                      <a:pt x="68" y="287"/>
                    </a:lnTo>
                    <a:lnTo>
                      <a:pt x="67" y="286"/>
                    </a:lnTo>
                    <a:lnTo>
                      <a:pt x="67" y="284"/>
                    </a:lnTo>
                    <a:lnTo>
                      <a:pt x="68" y="284"/>
                    </a:lnTo>
                    <a:lnTo>
                      <a:pt x="70" y="286"/>
                    </a:lnTo>
                    <a:lnTo>
                      <a:pt x="72" y="286"/>
                    </a:lnTo>
                    <a:lnTo>
                      <a:pt x="72" y="284"/>
                    </a:lnTo>
                    <a:lnTo>
                      <a:pt x="74" y="282"/>
                    </a:lnTo>
                    <a:lnTo>
                      <a:pt x="74" y="281"/>
                    </a:lnTo>
                    <a:lnTo>
                      <a:pt x="75" y="281"/>
                    </a:lnTo>
                    <a:lnTo>
                      <a:pt x="77" y="281"/>
                    </a:lnTo>
                    <a:lnTo>
                      <a:pt x="79" y="282"/>
                    </a:lnTo>
                    <a:lnTo>
                      <a:pt x="80" y="282"/>
                    </a:lnTo>
                    <a:lnTo>
                      <a:pt x="82" y="286"/>
                    </a:lnTo>
                    <a:lnTo>
                      <a:pt x="84" y="284"/>
                    </a:lnTo>
                    <a:lnTo>
                      <a:pt x="85" y="286"/>
                    </a:lnTo>
                    <a:lnTo>
                      <a:pt x="87" y="286"/>
                    </a:lnTo>
                    <a:lnTo>
                      <a:pt x="85" y="286"/>
                    </a:lnTo>
                    <a:lnTo>
                      <a:pt x="87" y="287"/>
                    </a:lnTo>
                    <a:lnTo>
                      <a:pt x="87" y="289"/>
                    </a:lnTo>
                    <a:lnTo>
                      <a:pt x="89" y="292"/>
                    </a:lnTo>
                    <a:lnTo>
                      <a:pt x="91" y="294"/>
                    </a:lnTo>
                    <a:lnTo>
                      <a:pt x="89" y="294"/>
                    </a:lnTo>
                    <a:lnTo>
                      <a:pt x="91" y="296"/>
                    </a:lnTo>
                    <a:lnTo>
                      <a:pt x="91" y="298"/>
                    </a:lnTo>
                    <a:lnTo>
                      <a:pt x="92" y="299"/>
                    </a:lnTo>
                    <a:lnTo>
                      <a:pt x="92" y="301"/>
                    </a:lnTo>
                    <a:lnTo>
                      <a:pt x="94" y="299"/>
                    </a:lnTo>
                    <a:lnTo>
                      <a:pt x="96" y="304"/>
                    </a:lnTo>
                    <a:lnTo>
                      <a:pt x="97" y="304"/>
                    </a:lnTo>
                    <a:lnTo>
                      <a:pt x="96" y="306"/>
                    </a:lnTo>
                    <a:lnTo>
                      <a:pt x="96" y="309"/>
                    </a:lnTo>
                    <a:lnTo>
                      <a:pt x="97" y="306"/>
                    </a:lnTo>
                    <a:lnTo>
                      <a:pt x="102" y="309"/>
                    </a:lnTo>
                    <a:lnTo>
                      <a:pt x="106" y="308"/>
                    </a:lnTo>
                    <a:lnTo>
                      <a:pt x="108" y="309"/>
                    </a:lnTo>
                    <a:lnTo>
                      <a:pt x="113" y="309"/>
                    </a:lnTo>
                    <a:lnTo>
                      <a:pt x="114" y="311"/>
                    </a:lnTo>
                    <a:lnTo>
                      <a:pt x="118" y="311"/>
                    </a:lnTo>
                    <a:lnTo>
                      <a:pt x="119" y="311"/>
                    </a:lnTo>
                    <a:lnTo>
                      <a:pt x="125" y="308"/>
                    </a:lnTo>
                    <a:lnTo>
                      <a:pt x="126" y="306"/>
                    </a:lnTo>
                    <a:lnTo>
                      <a:pt x="131" y="301"/>
                    </a:lnTo>
                    <a:lnTo>
                      <a:pt x="133" y="296"/>
                    </a:lnTo>
                    <a:lnTo>
                      <a:pt x="135" y="294"/>
                    </a:lnTo>
                    <a:lnTo>
                      <a:pt x="135" y="296"/>
                    </a:lnTo>
                    <a:lnTo>
                      <a:pt x="136" y="298"/>
                    </a:lnTo>
                    <a:lnTo>
                      <a:pt x="138" y="303"/>
                    </a:lnTo>
                    <a:lnTo>
                      <a:pt x="140" y="304"/>
                    </a:lnTo>
                    <a:lnTo>
                      <a:pt x="140" y="306"/>
                    </a:lnTo>
                    <a:lnTo>
                      <a:pt x="143" y="308"/>
                    </a:lnTo>
                    <a:lnTo>
                      <a:pt x="140" y="311"/>
                    </a:lnTo>
                    <a:lnTo>
                      <a:pt x="140" y="315"/>
                    </a:lnTo>
                    <a:lnTo>
                      <a:pt x="142" y="315"/>
                    </a:lnTo>
                    <a:lnTo>
                      <a:pt x="143" y="313"/>
                    </a:lnTo>
                    <a:lnTo>
                      <a:pt x="145" y="313"/>
                    </a:lnTo>
                    <a:lnTo>
                      <a:pt x="147" y="315"/>
                    </a:lnTo>
                    <a:lnTo>
                      <a:pt x="148" y="315"/>
                    </a:lnTo>
                    <a:lnTo>
                      <a:pt x="150" y="315"/>
                    </a:lnTo>
                    <a:lnTo>
                      <a:pt x="152" y="316"/>
                    </a:lnTo>
                    <a:lnTo>
                      <a:pt x="152" y="315"/>
                    </a:lnTo>
                    <a:lnTo>
                      <a:pt x="153" y="313"/>
                    </a:lnTo>
                    <a:lnTo>
                      <a:pt x="153" y="311"/>
                    </a:lnTo>
                    <a:lnTo>
                      <a:pt x="153" y="309"/>
                    </a:lnTo>
                    <a:lnTo>
                      <a:pt x="157" y="308"/>
                    </a:lnTo>
                    <a:lnTo>
                      <a:pt x="159" y="308"/>
                    </a:lnTo>
                    <a:lnTo>
                      <a:pt x="155" y="304"/>
                    </a:lnTo>
                    <a:lnTo>
                      <a:pt x="155" y="303"/>
                    </a:lnTo>
                    <a:lnTo>
                      <a:pt x="153" y="301"/>
                    </a:lnTo>
                    <a:lnTo>
                      <a:pt x="157" y="299"/>
                    </a:lnTo>
                    <a:lnTo>
                      <a:pt x="157" y="298"/>
                    </a:lnTo>
                    <a:lnTo>
                      <a:pt x="160" y="296"/>
                    </a:lnTo>
                    <a:lnTo>
                      <a:pt x="159" y="294"/>
                    </a:lnTo>
                    <a:lnTo>
                      <a:pt x="160" y="292"/>
                    </a:lnTo>
                    <a:lnTo>
                      <a:pt x="159" y="291"/>
                    </a:lnTo>
                    <a:lnTo>
                      <a:pt x="159" y="289"/>
                    </a:lnTo>
                    <a:lnTo>
                      <a:pt x="160" y="289"/>
                    </a:lnTo>
                    <a:lnTo>
                      <a:pt x="162" y="287"/>
                    </a:lnTo>
                    <a:lnTo>
                      <a:pt x="165" y="286"/>
                    </a:lnTo>
                    <a:lnTo>
                      <a:pt x="167" y="284"/>
                    </a:lnTo>
                    <a:lnTo>
                      <a:pt x="167" y="282"/>
                    </a:lnTo>
                    <a:lnTo>
                      <a:pt x="169" y="279"/>
                    </a:lnTo>
                    <a:lnTo>
                      <a:pt x="167" y="279"/>
                    </a:lnTo>
                    <a:lnTo>
                      <a:pt x="167" y="277"/>
                    </a:lnTo>
                    <a:lnTo>
                      <a:pt x="170" y="274"/>
                    </a:lnTo>
                    <a:lnTo>
                      <a:pt x="169" y="274"/>
                    </a:lnTo>
                    <a:lnTo>
                      <a:pt x="167" y="274"/>
                    </a:lnTo>
                    <a:lnTo>
                      <a:pt x="167" y="272"/>
                    </a:lnTo>
                    <a:lnTo>
                      <a:pt x="165" y="270"/>
                    </a:lnTo>
                    <a:lnTo>
                      <a:pt x="167" y="269"/>
                    </a:lnTo>
                    <a:lnTo>
                      <a:pt x="169" y="267"/>
                    </a:lnTo>
                    <a:lnTo>
                      <a:pt x="170" y="267"/>
                    </a:lnTo>
                    <a:lnTo>
                      <a:pt x="169" y="265"/>
                    </a:lnTo>
                    <a:lnTo>
                      <a:pt x="170" y="265"/>
                    </a:lnTo>
                    <a:lnTo>
                      <a:pt x="170" y="264"/>
                    </a:lnTo>
                    <a:lnTo>
                      <a:pt x="172" y="260"/>
                    </a:lnTo>
                    <a:lnTo>
                      <a:pt x="169" y="257"/>
                    </a:lnTo>
                    <a:lnTo>
                      <a:pt x="170" y="255"/>
                    </a:lnTo>
                    <a:lnTo>
                      <a:pt x="172" y="252"/>
                    </a:lnTo>
                    <a:lnTo>
                      <a:pt x="170" y="250"/>
                    </a:lnTo>
                    <a:lnTo>
                      <a:pt x="169" y="248"/>
                    </a:lnTo>
                    <a:lnTo>
                      <a:pt x="170" y="245"/>
                    </a:lnTo>
                    <a:lnTo>
                      <a:pt x="169" y="241"/>
                    </a:lnTo>
                    <a:lnTo>
                      <a:pt x="167" y="241"/>
                    </a:lnTo>
                    <a:lnTo>
                      <a:pt x="169" y="238"/>
                    </a:lnTo>
                    <a:lnTo>
                      <a:pt x="169" y="236"/>
                    </a:lnTo>
                    <a:lnTo>
                      <a:pt x="167" y="236"/>
                    </a:lnTo>
                    <a:lnTo>
                      <a:pt x="170" y="233"/>
                    </a:lnTo>
                    <a:lnTo>
                      <a:pt x="170" y="231"/>
                    </a:lnTo>
                    <a:lnTo>
                      <a:pt x="169" y="230"/>
                    </a:lnTo>
                    <a:lnTo>
                      <a:pt x="170" y="228"/>
                    </a:lnTo>
                    <a:lnTo>
                      <a:pt x="169" y="226"/>
                    </a:lnTo>
                    <a:lnTo>
                      <a:pt x="172" y="223"/>
                    </a:lnTo>
                    <a:lnTo>
                      <a:pt x="172" y="221"/>
                    </a:lnTo>
                    <a:lnTo>
                      <a:pt x="172" y="219"/>
                    </a:lnTo>
                    <a:lnTo>
                      <a:pt x="170" y="219"/>
                    </a:lnTo>
                    <a:lnTo>
                      <a:pt x="170" y="218"/>
                    </a:lnTo>
                    <a:lnTo>
                      <a:pt x="169" y="216"/>
                    </a:lnTo>
                    <a:lnTo>
                      <a:pt x="167" y="216"/>
                    </a:lnTo>
                    <a:lnTo>
                      <a:pt x="169" y="214"/>
                    </a:lnTo>
                    <a:lnTo>
                      <a:pt x="167" y="213"/>
                    </a:lnTo>
                    <a:lnTo>
                      <a:pt x="165" y="213"/>
                    </a:lnTo>
                    <a:lnTo>
                      <a:pt x="162" y="211"/>
                    </a:lnTo>
                    <a:lnTo>
                      <a:pt x="160" y="213"/>
                    </a:lnTo>
                    <a:lnTo>
                      <a:pt x="157" y="211"/>
                    </a:lnTo>
                    <a:lnTo>
                      <a:pt x="155" y="211"/>
                    </a:lnTo>
                    <a:lnTo>
                      <a:pt x="155" y="207"/>
                    </a:lnTo>
                    <a:lnTo>
                      <a:pt x="153" y="202"/>
                    </a:lnTo>
                    <a:lnTo>
                      <a:pt x="152" y="202"/>
                    </a:lnTo>
                    <a:lnTo>
                      <a:pt x="150" y="201"/>
                    </a:lnTo>
                    <a:lnTo>
                      <a:pt x="148" y="202"/>
                    </a:lnTo>
                    <a:lnTo>
                      <a:pt x="148" y="201"/>
                    </a:lnTo>
                    <a:lnTo>
                      <a:pt x="147" y="202"/>
                    </a:lnTo>
                    <a:lnTo>
                      <a:pt x="145" y="201"/>
                    </a:lnTo>
                    <a:lnTo>
                      <a:pt x="145" y="202"/>
                    </a:lnTo>
                    <a:lnTo>
                      <a:pt x="143" y="201"/>
                    </a:lnTo>
                    <a:lnTo>
                      <a:pt x="142" y="197"/>
                    </a:lnTo>
                    <a:lnTo>
                      <a:pt x="142" y="196"/>
                    </a:lnTo>
                    <a:lnTo>
                      <a:pt x="147" y="194"/>
                    </a:lnTo>
                    <a:lnTo>
                      <a:pt x="147" y="190"/>
                    </a:lnTo>
                    <a:lnTo>
                      <a:pt x="145" y="189"/>
                    </a:lnTo>
                    <a:lnTo>
                      <a:pt x="143" y="189"/>
                    </a:lnTo>
                    <a:lnTo>
                      <a:pt x="143" y="187"/>
                    </a:lnTo>
                    <a:lnTo>
                      <a:pt x="142" y="185"/>
                    </a:lnTo>
                    <a:lnTo>
                      <a:pt x="142" y="182"/>
                    </a:lnTo>
                    <a:lnTo>
                      <a:pt x="140" y="178"/>
                    </a:lnTo>
                    <a:lnTo>
                      <a:pt x="140" y="177"/>
                    </a:lnTo>
                    <a:lnTo>
                      <a:pt x="143" y="175"/>
                    </a:lnTo>
                    <a:lnTo>
                      <a:pt x="143" y="172"/>
                    </a:lnTo>
                    <a:lnTo>
                      <a:pt x="145" y="170"/>
                    </a:lnTo>
                    <a:lnTo>
                      <a:pt x="148" y="167"/>
                    </a:lnTo>
                    <a:lnTo>
                      <a:pt x="150" y="165"/>
                    </a:lnTo>
                    <a:lnTo>
                      <a:pt x="150" y="163"/>
                    </a:lnTo>
                    <a:lnTo>
                      <a:pt x="150" y="161"/>
                    </a:lnTo>
                    <a:lnTo>
                      <a:pt x="153" y="160"/>
                    </a:lnTo>
                    <a:lnTo>
                      <a:pt x="155" y="161"/>
                    </a:lnTo>
                    <a:lnTo>
                      <a:pt x="157" y="160"/>
                    </a:lnTo>
                    <a:lnTo>
                      <a:pt x="157" y="161"/>
                    </a:lnTo>
                    <a:lnTo>
                      <a:pt x="160" y="161"/>
                    </a:lnTo>
                    <a:lnTo>
                      <a:pt x="160" y="160"/>
                    </a:lnTo>
                    <a:lnTo>
                      <a:pt x="160" y="158"/>
                    </a:lnTo>
                    <a:lnTo>
                      <a:pt x="165" y="156"/>
                    </a:lnTo>
                    <a:lnTo>
                      <a:pt x="164" y="155"/>
                    </a:lnTo>
                    <a:lnTo>
                      <a:pt x="164" y="153"/>
                    </a:lnTo>
                    <a:lnTo>
                      <a:pt x="170" y="146"/>
                    </a:lnTo>
                    <a:lnTo>
                      <a:pt x="169" y="144"/>
                    </a:lnTo>
                    <a:lnTo>
                      <a:pt x="170" y="144"/>
                    </a:lnTo>
                    <a:lnTo>
                      <a:pt x="170" y="141"/>
                    </a:lnTo>
                    <a:lnTo>
                      <a:pt x="167" y="139"/>
                    </a:lnTo>
                    <a:lnTo>
                      <a:pt x="165" y="133"/>
                    </a:lnTo>
                    <a:lnTo>
                      <a:pt x="164" y="131"/>
                    </a:lnTo>
                    <a:lnTo>
                      <a:pt x="162" y="127"/>
                    </a:lnTo>
                    <a:lnTo>
                      <a:pt x="160" y="126"/>
                    </a:lnTo>
                    <a:lnTo>
                      <a:pt x="162" y="122"/>
                    </a:lnTo>
                    <a:lnTo>
                      <a:pt x="160" y="121"/>
                    </a:lnTo>
                    <a:lnTo>
                      <a:pt x="155" y="119"/>
                    </a:lnTo>
                    <a:lnTo>
                      <a:pt x="155" y="117"/>
                    </a:lnTo>
                    <a:lnTo>
                      <a:pt x="152" y="117"/>
                    </a:lnTo>
                    <a:lnTo>
                      <a:pt x="150" y="119"/>
                    </a:lnTo>
                    <a:lnTo>
                      <a:pt x="147" y="116"/>
                    </a:lnTo>
                    <a:lnTo>
                      <a:pt x="145" y="117"/>
                    </a:lnTo>
                    <a:lnTo>
                      <a:pt x="136" y="116"/>
                    </a:lnTo>
                    <a:lnTo>
                      <a:pt x="136" y="117"/>
                    </a:lnTo>
                    <a:lnTo>
                      <a:pt x="135" y="117"/>
                    </a:lnTo>
                    <a:lnTo>
                      <a:pt x="135" y="119"/>
                    </a:lnTo>
                    <a:lnTo>
                      <a:pt x="133" y="121"/>
                    </a:lnTo>
                    <a:lnTo>
                      <a:pt x="133" y="119"/>
                    </a:lnTo>
                    <a:lnTo>
                      <a:pt x="131" y="121"/>
                    </a:lnTo>
                    <a:lnTo>
                      <a:pt x="128" y="121"/>
                    </a:lnTo>
                    <a:lnTo>
                      <a:pt x="126" y="121"/>
                    </a:lnTo>
                    <a:lnTo>
                      <a:pt x="125" y="122"/>
                    </a:lnTo>
                    <a:lnTo>
                      <a:pt x="123" y="124"/>
                    </a:lnTo>
                    <a:lnTo>
                      <a:pt x="121" y="124"/>
                    </a:lnTo>
                    <a:lnTo>
                      <a:pt x="119" y="124"/>
                    </a:lnTo>
                    <a:lnTo>
                      <a:pt x="118" y="122"/>
                    </a:lnTo>
                    <a:lnTo>
                      <a:pt x="118" y="124"/>
                    </a:lnTo>
                    <a:lnTo>
                      <a:pt x="118" y="122"/>
                    </a:lnTo>
                    <a:lnTo>
                      <a:pt x="116" y="122"/>
                    </a:lnTo>
                    <a:lnTo>
                      <a:pt x="116" y="124"/>
                    </a:lnTo>
                    <a:lnTo>
                      <a:pt x="114" y="124"/>
                    </a:lnTo>
                    <a:lnTo>
                      <a:pt x="113" y="126"/>
                    </a:lnTo>
                    <a:lnTo>
                      <a:pt x="111" y="124"/>
                    </a:lnTo>
                    <a:lnTo>
                      <a:pt x="111" y="126"/>
                    </a:lnTo>
                    <a:lnTo>
                      <a:pt x="111" y="127"/>
                    </a:lnTo>
                    <a:lnTo>
                      <a:pt x="109" y="126"/>
                    </a:lnTo>
                    <a:lnTo>
                      <a:pt x="104" y="127"/>
                    </a:lnTo>
                    <a:lnTo>
                      <a:pt x="102" y="126"/>
                    </a:lnTo>
                    <a:lnTo>
                      <a:pt x="104" y="126"/>
                    </a:lnTo>
                    <a:lnTo>
                      <a:pt x="104" y="122"/>
                    </a:lnTo>
                    <a:lnTo>
                      <a:pt x="106" y="124"/>
                    </a:lnTo>
                    <a:lnTo>
                      <a:pt x="109" y="121"/>
                    </a:lnTo>
                    <a:lnTo>
                      <a:pt x="108" y="121"/>
                    </a:lnTo>
                    <a:lnTo>
                      <a:pt x="108" y="119"/>
                    </a:lnTo>
                    <a:lnTo>
                      <a:pt x="108" y="117"/>
                    </a:lnTo>
                    <a:lnTo>
                      <a:pt x="106" y="114"/>
                    </a:lnTo>
                    <a:lnTo>
                      <a:pt x="104" y="114"/>
                    </a:lnTo>
                    <a:lnTo>
                      <a:pt x="104" y="112"/>
                    </a:lnTo>
                    <a:lnTo>
                      <a:pt x="104" y="110"/>
                    </a:lnTo>
                    <a:lnTo>
                      <a:pt x="102" y="112"/>
                    </a:lnTo>
                    <a:lnTo>
                      <a:pt x="102" y="110"/>
                    </a:lnTo>
                    <a:lnTo>
                      <a:pt x="102" y="109"/>
                    </a:lnTo>
                    <a:lnTo>
                      <a:pt x="101" y="109"/>
                    </a:lnTo>
                    <a:lnTo>
                      <a:pt x="102" y="109"/>
                    </a:lnTo>
                    <a:lnTo>
                      <a:pt x="102" y="107"/>
                    </a:lnTo>
                    <a:lnTo>
                      <a:pt x="102" y="102"/>
                    </a:lnTo>
                    <a:lnTo>
                      <a:pt x="102" y="100"/>
                    </a:lnTo>
                    <a:lnTo>
                      <a:pt x="104" y="100"/>
                    </a:lnTo>
                    <a:lnTo>
                      <a:pt x="104" y="99"/>
                    </a:lnTo>
                    <a:lnTo>
                      <a:pt x="104" y="97"/>
                    </a:lnTo>
                    <a:lnTo>
                      <a:pt x="106" y="95"/>
                    </a:lnTo>
                    <a:lnTo>
                      <a:pt x="104" y="93"/>
                    </a:lnTo>
                    <a:lnTo>
                      <a:pt x="102" y="93"/>
                    </a:lnTo>
                    <a:lnTo>
                      <a:pt x="106" y="90"/>
                    </a:lnTo>
                    <a:lnTo>
                      <a:pt x="106" y="88"/>
                    </a:lnTo>
                    <a:lnTo>
                      <a:pt x="108" y="87"/>
                    </a:lnTo>
                    <a:lnTo>
                      <a:pt x="109" y="85"/>
                    </a:lnTo>
                    <a:lnTo>
                      <a:pt x="111" y="83"/>
                    </a:lnTo>
                    <a:lnTo>
                      <a:pt x="111" y="82"/>
                    </a:lnTo>
                    <a:lnTo>
                      <a:pt x="109" y="80"/>
                    </a:lnTo>
                    <a:lnTo>
                      <a:pt x="111" y="80"/>
                    </a:lnTo>
                    <a:lnTo>
                      <a:pt x="109" y="80"/>
                    </a:lnTo>
                    <a:lnTo>
                      <a:pt x="111" y="78"/>
                    </a:lnTo>
                    <a:lnTo>
                      <a:pt x="133" y="78"/>
                    </a:lnTo>
                    <a:lnTo>
                      <a:pt x="135" y="78"/>
                    </a:lnTo>
                    <a:lnTo>
                      <a:pt x="145" y="78"/>
                    </a:lnTo>
                    <a:lnTo>
                      <a:pt x="159" y="78"/>
                    </a:lnTo>
                    <a:lnTo>
                      <a:pt x="162" y="78"/>
                    </a:lnTo>
                    <a:lnTo>
                      <a:pt x="165" y="78"/>
                    </a:lnTo>
                    <a:lnTo>
                      <a:pt x="167" y="80"/>
                    </a:lnTo>
                    <a:lnTo>
                      <a:pt x="170" y="78"/>
                    </a:lnTo>
                    <a:lnTo>
                      <a:pt x="174" y="76"/>
                    </a:lnTo>
                    <a:lnTo>
                      <a:pt x="176" y="76"/>
                    </a:lnTo>
                    <a:lnTo>
                      <a:pt x="177" y="76"/>
                    </a:lnTo>
                    <a:lnTo>
                      <a:pt x="177" y="80"/>
                    </a:lnTo>
                    <a:lnTo>
                      <a:pt x="179" y="80"/>
                    </a:lnTo>
                    <a:lnTo>
                      <a:pt x="181" y="80"/>
                    </a:lnTo>
                    <a:lnTo>
                      <a:pt x="181" y="82"/>
                    </a:lnTo>
                    <a:lnTo>
                      <a:pt x="182" y="82"/>
                    </a:lnTo>
                    <a:lnTo>
                      <a:pt x="184" y="82"/>
                    </a:lnTo>
                    <a:lnTo>
                      <a:pt x="184" y="83"/>
                    </a:lnTo>
                    <a:lnTo>
                      <a:pt x="184" y="82"/>
                    </a:lnTo>
                    <a:lnTo>
                      <a:pt x="184" y="83"/>
                    </a:lnTo>
                    <a:lnTo>
                      <a:pt x="186" y="83"/>
                    </a:lnTo>
                    <a:lnTo>
                      <a:pt x="187" y="85"/>
                    </a:lnTo>
                    <a:lnTo>
                      <a:pt x="187" y="83"/>
                    </a:lnTo>
                    <a:lnTo>
                      <a:pt x="189" y="83"/>
                    </a:lnTo>
                    <a:lnTo>
                      <a:pt x="189" y="82"/>
                    </a:lnTo>
                    <a:lnTo>
                      <a:pt x="191" y="83"/>
                    </a:lnTo>
                    <a:lnTo>
                      <a:pt x="193" y="83"/>
                    </a:lnTo>
                    <a:lnTo>
                      <a:pt x="191" y="87"/>
                    </a:lnTo>
                    <a:lnTo>
                      <a:pt x="193" y="87"/>
                    </a:lnTo>
                    <a:lnTo>
                      <a:pt x="194" y="87"/>
                    </a:lnTo>
                    <a:lnTo>
                      <a:pt x="196" y="85"/>
                    </a:lnTo>
                    <a:lnTo>
                      <a:pt x="198" y="88"/>
                    </a:lnTo>
                    <a:lnTo>
                      <a:pt x="199" y="87"/>
                    </a:lnTo>
                    <a:lnTo>
                      <a:pt x="199" y="88"/>
                    </a:lnTo>
                    <a:lnTo>
                      <a:pt x="201" y="88"/>
                    </a:lnTo>
                    <a:lnTo>
                      <a:pt x="203" y="87"/>
                    </a:lnTo>
                    <a:lnTo>
                      <a:pt x="204" y="85"/>
                    </a:lnTo>
                    <a:lnTo>
                      <a:pt x="204" y="87"/>
                    </a:lnTo>
                    <a:lnTo>
                      <a:pt x="206" y="85"/>
                    </a:lnTo>
                    <a:lnTo>
                      <a:pt x="210" y="87"/>
                    </a:lnTo>
                    <a:lnTo>
                      <a:pt x="211" y="88"/>
                    </a:lnTo>
                    <a:lnTo>
                      <a:pt x="211" y="90"/>
                    </a:lnTo>
                    <a:lnTo>
                      <a:pt x="213" y="90"/>
                    </a:lnTo>
                    <a:lnTo>
                      <a:pt x="215" y="92"/>
                    </a:lnTo>
                    <a:lnTo>
                      <a:pt x="221" y="88"/>
                    </a:lnTo>
                    <a:lnTo>
                      <a:pt x="223" y="90"/>
                    </a:lnTo>
                    <a:lnTo>
                      <a:pt x="223" y="88"/>
                    </a:lnTo>
                    <a:lnTo>
                      <a:pt x="225" y="90"/>
                    </a:lnTo>
                    <a:lnTo>
                      <a:pt x="230" y="90"/>
                    </a:lnTo>
                    <a:lnTo>
                      <a:pt x="232" y="90"/>
                    </a:lnTo>
                    <a:lnTo>
                      <a:pt x="233" y="92"/>
                    </a:lnTo>
                    <a:lnTo>
                      <a:pt x="235" y="92"/>
                    </a:lnTo>
                    <a:lnTo>
                      <a:pt x="237" y="95"/>
                    </a:lnTo>
                    <a:lnTo>
                      <a:pt x="240" y="95"/>
                    </a:lnTo>
                    <a:lnTo>
                      <a:pt x="242" y="99"/>
                    </a:lnTo>
                    <a:lnTo>
                      <a:pt x="242" y="97"/>
                    </a:lnTo>
                    <a:lnTo>
                      <a:pt x="242" y="99"/>
                    </a:lnTo>
                    <a:lnTo>
                      <a:pt x="245" y="99"/>
                    </a:lnTo>
                    <a:lnTo>
                      <a:pt x="249" y="99"/>
                    </a:lnTo>
                    <a:lnTo>
                      <a:pt x="247" y="102"/>
                    </a:lnTo>
                    <a:lnTo>
                      <a:pt x="249" y="104"/>
                    </a:lnTo>
                    <a:lnTo>
                      <a:pt x="250" y="105"/>
                    </a:lnTo>
                    <a:lnTo>
                      <a:pt x="252" y="102"/>
                    </a:lnTo>
                    <a:lnTo>
                      <a:pt x="254" y="102"/>
                    </a:lnTo>
                    <a:lnTo>
                      <a:pt x="254" y="104"/>
                    </a:lnTo>
                    <a:lnTo>
                      <a:pt x="254" y="102"/>
                    </a:lnTo>
                    <a:lnTo>
                      <a:pt x="254" y="100"/>
                    </a:lnTo>
                    <a:lnTo>
                      <a:pt x="254" y="97"/>
                    </a:lnTo>
                    <a:lnTo>
                      <a:pt x="252" y="93"/>
                    </a:lnTo>
                    <a:lnTo>
                      <a:pt x="250" y="90"/>
                    </a:lnTo>
                    <a:lnTo>
                      <a:pt x="249" y="88"/>
                    </a:lnTo>
                    <a:lnTo>
                      <a:pt x="250" y="87"/>
                    </a:lnTo>
                    <a:lnTo>
                      <a:pt x="250" y="85"/>
                    </a:lnTo>
                    <a:lnTo>
                      <a:pt x="250" y="83"/>
                    </a:lnTo>
                    <a:lnTo>
                      <a:pt x="252" y="83"/>
                    </a:lnTo>
                    <a:lnTo>
                      <a:pt x="250" y="78"/>
                    </a:lnTo>
                    <a:lnTo>
                      <a:pt x="252" y="76"/>
                    </a:lnTo>
                    <a:lnTo>
                      <a:pt x="254" y="76"/>
                    </a:lnTo>
                    <a:lnTo>
                      <a:pt x="254" y="78"/>
                    </a:lnTo>
                    <a:lnTo>
                      <a:pt x="257" y="76"/>
                    </a:lnTo>
                    <a:lnTo>
                      <a:pt x="267" y="56"/>
                    </a:lnTo>
                    <a:lnTo>
                      <a:pt x="271" y="46"/>
                    </a:lnTo>
                    <a:lnTo>
                      <a:pt x="272" y="44"/>
                    </a:lnTo>
                    <a:lnTo>
                      <a:pt x="272" y="42"/>
                    </a:lnTo>
                    <a:lnTo>
                      <a:pt x="271" y="39"/>
                    </a:lnTo>
                    <a:lnTo>
                      <a:pt x="272" y="37"/>
                    </a:lnTo>
                    <a:lnTo>
                      <a:pt x="272" y="34"/>
                    </a:lnTo>
                    <a:lnTo>
                      <a:pt x="272" y="31"/>
                    </a:lnTo>
                    <a:lnTo>
                      <a:pt x="276" y="19"/>
                    </a:lnTo>
                    <a:lnTo>
                      <a:pt x="276" y="12"/>
                    </a:lnTo>
                    <a:lnTo>
                      <a:pt x="281" y="10"/>
                    </a:lnTo>
                    <a:lnTo>
                      <a:pt x="289" y="10"/>
                    </a:lnTo>
                    <a:lnTo>
                      <a:pt x="293" y="7"/>
                    </a:lnTo>
                    <a:lnTo>
                      <a:pt x="298" y="8"/>
                    </a:lnTo>
                    <a:lnTo>
                      <a:pt x="310" y="8"/>
                    </a:lnTo>
                    <a:lnTo>
                      <a:pt x="310" y="7"/>
                    </a:lnTo>
                    <a:lnTo>
                      <a:pt x="310" y="5"/>
                    </a:lnTo>
                    <a:lnTo>
                      <a:pt x="312" y="5"/>
                    </a:lnTo>
                    <a:lnTo>
                      <a:pt x="315" y="5"/>
                    </a:lnTo>
                    <a:lnTo>
                      <a:pt x="317" y="5"/>
                    </a:lnTo>
                    <a:lnTo>
                      <a:pt x="318" y="3"/>
                    </a:lnTo>
                    <a:lnTo>
                      <a:pt x="322" y="0"/>
                    </a:lnTo>
                    <a:lnTo>
                      <a:pt x="325" y="2"/>
                    </a:lnTo>
                    <a:lnTo>
                      <a:pt x="329" y="5"/>
                    </a:lnTo>
                    <a:lnTo>
                      <a:pt x="334" y="3"/>
                    </a:lnTo>
                    <a:lnTo>
                      <a:pt x="339" y="5"/>
                    </a:lnTo>
                    <a:lnTo>
                      <a:pt x="340" y="7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6" y="7"/>
                    </a:lnTo>
                    <a:lnTo>
                      <a:pt x="347" y="8"/>
                    </a:lnTo>
                    <a:lnTo>
                      <a:pt x="349" y="7"/>
                    </a:lnTo>
                    <a:lnTo>
                      <a:pt x="354" y="8"/>
                    </a:lnTo>
                    <a:lnTo>
                      <a:pt x="356" y="8"/>
                    </a:lnTo>
                    <a:lnTo>
                      <a:pt x="357" y="12"/>
                    </a:lnTo>
                    <a:lnTo>
                      <a:pt x="361" y="12"/>
                    </a:lnTo>
                    <a:lnTo>
                      <a:pt x="363" y="7"/>
                    </a:lnTo>
                    <a:lnTo>
                      <a:pt x="364" y="7"/>
                    </a:lnTo>
                    <a:lnTo>
                      <a:pt x="366" y="5"/>
                    </a:lnTo>
                    <a:lnTo>
                      <a:pt x="369" y="7"/>
                    </a:lnTo>
                    <a:lnTo>
                      <a:pt x="369" y="5"/>
                    </a:lnTo>
                    <a:lnTo>
                      <a:pt x="371" y="7"/>
                    </a:lnTo>
                    <a:lnTo>
                      <a:pt x="373" y="3"/>
                    </a:lnTo>
                    <a:lnTo>
                      <a:pt x="376" y="7"/>
                    </a:lnTo>
                    <a:lnTo>
                      <a:pt x="378" y="12"/>
                    </a:lnTo>
                    <a:lnTo>
                      <a:pt x="380" y="1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2" name="Freeform 22">
                <a:extLst>
                  <a:ext uri="{FF2B5EF4-FFF2-40B4-BE49-F238E27FC236}">
                    <a16:creationId xmlns:a16="http://schemas.microsoft.com/office/drawing/2014/main" id="{B2C4B13A-A979-4E19-9A17-ED7A2994180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557679" y="3019300"/>
                <a:ext cx="1538242" cy="1517588"/>
              </a:xfrm>
              <a:custGeom>
                <a:avLst/>
                <a:gdLst>
                  <a:gd name="T0" fmla="*/ 809 w 969"/>
                  <a:gd name="T1" fmla="*/ 53 h 956"/>
                  <a:gd name="T2" fmla="*/ 865 w 969"/>
                  <a:gd name="T3" fmla="*/ 53 h 956"/>
                  <a:gd name="T4" fmla="*/ 903 w 969"/>
                  <a:gd name="T5" fmla="*/ 63 h 956"/>
                  <a:gd name="T6" fmla="*/ 945 w 969"/>
                  <a:gd name="T7" fmla="*/ 92 h 956"/>
                  <a:gd name="T8" fmla="*/ 938 w 969"/>
                  <a:gd name="T9" fmla="*/ 150 h 956"/>
                  <a:gd name="T10" fmla="*/ 918 w 969"/>
                  <a:gd name="T11" fmla="*/ 216 h 956"/>
                  <a:gd name="T12" fmla="*/ 896 w 969"/>
                  <a:gd name="T13" fmla="*/ 241 h 956"/>
                  <a:gd name="T14" fmla="*/ 884 w 969"/>
                  <a:gd name="T15" fmla="*/ 306 h 956"/>
                  <a:gd name="T16" fmla="*/ 867 w 969"/>
                  <a:gd name="T17" fmla="*/ 354 h 956"/>
                  <a:gd name="T18" fmla="*/ 850 w 969"/>
                  <a:gd name="T19" fmla="*/ 415 h 956"/>
                  <a:gd name="T20" fmla="*/ 862 w 969"/>
                  <a:gd name="T21" fmla="*/ 461 h 956"/>
                  <a:gd name="T22" fmla="*/ 914 w 969"/>
                  <a:gd name="T23" fmla="*/ 629 h 956"/>
                  <a:gd name="T24" fmla="*/ 835 w 969"/>
                  <a:gd name="T25" fmla="*/ 759 h 956"/>
                  <a:gd name="T26" fmla="*/ 833 w 969"/>
                  <a:gd name="T27" fmla="*/ 815 h 956"/>
                  <a:gd name="T28" fmla="*/ 819 w 969"/>
                  <a:gd name="T29" fmla="*/ 861 h 956"/>
                  <a:gd name="T30" fmla="*/ 852 w 969"/>
                  <a:gd name="T31" fmla="*/ 896 h 956"/>
                  <a:gd name="T32" fmla="*/ 886 w 969"/>
                  <a:gd name="T33" fmla="*/ 893 h 956"/>
                  <a:gd name="T34" fmla="*/ 869 w 969"/>
                  <a:gd name="T35" fmla="*/ 951 h 956"/>
                  <a:gd name="T36" fmla="*/ 836 w 969"/>
                  <a:gd name="T37" fmla="*/ 927 h 956"/>
                  <a:gd name="T38" fmla="*/ 801 w 969"/>
                  <a:gd name="T39" fmla="*/ 900 h 956"/>
                  <a:gd name="T40" fmla="*/ 761 w 969"/>
                  <a:gd name="T41" fmla="*/ 864 h 956"/>
                  <a:gd name="T42" fmla="*/ 709 w 969"/>
                  <a:gd name="T43" fmla="*/ 878 h 956"/>
                  <a:gd name="T44" fmla="*/ 663 w 969"/>
                  <a:gd name="T45" fmla="*/ 849 h 956"/>
                  <a:gd name="T46" fmla="*/ 617 w 969"/>
                  <a:gd name="T47" fmla="*/ 844 h 956"/>
                  <a:gd name="T48" fmla="*/ 554 w 969"/>
                  <a:gd name="T49" fmla="*/ 835 h 956"/>
                  <a:gd name="T50" fmla="*/ 505 w 969"/>
                  <a:gd name="T51" fmla="*/ 825 h 956"/>
                  <a:gd name="T52" fmla="*/ 493 w 969"/>
                  <a:gd name="T53" fmla="*/ 765 h 956"/>
                  <a:gd name="T54" fmla="*/ 493 w 969"/>
                  <a:gd name="T55" fmla="*/ 709 h 956"/>
                  <a:gd name="T56" fmla="*/ 486 w 969"/>
                  <a:gd name="T57" fmla="*/ 662 h 956"/>
                  <a:gd name="T58" fmla="*/ 421 w 969"/>
                  <a:gd name="T59" fmla="*/ 636 h 956"/>
                  <a:gd name="T60" fmla="*/ 362 w 969"/>
                  <a:gd name="T61" fmla="*/ 658 h 956"/>
                  <a:gd name="T62" fmla="*/ 301 w 969"/>
                  <a:gd name="T63" fmla="*/ 680 h 956"/>
                  <a:gd name="T64" fmla="*/ 262 w 969"/>
                  <a:gd name="T65" fmla="*/ 670 h 956"/>
                  <a:gd name="T66" fmla="*/ 248 w 969"/>
                  <a:gd name="T67" fmla="*/ 646 h 956"/>
                  <a:gd name="T68" fmla="*/ 231 w 969"/>
                  <a:gd name="T69" fmla="*/ 609 h 956"/>
                  <a:gd name="T70" fmla="*/ 224 w 969"/>
                  <a:gd name="T71" fmla="*/ 580 h 956"/>
                  <a:gd name="T72" fmla="*/ 109 w 969"/>
                  <a:gd name="T73" fmla="*/ 571 h 956"/>
                  <a:gd name="T74" fmla="*/ 46 w 969"/>
                  <a:gd name="T75" fmla="*/ 571 h 956"/>
                  <a:gd name="T76" fmla="*/ 5 w 969"/>
                  <a:gd name="T77" fmla="*/ 565 h 956"/>
                  <a:gd name="T78" fmla="*/ 34 w 969"/>
                  <a:gd name="T79" fmla="*/ 515 h 956"/>
                  <a:gd name="T80" fmla="*/ 59 w 969"/>
                  <a:gd name="T81" fmla="*/ 520 h 956"/>
                  <a:gd name="T82" fmla="*/ 78 w 969"/>
                  <a:gd name="T83" fmla="*/ 498 h 956"/>
                  <a:gd name="T84" fmla="*/ 110 w 969"/>
                  <a:gd name="T85" fmla="*/ 505 h 956"/>
                  <a:gd name="T86" fmla="*/ 156 w 969"/>
                  <a:gd name="T87" fmla="*/ 490 h 956"/>
                  <a:gd name="T88" fmla="*/ 202 w 969"/>
                  <a:gd name="T89" fmla="*/ 413 h 956"/>
                  <a:gd name="T90" fmla="*/ 262 w 969"/>
                  <a:gd name="T91" fmla="*/ 321 h 956"/>
                  <a:gd name="T92" fmla="*/ 287 w 969"/>
                  <a:gd name="T93" fmla="*/ 236 h 956"/>
                  <a:gd name="T94" fmla="*/ 316 w 969"/>
                  <a:gd name="T95" fmla="*/ 126 h 956"/>
                  <a:gd name="T96" fmla="*/ 338 w 969"/>
                  <a:gd name="T97" fmla="*/ 41 h 956"/>
                  <a:gd name="T98" fmla="*/ 403 w 969"/>
                  <a:gd name="T99" fmla="*/ 25 h 956"/>
                  <a:gd name="T100" fmla="*/ 461 w 969"/>
                  <a:gd name="T101" fmla="*/ 54 h 956"/>
                  <a:gd name="T102" fmla="*/ 525 w 969"/>
                  <a:gd name="T103" fmla="*/ 51 h 956"/>
                  <a:gd name="T104" fmla="*/ 556 w 969"/>
                  <a:gd name="T105" fmla="*/ 34 h 956"/>
                  <a:gd name="T106" fmla="*/ 595 w 969"/>
                  <a:gd name="T107" fmla="*/ 27 h 956"/>
                  <a:gd name="T108" fmla="*/ 620 w 969"/>
                  <a:gd name="T109" fmla="*/ 15 h 956"/>
                  <a:gd name="T110" fmla="*/ 656 w 969"/>
                  <a:gd name="T111" fmla="*/ 19 h 956"/>
                  <a:gd name="T112" fmla="*/ 675 w 969"/>
                  <a:gd name="T113" fmla="*/ 2 h 956"/>
                  <a:gd name="T114" fmla="*/ 692 w 969"/>
                  <a:gd name="T115" fmla="*/ 10 h 956"/>
                  <a:gd name="T116" fmla="*/ 710 w 969"/>
                  <a:gd name="T117" fmla="*/ 12 h 956"/>
                  <a:gd name="T118" fmla="*/ 726 w 969"/>
                  <a:gd name="T119" fmla="*/ 19 h 956"/>
                  <a:gd name="T120" fmla="*/ 772 w 969"/>
                  <a:gd name="T121" fmla="*/ 17 h 956"/>
                  <a:gd name="T122" fmla="*/ 39 w 969"/>
                  <a:gd name="T123" fmla="*/ 570 h 956"/>
                  <a:gd name="T124" fmla="*/ 34 w 969"/>
                  <a:gd name="T125" fmla="*/ 575 h 9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69" h="956">
                    <a:moveTo>
                      <a:pt x="772" y="17"/>
                    </a:moveTo>
                    <a:lnTo>
                      <a:pt x="772" y="20"/>
                    </a:lnTo>
                    <a:lnTo>
                      <a:pt x="777" y="25"/>
                    </a:lnTo>
                    <a:lnTo>
                      <a:pt x="778" y="27"/>
                    </a:lnTo>
                    <a:lnTo>
                      <a:pt x="784" y="27"/>
                    </a:lnTo>
                    <a:lnTo>
                      <a:pt x="784" y="29"/>
                    </a:lnTo>
                    <a:lnTo>
                      <a:pt x="785" y="32"/>
                    </a:lnTo>
                    <a:lnTo>
                      <a:pt x="787" y="32"/>
                    </a:lnTo>
                    <a:lnTo>
                      <a:pt x="789" y="32"/>
                    </a:lnTo>
                    <a:lnTo>
                      <a:pt x="789" y="37"/>
                    </a:lnTo>
                    <a:lnTo>
                      <a:pt x="787" y="39"/>
                    </a:lnTo>
                    <a:lnTo>
                      <a:pt x="789" y="42"/>
                    </a:lnTo>
                    <a:lnTo>
                      <a:pt x="792" y="42"/>
                    </a:lnTo>
                    <a:lnTo>
                      <a:pt x="794" y="44"/>
                    </a:lnTo>
                    <a:lnTo>
                      <a:pt x="795" y="42"/>
                    </a:lnTo>
                    <a:lnTo>
                      <a:pt x="801" y="44"/>
                    </a:lnTo>
                    <a:lnTo>
                      <a:pt x="802" y="47"/>
                    </a:lnTo>
                    <a:lnTo>
                      <a:pt x="804" y="49"/>
                    </a:lnTo>
                    <a:lnTo>
                      <a:pt x="807" y="49"/>
                    </a:lnTo>
                    <a:lnTo>
                      <a:pt x="809" y="53"/>
                    </a:lnTo>
                    <a:lnTo>
                      <a:pt x="811" y="54"/>
                    </a:lnTo>
                    <a:lnTo>
                      <a:pt x="818" y="54"/>
                    </a:lnTo>
                    <a:lnTo>
                      <a:pt x="819" y="56"/>
                    </a:lnTo>
                    <a:lnTo>
                      <a:pt x="821" y="58"/>
                    </a:lnTo>
                    <a:lnTo>
                      <a:pt x="824" y="56"/>
                    </a:lnTo>
                    <a:lnTo>
                      <a:pt x="826" y="53"/>
                    </a:lnTo>
                    <a:lnTo>
                      <a:pt x="828" y="53"/>
                    </a:lnTo>
                    <a:lnTo>
                      <a:pt x="829" y="51"/>
                    </a:lnTo>
                    <a:lnTo>
                      <a:pt x="833" y="51"/>
                    </a:lnTo>
                    <a:lnTo>
                      <a:pt x="836" y="44"/>
                    </a:lnTo>
                    <a:lnTo>
                      <a:pt x="840" y="42"/>
                    </a:lnTo>
                    <a:lnTo>
                      <a:pt x="841" y="42"/>
                    </a:lnTo>
                    <a:lnTo>
                      <a:pt x="841" y="47"/>
                    </a:lnTo>
                    <a:lnTo>
                      <a:pt x="848" y="47"/>
                    </a:lnTo>
                    <a:lnTo>
                      <a:pt x="850" y="46"/>
                    </a:lnTo>
                    <a:lnTo>
                      <a:pt x="852" y="46"/>
                    </a:lnTo>
                    <a:lnTo>
                      <a:pt x="857" y="51"/>
                    </a:lnTo>
                    <a:lnTo>
                      <a:pt x="858" y="53"/>
                    </a:lnTo>
                    <a:lnTo>
                      <a:pt x="862" y="53"/>
                    </a:lnTo>
                    <a:lnTo>
                      <a:pt x="865" y="53"/>
                    </a:lnTo>
                    <a:lnTo>
                      <a:pt x="869" y="47"/>
                    </a:lnTo>
                    <a:lnTo>
                      <a:pt x="870" y="47"/>
                    </a:lnTo>
                    <a:lnTo>
                      <a:pt x="872" y="44"/>
                    </a:lnTo>
                    <a:lnTo>
                      <a:pt x="874" y="44"/>
                    </a:lnTo>
                    <a:lnTo>
                      <a:pt x="875" y="36"/>
                    </a:lnTo>
                    <a:lnTo>
                      <a:pt x="879" y="37"/>
                    </a:lnTo>
                    <a:lnTo>
                      <a:pt x="880" y="39"/>
                    </a:lnTo>
                    <a:lnTo>
                      <a:pt x="882" y="37"/>
                    </a:lnTo>
                    <a:lnTo>
                      <a:pt x="886" y="41"/>
                    </a:lnTo>
                    <a:lnTo>
                      <a:pt x="889" y="41"/>
                    </a:lnTo>
                    <a:lnTo>
                      <a:pt x="892" y="44"/>
                    </a:lnTo>
                    <a:lnTo>
                      <a:pt x="891" y="46"/>
                    </a:lnTo>
                    <a:lnTo>
                      <a:pt x="891" y="51"/>
                    </a:lnTo>
                    <a:lnTo>
                      <a:pt x="894" y="53"/>
                    </a:lnTo>
                    <a:lnTo>
                      <a:pt x="896" y="53"/>
                    </a:lnTo>
                    <a:lnTo>
                      <a:pt x="899" y="54"/>
                    </a:lnTo>
                    <a:lnTo>
                      <a:pt x="899" y="56"/>
                    </a:lnTo>
                    <a:lnTo>
                      <a:pt x="899" y="59"/>
                    </a:lnTo>
                    <a:lnTo>
                      <a:pt x="901" y="59"/>
                    </a:lnTo>
                    <a:lnTo>
                      <a:pt x="903" y="63"/>
                    </a:lnTo>
                    <a:lnTo>
                      <a:pt x="909" y="64"/>
                    </a:lnTo>
                    <a:lnTo>
                      <a:pt x="909" y="70"/>
                    </a:lnTo>
                    <a:lnTo>
                      <a:pt x="911" y="70"/>
                    </a:lnTo>
                    <a:lnTo>
                      <a:pt x="911" y="75"/>
                    </a:lnTo>
                    <a:lnTo>
                      <a:pt x="914" y="73"/>
                    </a:lnTo>
                    <a:lnTo>
                      <a:pt x="923" y="76"/>
                    </a:lnTo>
                    <a:lnTo>
                      <a:pt x="925" y="78"/>
                    </a:lnTo>
                    <a:lnTo>
                      <a:pt x="928" y="78"/>
                    </a:lnTo>
                    <a:lnTo>
                      <a:pt x="930" y="80"/>
                    </a:lnTo>
                    <a:lnTo>
                      <a:pt x="930" y="83"/>
                    </a:lnTo>
                    <a:lnTo>
                      <a:pt x="930" y="88"/>
                    </a:lnTo>
                    <a:lnTo>
                      <a:pt x="928" y="90"/>
                    </a:lnTo>
                    <a:lnTo>
                      <a:pt x="931" y="92"/>
                    </a:lnTo>
                    <a:lnTo>
                      <a:pt x="935" y="88"/>
                    </a:lnTo>
                    <a:lnTo>
                      <a:pt x="938" y="88"/>
                    </a:lnTo>
                    <a:lnTo>
                      <a:pt x="938" y="87"/>
                    </a:lnTo>
                    <a:lnTo>
                      <a:pt x="940" y="87"/>
                    </a:lnTo>
                    <a:lnTo>
                      <a:pt x="942" y="87"/>
                    </a:lnTo>
                    <a:lnTo>
                      <a:pt x="942" y="92"/>
                    </a:lnTo>
                    <a:lnTo>
                      <a:pt x="945" y="92"/>
                    </a:lnTo>
                    <a:lnTo>
                      <a:pt x="943" y="95"/>
                    </a:lnTo>
                    <a:lnTo>
                      <a:pt x="945" y="97"/>
                    </a:lnTo>
                    <a:lnTo>
                      <a:pt x="947" y="95"/>
                    </a:lnTo>
                    <a:lnTo>
                      <a:pt x="948" y="97"/>
                    </a:lnTo>
                    <a:lnTo>
                      <a:pt x="948" y="100"/>
                    </a:lnTo>
                    <a:lnTo>
                      <a:pt x="947" y="104"/>
                    </a:lnTo>
                    <a:lnTo>
                      <a:pt x="945" y="107"/>
                    </a:lnTo>
                    <a:lnTo>
                      <a:pt x="943" y="107"/>
                    </a:lnTo>
                    <a:lnTo>
                      <a:pt x="942" y="109"/>
                    </a:lnTo>
                    <a:lnTo>
                      <a:pt x="943" y="110"/>
                    </a:lnTo>
                    <a:lnTo>
                      <a:pt x="940" y="119"/>
                    </a:lnTo>
                    <a:lnTo>
                      <a:pt x="945" y="124"/>
                    </a:lnTo>
                    <a:lnTo>
                      <a:pt x="947" y="126"/>
                    </a:lnTo>
                    <a:lnTo>
                      <a:pt x="947" y="129"/>
                    </a:lnTo>
                    <a:lnTo>
                      <a:pt x="942" y="138"/>
                    </a:lnTo>
                    <a:lnTo>
                      <a:pt x="942" y="139"/>
                    </a:lnTo>
                    <a:lnTo>
                      <a:pt x="940" y="143"/>
                    </a:lnTo>
                    <a:lnTo>
                      <a:pt x="940" y="146"/>
                    </a:lnTo>
                    <a:lnTo>
                      <a:pt x="938" y="148"/>
                    </a:lnTo>
                    <a:lnTo>
                      <a:pt x="938" y="150"/>
                    </a:lnTo>
                    <a:lnTo>
                      <a:pt x="943" y="150"/>
                    </a:lnTo>
                    <a:lnTo>
                      <a:pt x="945" y="151"/>
                    </a:lnTo>
                    <a:lnTo>
                      <a:pt x="945" y="153"/>
                    </a:lnTo>
                    <a:lnTo>
                      <a:pt x="947" y="155"/>
                    </a:lnTo>
                    <a:lnTo>
                      <a:pt x="948" y="153"/>
                    </a:lnTo>
                    <a:lnTo>
                      <a:pt x="950" y="151"/>
                    </a:lnTo>
                    <a:lnTo>
                      <a:pt x="954" y="151"/>
                    </a:lnTo>
                    <a:lnTo>
                      <a:pt x="955" y="155"/>
                    </a:lnTo>
                    <a:lnTo>
                      <a:pt x="957" y="156"/>
                    </a:lnTo>
                    <a:lnTo>
                      <a:pt x="964" y="158"/>
                    </a:lnTo>
                    <a:lnTo>
                      <a:pt x="965" y="161"/>
                    </a:lnTo>
                    <a:lnTo>
                      <a:pt x="969" y="165"/>
                    </a:lnTo>
                    <a:lnTo>
                      <a:pt x="964" y="175"/>
                    </a:lnTo>
                    <a:lnTo>
                      <a:pt x="954" y="184"/>
                    </a:lnTo>
                    <a:lnTo>
                      <a:pt x="938" y="197"/>
                    </a:lnTo>
                    <a:lnTo>
                      <a:pt x="931" y="206"/>
                    </a:lnTo>
                    <a:lnTo>
                      <a:pt x="926" y="207"/>
                    </a:lnTo>
                    <a:lnTo>
                      <a:pt x="923" y="211"/>
                    </a:lnTo>
                    <a:lnTo>
                      <a:pt x="920" y="212"/>
                    </a:lnTo>
                    <a:lnTo>
                      <a:pt x="918" y="216"/>
                    </a:lnTo>
                    <a:lnTo>
                      <a:pt x="916" y="216"/>
                    </a:lnTo>
                    <a:lnTo>
                      <a:pt x="916" y="214"/>
                    </a:lnTo>
                    <a:lnTo>
                      <a:pt x="913" y="216"/>
                    </a:lnTo>
                    <a:lnTo>
                      <a:pt x="913" y="218"/>
                    </a:lnTo>
                    <a:lnTo>
                      <a:pt x="913" y="221"/>
                    </a:lnTo>
                    <a:lnTo>
                      <a:pt x="913" y="223"/>
                    </a:lnTo>
                    <a:lnTo>
                      <a:pt x="911" y="224"/>
                    </a:lnTo>
                    <a:lnTo>
                      <a:pt x="913" y="224"/>
                    </a:lnTo>
                    <a:lnTo>
                      <a:pt x="911" y="224"/>
                    </a:lnTo>
                    <a:lnTo>
                      <a:pt x="909" y="226"/>
                    </a:lnTo>
                    <a:lnTo>
                      <a:pt x="909" y="228"/>
                    </a:lnTo>
                    <a:lnTo>
                      <a:pt x="909" y="229"/>
                    </a:lnTo>
                    <a:lnTo>
                      <a:pt x="906" y="228"/>
                    </a:lnTo>
                    <a:lnTo>
                      <a:pt x="899" y="231"/>
                    </a:lnTo>
                    <a:lnTo>
                      <a:pt x="899" y="233"/>
                    </a:lnTo>
                    <a:lnTo>
                      <a:pt x="897" y="233"/>
                    </a:lnTo>
                    <a:lnTo>
                      <a:pt x="899" y="233"/>
                    </a:lnTo>
                    <a:lnTo>
                      <a:pt x="897" y="236"/>
                    </a:lnTo>
                    <a:lnTo>
                      <a:pt x="897" y="238"/>
                    </a:lnTo>
                    <a:lnTo>
                      <a:pt x="896" y="241"/>
                    </a:lnTo>
                    <a:lnTo>
                      <a:pt x="897" y="243"/>
                    </a:lnTo>
                    <a:lnTo>
                      <a:pt x="897" y="248"/>
                    </a:lnTo>
                    <a:lnTo>
                      <a:pt x="899" y="252"/>
                    </a:lnTo>
                    <a:lnTo>
                      <a:pt x="897" y="255"/>
                    </a:lnTo>
                    <a:lnTo>
                      <a:pt x="894" y="257"/>
                    </a:lnTo>
                    <a:lnTo>
                      <a:pt x="894" y="258"/>
                    </a:lnTo>
                    <a:lnTo>
                      <a:pt x="892" y="262"/>
                    </a:lnTo>
                    <a:lnTo>
                      <a:pt x="892" y="265"/>
                    </a:lnTo>
                    <a:lnTo>
                      <a:pt x="889" y="267"/>
                    </a:lnTo>
                    <a:lnTo>
                      <a:pt x="887" y="270"/>
                    </a:lnTo>
                    <a:lnTo>
                      <a:pt x="887" y="274"/>
                    </a:lnTo>
                    <a:lnTo>
                      <a:pt x="887" y="275"/>
                    </a:lnTo>
                    <a:lnTo>
                      <a:pt x="887" y="277"/>
                    </a:lnTo>
                    <a:lnTo>
                      <a:pt x="887" y="281"/>
                    </a:lnTo>
                    <a:lnTo>
                      <a:pt x="887" y="282"/>
                    </a:lnTo>
                    <a:lnTo>
                      <a:pt x="886" y="284"/>
                    </a:lnTo>
                    <a:lnTo>
                      <a:pt x="880" y="289"/>
                    </a:lnTo>
                    <a:lnTo>
                      <a:pt x="886" y="296"/>
                    </a:lnTo>
                    <a:lnTo>
                      <a:pt x="884" y="301"/>
                    </a:lnTo>
                    <a:lnTo>
                      <a:pt x="884" y="306"/>
                    </a:lnTo>
                    <a:lnTo>
                      <a:pt x="882" y="309"/>
                    </a:lnTo>
                    <a:lnTo>
                      <a:pt x="882" y="316"/>
                    </a:lnTo>
                    <a:lnTo>
                      <a:pt x="882" y="318"/>
                    </a:lnTo>
                    <a:lnTo>
                      <a:pt x="882" y="320"/>
                    </a:lnTo>
                    <a:lnTo>
                      <a:pt x="880" y="320"/>
                    </a:lnTo>
                    <a:lnTo>
                      <a:pt x="879" y="320"/>
                    </a:lnTo>
                    <a:lnTo>
                      <a:pt x="880" y="323"/>
                    </a:lnTo>
                    <a:lnTo>
                      <a:pt x="879" y="325"/>
                    </a:lnTo>
                    <a:lnTo>
                      <a:pt x="879" y="328"/>
                    </a:lnTo>
                    <a:lnTo>
                      <a:pt x="879" y="330"/>
                    </a:lnTo>
                    <a:lnTo>
                      <a:pt x="879" y="333"/>
                    </a:lnTo>
                    <a:lnTo>
                      <a:pt x="880" y="337"/>
                    </a:lnTo>
                    <a:lnTo>
                      <a:pt x="879" y="338"/>
                    </a:lnTo>
                    <a:lnTo>
                      <a:pt x="880" y="343"/>
                    </a:lnTo>
                    <a:lnTo>
                      <a:pt x="879" y="343"/>
                    </a:lnTo>
                    <a:lnTo>
                      <a:pt x="877" y="345"/>
                    </a:lnTo>
                    <a:lnTo>
                      <a:pt x="875" y="349"/>
                    </a:lnTo>
                    <a:lnTo>
                      <a:pt x="872" y="350"/>
                    </a:lnTo>
                    <a:lnTo>
                      <a:pt x="869" y="352"/>
                    </a:lnTo>
                    <a:lnTo>
                      <a:pt x="867" y="354"/>
                    </a:lnTo>
                    <a:lnTo>
                      <a:pt x="863" y="357"/>
                    </a:lnTo>
                    <a:lnTo>
                      <a:pt x="863" y="360"/>
                    </a:lnTo>
                    <a:lnTo>
                      <a:pt x="862" y="362"/>
                    </a:lnTo>
                    <a:lnTo>
                      <a:pt x="858" y="381"/>
                    </a:lnTo>
                    <a:lnTo>
                      <a:pt x="855" y="388"/>
                    </a:lnTo>
                    <a:lnTo>
                      <a:pt x="853" y="389"/>
                    </a:lnTo>
                    <a:lnTo>
                      <a:pt x="850" y="389"/>
                    </a:lnTo>
                    <a:lnTo>
                      <a:pt x="850" y="391"/>
                    </a:lnTo>
                    <a:lnTo>
                      <a:pt x="845" y="393"/>
                    </a:lnTo>
                    <a:lnTo>
                      <a:pt x="843" y="394"/>
                    </a:lnTo>
                    <a:lnTo>
                      <a:pt x="843" y="398"/>
                    </a:lnTo>
                    <a:lnTo>
                      <a:pt x="845" y="400"/>
                    </a:lnTo>
                    <a:lnTo>
                      <a:pt x="843" y="401"/>
                    </a:lnTo>
                    <a:lnTo>
                      <a:pt x="845" y="405"/>
                    </a:lnTo>
                    <a:lnTo>
                      <a:pt x="845" y="408"/>
                    </a:lnTo>
                    <a:lnTo>
                      <a:pt x="848" y="410"/>
                    </a:lnTo>
                    <a:lnTo>
                      <a:pt x="850" y="410"/>
                    </a:lnTo>
                    <a:lnTo>
                      <a:pt x="853" y="413"/>
                    </a:lnTo>
                    <a:lnTo>
                      <a:pt x="852" y="413"/>
                    </a:lnTo>
                    <a:lnTo>
                      <a:pt x="850" y="415"/>
                    </a:lnTo>
                    <a:lnTo>
                      <a:pt x="850" y="417"/>
                    </a:lnTo>
                    <a:lnTo>
                      <a:pt x="853" y="417"/>
                    </a:lnTo>
                    <a:lnTo>
                      <a:pt x="853" y="418"/>
                    </a:lnTo>
                    <a:lnTo>
                      <a:pt x="855" y="418"/>
                    </a:lnTo>
                    <a:lnTo>
                      <a:pt x="855" y="422"/>
                    </a:lnTo>
                    <a:lnTo>
                      <a:pt x="858" y="423"/>
                    </a:lnTo>
                    <a:lnTo>
                      <a:pt x="858" y="425"/>
                    </a:lnTo>
                    <a:lnTo>
                      <a:pt x="860" y="425"/>
                    </a:lnTo>
                    <a:lnTo>
                      <a:pt x="860" y="427"/>
                    </a:lnTo>
                    <a:lnTo>
                      <a:pt x="862" y="427"/>
                    </a:lnTo>
                    <a:lnTo>
                      <a:pt x="863" y="429"/>
                    </a:lnTo>
                    <a:lnTo>
                      <a:pt x="863" y="430"/>
                    </a:lnTo>
                    <a:lnTo>
                      <a:pt x="863" y="432"/>
                    </a:lnTo>
                    <a:lnTo>
                      <a:pt x="862" y="434"/>
                    </a:lnTo>
                    <a:lnTo>
                      <a:pt x="862" y="435"/>
                    </a:lnTo>
                    <a:lnTo>
                      <a:pt x="862" y="437"/>
                    </a:lnTo>
                    <a:lnTo>
                      <a:pt x="862" y="439"/>
                    </a:lnTo>
                    <a:lnTo>
                      <a:pt x="865" y="442"/>
                    </a:lnTo>
                    <a:lnTo>
                      <a:pt x="863" y="447"/>
                    </a:lnTo>
                    <a:lnTo>
                      <a:pt x="862" y="461"/>
                    </a:lnTo>
                    <a:lnTo>
                      <a:pt x="862" y="466"/>
                    </a:lnTo>
                    <a:lnTo>
                      <a:pt x="865" y="473"/>
                    </a:lnTo>
                    <a:lnTo>
                      <a:pt x="869" y="480"/>
                    </a:lnTo>
                    <a:lnTo>
                      <a:pt x="870" y="485"/>
                    </a:lnTo>
                    <a:lnTo>
                      <a:pt x="870" y="498"/>
                    </a:lnTo>
                    <a:lnTo>
                      <a:pt x="870" y="514"/>
                    </a:lnTo>
                    <a:lnTo>
                      <a:pt x="870" y="525"/>
                    </a:lnTo>
                    <a:lnTo>
                      <a:pt x="877" y="546"/>
                    </a:lnTo>
                    <a:lnTo>
                      <a:pt x="884" y="558"/>
                    </a:lnTo>
                    <a:lnTo>
                      <a:pt x="886" y="563"/>
                    </a:lnTo>
                    <a:lnTo>
                      <a:pt x="882" y="570"/>
                    </a:lnTo>
                    <a:lnTo>
                      <a:pt x="879" y="576"/>
                    </a:lnTo>
                    <a:lnTo>
                      <a:pt x="877" y="582"/>
                    </a:lnTo>
                    <a:lnTo>
                      <a:pt x="877" y="587"/>
                    </a:lnTo>
                    <a:lnTo>
                      <a:pt x="880" y="597"/>
                    </a:lnTo>
                    <a:lnTo>
                      <a:pt x="884" y="600"/>
                    </a:lnTo>
                    <a:lnTo>
                      <a:pt x="889" y="605"/>
                    </a:lnTo>
                    <a:lnTo>
                      <a:pt x="897" y="612"/>
                    </a:lnTo>
                    <a:lnTo>
                      <a:pt x="906" y="621"/>
                    </a:lnTo>
                    <a:lnTo>
                      <a:pt x="914" y="629"/>
                    </a:lnTo>
                    <a:lnTo>
                      <a:pt x="918" y="636"/>
                    </a:lnTo>
                    <a:lnTo>
                      <a:pt x="921" y="656"/>
                    </a:lnTo>
                    <a:lnTo>
                      <a:pt x="926" y="665"/>
                    </a:lnTo>
                    <a:lnTo>
                      <a:pt x="933" y="677"/>
                    </a:lnTo>
                    <a:lnTo>
                      <a:pt x="942" y="690"/>
                    </a:lnTo>
                    <a:lnTo>
                      <a:pt x="930" y="692"/>
                    </a:lnTo>
                    <a:lnTo>
                      <a:pt x="916" y="694"/>
                    </a:lnTo>
                    <a:lnTo>
                      <a:pt x="901" y="696"/>
                    </a:lnTo>
                    <a:lnTo>
                      <a:pt x="894" y="696"/>
                    </a:lnTo>
                    <a:lnTo>
                      <a:pt x="884" y="697"/>
                    </a:lnTo>
                    <a:lnTo>
                      <a:pt x="867" y="701"/>
                    </a:lnTo>
                    <a:lnTo>
                      <a:pt x="850" y="702"/>
                    </a:lnTo>
                    <a:lnTo>
                      <a:pt x="848" y="702"/>
                    </a:lnTo>
                    <a:lnTo>
                      <a:pt x="846" y="704"/>
                    </a:lnTo>
                    <a:lnTo>
                      <a:pt x="845" y="718"/>
                    </a:lnTo>
                    <a:lnTo>
                      <a:pt x="828" y="743"/>
                    </a:lnTo>
                    <a:lnTo>
                      <a:pt x="826" y="747"/>
                    </a:lnTo>
                    <a:lnTo>
                      <a:pt x="831" y="752"/>
                    </a:lnTo>
                    <a:lnTo>
                      <a:pt x="831" y="753"/>
                    </a:lnTo>
                    <a:lnTo>
                      <a:pt x="835" y="759"/>
                    </a:lnTo>
                    <a:lnTo>
                      <a:pt x="835" y="764"/>
                    </a:lnTo>
                    <a:lnTo>
                      <a:pt x="836" y="770"/>
                    </a:lnTo>
                    <a:lnTo>
                      <a:pt x="835" y="774"/>
                    </a:lnTo>
                    <a:lnTo>
                      <a:pt x="831" y="781"/>
                    </a:lnTo>
                    <a:lnTo>
                      <a:pt x="833" y="782"/>
                    </a:lnTo>
                    <a:lnTo>
                      <a:pt x="831" y="784"/>
                    </a:lnTo>
                    <a:lnTo>
                      <a:pt x="831" y="789"/>
                    </a:lnTo>
                    <a:lnTo>
                      <a:pt x="829" y="793"/>
                    </a:lnTo>
                    <a:lnTo>
                      <a:pt x="831" y="796"/>
                    </a:lnTo>
                    <a:lnTo>
                      <a:pt x="831" y="799"/>
                    </a:lnTo>
                    <a:lnTo>
                      <a:pt x="833" y="803"/>
                    </a:lnTo>
                    <a:lnTo>
                      <a:pt x="831" y="804"/>
                    </a:lnTo>
                    <a:lnTo>
                      <a:pt x="833" y="806"/>
                    </a:lnTo>
                    <a:lnTo>
                      <a:pt x="831" y="806"/>
                    </a:lnTo>
                    <a:lnTo>
                      <a:pt x="833" y="808"/>
                    </a:lnTo>
                    <a:lnTo>
                      <a:pt x="835" y="810"/>
                    </a:lnTo>
                    <a:lnTo>
                      <a:pt x="833" y="811"/>
                    </a:lnTo>
                    <a:lnTo>
                      <a:pt x="835" y="813"/>
                    </a:lnTo>
                    <a:lnTo>
                      <a:pt x="835" y="815"/>
                    </a:lnTo>
                    <a:lnTo>
                      <a:pt x="833" y="815"/>
                    </a:lnTo>
                    <a:lnTo>
                      <a:pt x="833" y="816"/>
                    </a:lnTo>
                    <a:lnTo>
                      <a:pt x="831" y="816"/>
                    </a:lnTo>
                    <a:lnTo>
                      <a:pt x="831" y="818"/>
                    </a:lnTo>
                    <a:lnTo>
                      <a:pt x="831" y="820"/>
                    </a:lnTo>
                    <a:lnTo>
                      <a:pt x="828" y="823"/>
                    </a:lnTo>
                    <a:lnTo>
                      <a:pt x="828" y="828"/>
                    </a:lnTo>
                    <a:lnTo>
                      <a:pt x="826" y="830"/>
                    </a:lnTo>
                    <a:lnTo>
                      <a:pt x="826" y="832"/>
                    </a:lnTo>
                    <a:lnTo>
                      <a:pt x="824" y="837"/>
                    </a:lnTo>
                    <a:lnTo>
                      <a:pt x="824" y="838"/>
                    </a:lnTo>
                    <a:lnTo>
                      <a:pt x="824" y="842"/>
                    </a:lnTo>
                    <a:lnTo>
                      <a:pt x="824" y="844"/>
                    </a:lnTo>
                    <a:lnTo>
                      <a:pt x="824" y="845"/>
                    </a:lnTo>
                    <a:lnTo>
                      <a:pt x="823" y="845"/>
                    </a:lnTo>
                    <a:lnTo>
                      <a:pt x="823" y="850"/>
                    </a:lnTo>
                    <a:lnTo>
                      <a:pt x="821" y="850"/>
                    </a:lnTo>
                    <a:lnTo>
                      <a:pt x="821" y="852"/>
                    </a:lnTo>
                    <a:lnTo>
                      <a:pt x="819" y="855"/>
                    </a:lnTo>
                    <a:lnTo>
                      <a:pt x="819" y="859"/>
                    </a:lnTo>
                    <a:lnTo>
                      <a:pt x="819" y="861"/>
                    </a:lnTo>
                    <a:lnTo>
                      <a:pt x="821" y="864"/>
                    </a:lnTo>
                    <a:lnTo>
                      <a:pt x="821" y="866"/>
                    </a:lnTo>
                    <a:lnTo>
                      <a:pt x="823" y="867"/>
                    </a:lnTo>
                    <a:lnTo>
                      <a:pt x="821" y="867"/>
                    </a:lnTo>
                    <a:lnTo>
                      <a:pt x="823" y="871"/>
                    </a:lnTo>
                    <a:lnTo>
                      <a:pt x="823" y="872"/>
                    </a:lnTo>
                    <a:lnTo>
                      <a:pt x="823" y="874"/>
                    </a:lnTo>
                    <a:lnTo>
                      <a:pt x="824" y="872"/>
                    </a:lnTo>
                    <a:lnTo>
                      <a:pt x="824" y="876"/>
                    </a:lnTo>
                    <a:lnTo>
                      <a:pt x="829" y="878"/>
                    </a:lnTo>
                    <a:lnTo>
                      <a:pt x="831" y="878"/>
                    </a:lnTo>
                    <a:lnTo>
                      <a:pt x="831" y="879"/>
                    </a:lnTo>
                    <a:lnTo>
                      <a:pt x="835" y="881"/>
                    </a:lnTo>
                    <a:lnTo>
                      <a:pt x="836" y="881"/>
                    </a:lnTo>
                    <a:lnTo>
                      <a:pt x="838" y="881"/>
                    </a:lnTo>
                    <a:lnTo>
                      <a:pt x="840" y="884"/>
                    </a:lnTo>
                    <a:lnTo>
                      <a:pt x="841" y="886"/>
                    </a:lnTo>
                    <a:lnTo>
                      <a:pt x="843" y="889"/>
                    </a:lnTo>
                    <a:lnTo>
                      <a:pt x="846" y="891"/>
                    </a:lnTo>
                    <a:lnTo>
                      <a:pt x="852" y="896"/>
                    </a:lnTo>
                    <a:lnTo>
                      <a:pt x="853" y="901"/>
                    </a:lnTo>
                    <a:lnTo>
                      <a:pt x="855" y="901"/>
                    </a:lnTo>
                    <a:lnTo>
                      <a:pt x="857" y="901"/>
                    </a:lnTo>
                    <a:lnTo>
                      <a:pt x="860" y="900"/>
                    </a:lnTo>
                    <a:lnTo>
                      <a:pt x="863" y="901"/>
                    </a:lnTo>
                    <a:lnTo>
                      <a:pt x="863" y="900"/>
                    </a:lnTo>
                    <a:lnTo>
                      <a:pt x="865" y="901"/>
                    </a:lnTo>
                    <a:lnTo>
                      <a:pt x="865" y="903"/>
                    </a:lnTo>
                    <a:lnTo>
                      <a:pt x="867" y="903"/>
                    </a:lnTo>
                    <a:lnTo>
                      <a:pt x="870" y="903"/>
                    </a:lnTo>
                    <a:lnTo>
                      <a:pt x="875" y="905"/>
                    </a:lnTo>
                    <a:lnTo>
                      <a:pt x="877" y="903"/>
                    </a:lnTo>
                    <a:lnTo>
                      <a:pt x="877" y="901"/>
                    </a:lnTo>
                    <a:lnTo>
                      <a:pt x="875" y="901"/>
                    </a:lnTo>
                    <a:lnTo>
                      <a:pt x="874" y="898"/>
                    </a:lnTo>
                    <a:lnTo>
                      <a:pt x="875" y="895"/>
                    </a:lnTo>
                    <a:lnTo>
                      <a:pt x="877" y="893"/>
                    </a:lnTo>
                    <a:lnTo>
                      <a:pt x="879" y="891"/>
                    </a:lnTo>
                    <a:lnTo>
                      <a:pt x="884" y="893"/>
                    </a:lnTo>
                    <a:lnTo>
                      <a:pt x="886" y="893"/>
                    </a:lnTo>
                    <a:lnTo>
                      <a:pt x="887" y="891"/>
                    </a:lnTo>
                    <a:lnTo>
                      <a:pt x="889" y="889"/>
                    </a:lnTo>
                    <a:lnTo>
                      <a:pt x="892" y="889"/>
                    </a:lnTo>
                    <a:lnTo>
                      <a:pt x="892" y="898"/>
                    </a:lnTo>
                    <a:lnTo>
                      <a:pt x="892" y="939"/>
                    </a:lnTo>
                    <a:lnTo>
                      <a:pt x="892" y="956"/>
                    </a:lnTo>
                    <a:lnTo>
                      <a:pt x="891" y="954"/>
                    </a:lnTo>
                    <a:lnTo>
                      <a:pt x="887" y="956"/>
                    </a:lnTo>
                    <a:lnTo>
                      <a:pt x="884" y="954"/>
                    </a:lnTo>
                    <a:lnTo>
                      <a:pt x="882" y="952"/>
                    </a:lnTo>
                    <a:lnTo>
                      <a:pt x="880" y="951"/>
                    </a:lnTo>
                    <a:lnTo>
                      <a:pt x="884" y="949"/>
                    </a:lnTo>
                    <a:lnTo>
                      <a:pt x="884" y="947"/>
                    </a:lnTo>
                    <a:lnTo>
                      <a:pt x="886" y="946"/>
                    </a:lnTo>
                    <a:lnTo>
                      <a:pt x="884" y="944"/>
                    </a:lnTo>
                    <a:lnTo>
                      <a:pt x="880" y="944"/>
                    </a:lnTo>
                    <a:lnTo>
                      <a:pt x="877" y="944"/>
                    </a:lnTo>
                    <a:lnTo>
                      <a:pt x="872" y="949"/>
                    </a:lnTo>
                    <a:lnTo>
                      <a:pt x="869" y="949"/>
                    </a:lnTo>
                    <a:lnTo>
                      <a:pt x="869" y="951"/>
                    </a:lnTo>
                    <a:lnTo>
                      <a:pt x="867" y="949"/>
                    </a:lnTo>
                    <a:lnTo>
                      <a:pt x="865" y="951"/>
                    </a:lnTo>
                    <a:lnTo>
                      <a:pt x="862" y="954"/>
                    </a:lnTo>
                    <a:lnTo>
                      <a:pt x="860" y="954"/>
                    </a:lnTo>
                    <a:lnTo>
                      <a:pt x="858" y="952"/>
                    </a:lnTo>
                    <a:lnTo>
                      <a:pt x="857" y="951"/>
                    </a:lnTo>
                    <a:lnTo>
                      <a:pt x="852" y="954"/>
                    </a:lnTo>
                    <a:lnTo>
                      <a:pt x="850" y="954"/>
                    </a:lnTo>
                    <a:lnTo>
                      <a:pt x="850" y="951"/>
                    </a:lnTo>
                    <a:lnTo>
                      <a:pt x="848" y="951"/>
                    </a:lnTo>
                    <a:lnTo>
                      <a:pt x="846" y="941"/>
                    </a:lnTo>
                    <a:lnTo>
                      <a:pt x="843" y="941"/>
                    </a:lnTo>
                    <a:lnTo>
                      <a:pt x="843" y="937"/>
                    </a:lnTo>
                    <a:lnTo>
                      <a:pt x="841" y="937"/>
                    </a:lnTo>
                    <a:lnTo>
                      <a:pt x="843" y="935"/>
                    </a:lnTo>
                    <a:lnTo>
                      <a:pt x="841" y="932"/>
                    </a:lnTo>
                    <a:lnTo>
                      <a:pt x="840" y="930"/>
                    </a:lnTo>
                    <a:lnTo>
                      <a:pt x="840" y="929"/>
                    </a:lnTo>
                    <a:lnTo>
                      <a:pt x="838" y="929"/>
                    </a:lnTo>
                    <a:lnTo>
                      <a:pt x="836" y="927"/>
                    </a:lnTo>
                    <a:lnTo>
                      <a:pt x="833" y="924"/>
                    </a:lnTo>
                    <a:lnTo>
                      <a:pt x="831" y="924"/>
                    </a:lnTo>
                    <a:lnTo>
                      <a:pt x="829" y="927"/>
                    </a:lnTo>
                    <a:lnTo>
                      <a:pt x="828" y="927"/>
                    </a:lnTo>
                    <a:lnTo>
                      <a:pt x="828" y="924"/>
                    </a:lnTo>
                    <a:lnTo>
                      <a:pt x="823" y="918"/>
                    </a:lnTo>
                    <a:lnTo>
                      <a:pt x="824" y="917"/>
                    </a:lnTo>
                    <a:lnTo>
                      <a:pt x="826" y="917"/>
                    </a:lnTo>
                    <a:lnTo>
                      <a:pt x="826" y="913"/>
                    </a:lnTo>
                    <a:lnTo>
                      <a:pt x="823" y="910"/>
                    </a:lnTo>
                    <a:lnTo>
                      <a:pt x="823" y="908"/>
                    </a:lnTo>
                    <a:lnTo>
                      <a:pt x="821" y="907"/>
                    </a:lnTo>
                    <a:lnTo>
                      <a:pt x="816" y="903"/>
                    </a:lnTo>
                    <a:lnTo>
                      <a:pt x="814" y="903"/>
                    </a:lnTo>
                    <a:lnTo>
                      <a:pt x="812" y="903"/>
                    </a:lnTo>
                    <a:lnTo>
                      <a:pt x="811" y="903"/>
                    </a:lnTo>
                    <a:lnTo>
                      <a:pt x="809" y="901"/>
                    </a:lnTo>
                    <a:lnTo>
                      <a:pt x="806" y="903"/>
                    </a:lnTo>
                    <a:lnTo>
                      <a:pt x="804" y="900"/>
                    </a:lnTo>
                    <a:lnTo>
                      <a:pt x="801" y="900"/>
                    </a:lnTo>
                    <a:lnTo>
                      <a:pt x="799" y="898"/>
                    </a:lnTo>
                    <a:lnTo>
                      <a:pt x="797" y="900"/>
                    </a:lnTo>
                    <a:lnTo>
                      <a:pt x="797" y="898"/>
                    </a:lnTo>
                    <a:lnTo>
                      <a:pt x="795" y="896"/>
                    </a:lnTo>
                    <a:lnTo>
                      <a:pt x="795" y="895"/>
                    </a:lnTo>
                    <a:lnTo>
                      <a:pt x="790" y="893"/>
                    </a:lnTo>
                    <a:lnTo>
                      <a:pt x="790" y="895"/>
                    </a:lnTo>
                    <a:lnTo>
                      <a:pt x="789" y="895"/>
                    </a:lnTo>
                    <a:lnTo>
                      <a:pt x="787" y="896"/>
                    </a:lnTo>
                    <a:lnTo>
                      <a:pt x="782" y="895"/>
                    </a:lnTo>
                    <a:lnTo>
                      <a:pt x="780" y="893"/>
                    </a:lnTo>
                    <a:lnTo>
                      <a:pt x="777" y="891"/>
                    </a:lnTo>
                    <a:lnTo>
                      <a:pt x="775" y="888"/>
                    </a:lnTo>
                    <a:lnTo>
                      <a:pt x="775" y="886"/>
                    </a:lnTo>
                    <a:lnTo>
                      <a:pt x="773" y="883"/>
                    </a:lnTo>
                    <a:lnTo>
                      <a:pt x="773" y="879"/>
                    </a:lnTo>
                    <a:lnTo>
                      <a:pt x="767" y="874"/>
                    </a:lnTo>
                    <a:lnTo>
                      <a:pt x="763" y="872"/>
                    </a:lnTo>
                    <a:lnTo>
                      <a:pt x="760" y="871"/>
                    </a:lnTo>
                    <a:lnTo>
                      <a:pt x="761" y="864"/>
                    </a:lnTo>
                    <a:lnTo>
                      <a:pt x="760" y="861"/>
                    </a:lnTo>
                    <a:lnTo>
                      <a:pt x="756" y="862"/>
                    </a:lnTo>
                    <a:lnTo>
                      <a:pt x="755" y="861"/>
                    </a:lnTo>
                    <a:lnTo>
                      <a:pt x="750" y="862"/>
                    </a:lnTo>
                    <a:lnTo>
                      <a:pt x="751" y="867"/>
                    </a:lnTo>
                    <a:lnTo>
                      <a:pt x="750" y="871"/>
                    </a:lnTo>
                    <a:lnTo>
                      <a:pt x="750" y="874"/>
                    </a:lnTo>
                    <a:lnTo>
                      <a:pt x="746" y="878"/>
                    </a:lnTo>
                    <a:lnTo>
                      <a:pt x="743" y="881"/>
                    </a:lnTo>
                    <a:lnTo>
                      <a:pt x="739" y="881"/>
                    </a:lnTo>
                    <a:lnTo>
                      <a:pt x="738" y="879"/>
                    </a:lnTo>
                    <a:lnTo>
                      <a:pt x="734" y="881"/>
                    </a:lnTo>
                    <a:lnTo>
                      <a:pt x="729" y="881"/>
                    </a:lnTo>
                    <a:lnTo>
                      <a:pt x="726" y="881"/>
                    </a:lnTo>
                    <a:lnTo>
                      <a:pt x="724" y="879"/>
                    </a:lnTo>
                    <a:lnTo>
                      <a:pt x="722" y="878"/>
                    </a:lnTo>
                    <a:lnTo>
                      <a:pt x="719" y="878"/>
                    </a:lnTo>
                    <a:lnTo>
                      <a:pt x="716" y="879"/>
                    </a:lnTo>
                    <a:lnTo>
                      <a:pt x="714" y="879"/>
                    </a:lnTo>
                    <a:lnTo>
                      <a:pt x="709" y="878"/>
                    </a:lnTo>
                    <a:lnTo>
                      <a:pt x="699" y="879"/>
                    </a:lnTo>
                    <a:lnTo>
                      <a:pt x="697" y="876"/>
                    </a:lnTo>
                    <a:lnTo>
                      <a:pt x="693" y="876"/>
                    </a:lnTo>
                    <a:lnTo>
                      <a:pt x="692" y="872"/>
                    </a:lnTo>
                    <a:lnTo>
                      <a:pt x="688" y="872"/>
                    </a:lnTo>
                    <a:lnTo>
                      <a:pt x="685" y="872"/>
                    </a:lnTo>
                    <a:lnTo>
                      <a:pt x="682" y="871"/>
                    </a:lnTo>
                    <a:lnTo>
                      <a:pt x="682" y="867"/>
                    </a:lnTo>
                    <a:lnTo>
                      <a:pt x="673" y="871"/>
                    </a:lnTo>
                    <a:lnTo>
                      <a:pt x="673" y="867"/>
                    </a:lnTo>
                    <a:lnTo>
                      <a:pt x="673" y="866"/>
                    </a:lnTo>
                    <a:lnTo>
                      <a:pt x="670" y="866"/>
                    </a:lnTo>
                    <a:lnTo>
                      <a:pt x="668" y="864"/>
                    </a:lnTo>
                    <a:lnTo>
                      <a:pt x="666" y="864"/>
                    </a:lnTo>
                    <a:lnTo>
                      <a:pt x="665" y="862"/>
                    </a:lnTo>
                    <a:lnTo>
                      <a:pt x="663" y="859"/>
                    </a:lnTo>
                    <a:lnTo>
                      <a:pt x="663" y="857"/>
                    </a:lnTo>
                    <a:lnTo>
                      <a:pt x="665" y="855"/>
                    </a:lnTo>
                    <a:lnTo>
                      <a:pt x="661" y="850"/>
                    </a:lnTo>
                    <a:lnTo>
                      <a:pt x="663" y="849"/>
                    </a:lnTo>
                    <a:lnTo>
                      <a:pt x="663" y="847"/>
                    </a:lnTo>
                    <a:lnTo>
                      <a:pt x="665" y="845"/>
                    </a:lnTo>
                    <a:lnTo>
                      <a:pt x="665" y="844"/>
                    </a:lnTo>
                    <a:lnTo>
                      <a:pt x="666" y="840"/>
                    </a:lnTo>
                    <a:lnTo>
                      <a:pt x="663" y="840"/>
                    </a:lnTo>
                    <a:lnTo>
                      <a:pt x="659" y="842"/>
                    </a:lnTo>
                    <a:lnTo>
                      <a:pt x="653" y="844"/>
                    </a:lnTo>
                    <a:lnTo>
                      <a:pt x="641" y="844"/>
                    </a:lnTo>
                    <a:lnTo>
                      <a:pt x="641" y="845"/>
                    </a:lnTo>
                    <a:lnTo>
                      <a:pt x="636" y="847"/>
                    </a:lnTo>
                    <a:lnTo>
                      <a:pt x="634" y="847"/>
                    </a:lnTo>
                    <a:lnTo>
                      <a:pt x="632" y="849"/>
                    </a:lnTo>
                    <a:lnTo>
                      <a:pt x="631" y="850"/>
                    </a:lnTo>
                    <a:lnTo>
                      <a:pt x="627" y="852"/>
                    </a:lnTo>
                    <a:lnTo>
                      <a:pt x="627" y="854"/>
                    </a:lnTo>
                    <a:lnTo>
                      <a:pt x="619" y="854"/>
                    </a:lnTo>
                    <a:lnTo>
                      <a:pt x="617" y="852"/>
                    </a:lnTo>
                    <a:lnTo>
                      <a:pt x="612" y="850"/>
                    </a:lnTo>
                    <a:lnTo>
                      <a:pt x="615" y="849"/>
                    </a:lnTo>
                    <a:lnTo>
                      <a:pt x="617" y="844"/>
                    </a:lnTo>
                    <a:lnTo>
                      <a:pt x="617" y="835"/>
                    </a:lnTo>
                    <a:lnTo>
                      <a:pt x="614" y="833"/>
                    </a:lnTo>
                    <a:lnTo>
                      <a:pt x="610" y="833"/>
                    </a:lnTo>
                    <a:lnTo>
                      <a:pt x="607" y="832"/>
                    </a:lnTo>
                    <a:lnTo>
                      <a:pt x="605" y="833"/>
                    </a:lnTo>
                    <a:lnTo>
                      <a:pt x="603" y="827"/>
                    </a:lnTo>
                    <a:lnTo>
                      <a:pt x="600" y="825"/>
                    </a:lnTo>
                    <a:lnTo>
                      <a:pt x="597" y="825"/>
                    </a:lnTo>
                    <a:lnTo>
                      <a:pt x="595" y="828"/>
                    </a:lnTo>
                    <a:lnTo>
                      <a:pt x="591" y="830"/>
                    </a:lnTo>
                    <a:lnTo>
                      <a:pt x="590" y="833"/>
                    </a:lnTo>
                    <a:lnTo>
                      <a:pt x="585" y="830"/>
                    </a:lnTo>
                    <a:lnTo>
                      <a:pt x="580" y="832"/>
                    </a:lnTo>
                    <a:lnTo>
                      <a:pt x="580" y="830"/>
                    </a:lnTo>
                    <a:lnTo>
                      <a:pt x="576" y="830"/>
                    </a:lnTo>
                    <a:lnTo>
                      <a:pt x="573" y="828"/>
                    </a:lnTo>
                    <a:lnTo>
                      <a:pt x="571" y="828"/>
                    </a:lnTo>
                    <a:lnTo>
                      <a:pt x="566" y="828"/>
                    </a:lnTo>
                    <a:lnTo>
                      <a:pt x="556" y="837"/>
                    </a:lnTo>
                    <a:lnTo>
                      <a:pt x="554" y="835"/>
                    </a:lnTo>
                    <a:lnTo>
                      <a:pt x="551" y="837"/>
                    </a:lnTo>
                    <a:lnTo>
                      <a:pt x="549" y="835"/>
                    </a:lnTo>
                    <a:lnTo>
                      <a:pt x="542" y="835"/>
                    </a:lnTo>
                    <a:lnTo>
                      <a:pt x="540" y="833"/>
                    </a:lnTo>
                    <a:lnTo>
                      <a:pt x="535" y="837"/>
                    </a:lnTo>
                    <a:lnTo>
                      <a:pt x="532" y="837"/>
                    </a:lnTo>
                    <a:lnTo>
                      <a:pt x="530" y="835"/>
                    </a:lnTo>
                    <a:lnTo>
                      <a:pt x="527" y="833"/>
                    </a:lnTo>
                    <a:lnTo>
                      <a:pt x="522" y="833"/>
                    </a:lnTo>
                    <a:lnTo>
                      <a:pt x="520" y="833"/>
                    </a:lnTo>
                    <a:lnTo>
                      <a:pt x="522" y="837"/>
                    </a:lnTo>
                    <a:lnTo>
                      <a:pt x="518" y="840"/>
                    </a:lnTo>
                    <a:lnTo>
                      <a:pt x="513" y="840"/>
                    </a:lnTo>
                    <a:lnTo>
                      <a:pt x="512" y="844"/>
                    </a:lnTo>
                    <a:lnTo>
                      <a:pt x="508" y="844"/>
                    </a:lnTo>
                    <a:lnTo>
                      <a:pt x="510" y="840"/>
                    </a:lnTo>
                    <a:lnTo>
                      <a:pt x="508" y="838"/>
                    </a:lnTo>
                    <a:lnTo>
                      <a:pt x="506" y="837"/>
                    </a:lnTo>
                    <a:lnTo>
                      <a:pt x="506" y="828"/>
                    </a:lnTo>
                    <a:lnTo>
                      <a:pt x="505" y="825"/>
                    </a:lnTo>
                    <a:lnTo>
                      <a:pt x="506" y="821"/>
                    </a:lnTo>
                    <a:lnTo>
                      <a:pt x="510" y="820"/>
                    </a:lnTo>
                    <a:lnTo>
                      <a:pt x="512" y="820"/>
                    </a:lnTo>
                    <a:lnTo>
                      <a:pt x="513" y="818"/>
                    </a:lnTo>
                    <a:lnTo>
                      <a:pt x="512" y="815"/>
                    </a:lnTo>
                    <a:lnTo>
                      <a:pt x="512" y="813"/>
                    </a:lnTo>
                    <a:lnTo>
                      <a:pt x="512" y="808"/>
                    </a:lnTo>
                    <a:lnTo>
                      <a:pt x="510" y="806"/>
                    </a:lnTo>
                    <a:lnTo>
                      <a:pt x="512" y="799"/>
                    </a:lnTo>
                    <a:lnTo>
                      <a:pt x="506" y="789"/>
                    </a:lnTo>
                    <a:lnTo>
                      <a:pt x="506" y="781"/>
                    </a:lnTo>
                    <a:lnTo>
                      <a:pt x="505" y="776"/>
                    </a:lnTo>
                    <a:lnTo>
                      <a:pt x="501" y="774"/>
                    </a:lnTo>
                    <a:lnTo>
                      <a:pt x="500" y="774"/>
                    </a:lnTo>
                    <a:lnTo>
                      <a:pt x="498" y="772"/>
                    </a:lnTo>
                    <a:lnTo>
                      <a:pt x="496" y="770"/>
                    </a:lnTo>
                    <a:lnTo>
                      <a:pt x="496" y="767"/>
                    </a:lnTo>
                    <a:lnTo>
                      <a:pt x="495" y="769"/>
                    </a:lnTo>
                    <a:lnTo>
                      <a:pt x="495" y="767"/>
                    </a:lnTo>
                    <a:lnTo>
                      <a:pt x="493" y="765"/>
                    </a:lnTo>
                    <a:lnTo>
                      <a:pt x="493" y="764"/>
                    </a:lnTo>
                    <a:lnTo>
                      <a:pt x="489" y="762"/>
                    </a:lnTo>
                    <a:lnTo>
                      <a:pt x="489" y="759"/>
                    </a:lnTo>
                    <a:lnTo>
                      <a:pt x="488" y="755"/>
                    </a:lnTo>
                    <a:lnTo>
                      <a:pt x="488" y="753"/>
                    </a:lnTo>
                    <a:lnTo>
                      <a:pt x="486" y="750"/>
                    </a:lnTo>
                    <a:lnTo>
                      <a:pt x="486" y="748"/>
                    </a:lnTo>
                    <a:lnTo>
                      <a:pt x="486" y="747"/>
                    </a:lnTo>
                    <a:lnTo>
                      <a:pt x="489" y="742"/>
                    </a:lnTo>
                    <a:lnTo>
                      <a:pt x="489" y="738"/>
                    </a:lnTo>
                    <a:lnTo>
                      <a:pt x="488" y="735"/>
                    </a:lnTo>
                    <a:lnTo>
                      <a:pt x="488" y="733"/>
                    </a:lnTo>
                    <a:lnTo>
                      <a:pt x="488" y="731"/>
                    </a:lnTo>
                    <a:lnTo>
                      <a:pt x="488" y="724"/>
                    </a:lnTo>
                    <a:lnTo>
                      <a:pt x="489" y="723"/>
                    </a:lnTo>
                    <a:lnTo>
                      <a:pt x="491" y="719"/>
                    </a:lnTo>
                    <a:lnTo>
                      <a:pt x="491" y="714"/>
                    </a:lnTo>
                    <a:lnTo>
                      <a:pt x="491" y="713"/>
                    </a:lnTo>
                    <a:lnTo>
                      <a:pt x="491" y="711"/>
                    </a:lnTo>
                    <a:lnTo>
                      <a:pt x="493" y="709"/>
                    </a:lnTo>
                    <a:lnTo>
                      <a:pt x="491" y="709"/>
                    </a:lnTo>
                    <a:lnTo>
                      <a:pt x="493" y="707"/>
                    </a:lnTo>
                    <a:lnTo>
                      <a:pt x="493" y="706"/>
                    </a:lnTo>
                    <a:lnTo>
                      <a:pt x="493" y="704"/>
                    </a:lnTo>
                    <a:lnTo>
                      <a:pt x="493" y="701"/>
                    </a:lnTo>
                    <a:lnTo>
                      <a:pt x="491" y="699"/>
                    </a:lnTo>
                    <a:lnTo>
                      <a:pt x="491" y="697"/>
                    </a:lnTo>
                    <a:lnTo>
                      <a:pt x="493" y="696"/>
                    </a:lnTo>
                    <a:lnTo>
                      <a:pt x="493" y="694"/>
                    </a:lnTo>
                    <a:lnTo>
                      <a:pt x="491" y="694"/>
                    </a:lnTo>
                    <a:lnTo>
                      <a:pt x="489" y="689"/>
                    </a:lnTo>
                    <a:lnTo>
                      <a:pt x="488" y="685"/>
                    </a:lnTo>
                    <a:lnTo>
                      <a:pt x="486" y="682"/>
                    </a:lnTo>
                    <a:lnTo>
                      <a:pt x="484" y="680"/>
                    </a:lnTo>
                    <a:lnTo>
                      <a:pt x="484" y="677"/>
                    </a:lnTo>
                    <a:lnTo>
                      <a:pt x="483" y="675"/>
                    </a:lnTo>
                    <a:lnTo>
                      <a:pt x="484" y="673"/>
                    </a:lnTo>
                    <a:lnTo>
                      <a:pt x="484" y="668"/>
                    </a:lnTo>
                    <a:lnTo>
                      <a:pt x="486" y="665"/>
                    </a:lnTo>
                    <a:lnTo>
                      <a:pt x="486" y="662"/>
                    </a:lnTo>
                    <a:lnTo>
                      <a:pt x="488" y="662"/>
                    </a:lnTo>
                    <a:lnTo>
                      <a:pt x="488" y="660"/>
                    </a:lnTo>
                    <a:lnTo>
                      <a:pt x="488" y="658"/>
                    </a:lnTo>
                    <a:lnTo>
                      <a:pt x="489" y="656"/>
                    </a:lnTo>
                    <a:lnTo>
                      <a:pt x="488" y="655"/>
                    </a:lnTo>
                    <a:lnTo>
                      <a:pt x="489" y="653"/>
                    </a:lnTo>
                    <a:lnTo>
                      <a:pt x="488" y="651"/>
                    </a:lnTo>
                    <a:lnTo>
                      <a:pt x="489" y="650"/>
                    </a:lnTo>
                    <a:lnTo>
                      <a:pt x="488" y="650"/>
                    </a:lnTo>
                    <a:lnTo>
                      <a:pt x="488" y="648"/>
                    </a:lnTo>
                    <a:lnTo>
                      <a:pt x="488" y="645"/>
                    </a:lnTo>
                    <a:lnTo>
                      <a:pt x="486" y="645"/>
                    </a:lnTo>
                    <a:lnTo>
                      <a:pt x="486" y="643"/>
                    </a:lnTo>
                    <a:lnTo>
                      <a:pt x="461" y="643"/>
                    </a:lnTo>
                    <a:lnTo>
                      <a:pt x="445" y="643"/>
                    </a:lnTo>
                    <a:lnTo>
                      <a:pt x="437" y="643"/>
                    </a:lnTo>
                    <a:lnTo>
                      <a:pt x="423" y="643"/>
                    </a:lnTo>
                    <a:lnTo>
                      <a:pt x="423" y="639"/>
                    </a:lnTo>
                    <a:lnTo>
                      <a:pt x="423" y="636"/>
                    </a:lnTo>
                    <a:lnTo>
                      <a:pt x="421" y="636"/>
                    </a:lnTo>
                    <a:lnTo>
                      <a:pt x="425" y="631"/>
                    </a:lnTo>
                    <a:lnTo>
                      <a:pt x="427" y="624"/>
                    </a:lnTo>
                    <a:lnTo>
                      <a:pt x="411" y="624"/>
                    </a:lnTo>
                    <a:lnTo>
                      <a:pt x="410" y="628"/>
                    </a:lnTo>
                    <a:lnTo>
                      <a:pt x="393" y="628"/>
                    </a:lnTo>
                    <a:lnTo>
                      <a:pt x="372" y="628"/>
                    </a:lnTo>
                    <a:lnTo>
                      <a:pt x="372" y="631"/>
                    </a:lnTo>
                    <a:lnTo>
                      <a:pt x="369" y="636"/>
                    </a:lnTo>
                    <a:lnTo>
                      <a:pt x="370" y="641"/>
                    </a:lnTo>
                    <a:lnTo>
                      <a:pt x="369" y="645"/>
                    </a:lnTo>
                    <a:lnTo>
                      <a:pt x="369" y="646"/>
                    </a:lnTo>
                    <a:lnTo>
                      <a:pt x="369" y="648"/>
                    </a:lnTo>
                    <a:lnTo>
                      <a:pt x="370" y="648"/>
                    </a:lnTo>
                    <a:lnTo>
                      <a:pt x="370" y="650"/>
                    </a:lnTo>
                    <a:lnTo>
                      <a:pt x="370" y="651"/>
                    </a:lnTo>
                    <a:lnTo>
                      <a:pt x="369" y="653"/>
                    </a:lnTo>
                    <a:lnTo>
                      <a:pt x="369" y="655"/>
                    </a:lnTo>
                    <a:lnTo>
                      <a:pt x="369" y="658"/>
                    </a:lnTo>
                    <a:lnTo>
                      <a:pt x="364" y="658"/>
                    </a:lnTo>
                    <a:lnTo>
                      <a:pt x="362" y="658"/>
                    </a:lnTo>
                    <a:lnTo>
                      <a:pt x="365" y="663"/>
                    </a:lnTo>
                    <a:lnTo>
                      <a:pt x="364" y="668"/>
                    </a:lnTo>
                    <a:lnTo>
                      <a:pt x="362" y="670"/>
                    </a:lnTo>
                    <a:lnTo>
                      <a:pt x="362" y="672"/>
                    </a:lnTo>
                    <a:lnTo>
                      <a:pt x="362" y="673"/>
                    </a:lnTo>
                    <a:lnTo>
                      <a:pt x="362" y="675"/>
                    </a:lnTo>
                    <a:lnTo>
                      <a:pt x="362" y="677"/>
                    </a:lnTo>
                    <a:lnTo>
                      <a:pt x="364" y="679"/>
                    </a:lnTo>
                    <a:lnTo>
                      <a:pt x="333" y="679"/>
                    </a:lnTo>
                    <a:lnTo>
                      <a:pt x="333" y="677"/>
                    </a:lnTo>
                    <a:lnTo>
                      <a:pt x="333" y="675"/>
                    </a:lnTo>
                    <a:lnTo>
                      <a:pt x="321" y="675"/>
                    </a:lnTo>
                    <a:lnTo>
                      <a:pt x="319" y="679"/>
                    </a:lnTo>
                    <a:lnTo>
                      <a:pt x="314" y="679"/>
                    </a:lnTo>
                    <a:lnTo>
                      <a:pt x="311" y="680"/>
                    </a:lnTo>
                    <a:lnTo>
                      <a:pt x="309" y="680"/>
                    </a:lnTo>
                    <a:lnTo>
                      <a:pt x="308" y="679"/>
                    </a:lnTo>
                    <a:lnTo>
                      <a:pt x="304" y="677"/>
                    </a:lnTo>
                    <a:lnTo>
                      <a:pt x="302" y="679"/>
                    </a:lnTo>
                    <a:lnTo>
                      <a:pt x="301" y="680"/>
                    </a:lnTo>
                    <a:lnTo>
                      <a:pt x="299" y="680"/>
                    </a:lnTo>
                    <a:lnTo>
                      <a:pt x="297" y="682"/>
                    </a:lnTo>
                    <a:lnTo>
                      <a:pt x="299" y="684"/>
                    </a:lnTo>
                    <a:lnTo>
                      <a:pt x="292" y="684"/>
                    </a:lnTo>
                    <a:lnTo>
                      <a:pt x="287" y="684"/>
                    </a:lnTo>
                    <a:lnTo>
                      <a:pt x="284" y="685"/>
                    </a:lnTo>
                    <a:lnTo>
                      <a:pt x="279" y="684"/>
                    </a:lnTo>
                    <a:lnTo>
                      <a:pt x="274" y="685"/>
                    </a:lnTo>
                    <a:lnTo>
                      <a:pt x="272" y="685"/>
                    </a:lnTo>
                    <a:lnTo>
                      <a:pt x="268" y="684"/>
                    </a:lnTo>
                    <a:lnTo>
                      <a:pt x="268" y="682"/>
                    </a:lnTo>
                    <a:lnTo>
                      <a:pt x="270" y="682"/>
                    </a:lnTo>
                    <a:lnTo>
                      <a:pt x="268" y="679"/>
                    </a:lnTo>
                    <a:lnTo>
                      <a:pt x="267" y="679"/>
                    </a:lnTo>
                    <a:lnTo>
                      <a:pt x="267" y="677"/>
                    </a:lnTo>
                    <a:lnTo>
                      <a:pt x="265" y="675"/>
                    </a:lnTo>
                    <a:lnTo>
                      <a:pt x="265" y="672"/>
                    </a:lnTo>
                    <a:lnTo>
                      <a:pt x="263" y="672"/>
                    </a:lnTo>
                    <a:lnTo>
                      <a:pt x="263" y="670"/>
                    </a:lnTo>
                    <a:lnTo>
                      <a:pt x="262" y="670"/>
                    </a:lnTo>
                    <a:lnTo>
                      <a:pt x="263" y="670"/>
                    </a:lnTo>
                    <a:lnTo>
                      <a:pt x="262" y="670"/>
                    </a:lnTo>
                    <a:lnTo>
                      <a:pt x="262" y="668"/>
                    </a:lnTo>
                    <a:lnTo>
                      <a:pt x="260" y="668"/>
                    </a:lnTo>
                    <a:lnTo>
                      <a:pt x="260" y="667"/>
                    </a:lnTo>
                    <a:lnTo>
                      <a:pt x="258" y="667"/>
                    </a:lnTo>
                    <a:lnTo>
                      <a:pt x="260" y="665"/>
                    </a:lnTo>
                    <a:lnTo>
                      <a:pt x="257" y="663"/>
                    </a:lnTo>
                    <a:lnTo>
                      <a:pt x="258" y="663"/>
                    </a:lnTo>
                    <a:lnTo>
                      <a:pt x="258" y="660"/>
                    </a:lnTo>
                    <a:lnTo>
                      <a:pt x="255" y="658"/>
                    </a:lnTo>
                    <a:lnTo>
                      <a:pt x="253" y="658"/>
                    </a:lnTo>
                    <a:lnTo>
                      <a:pt x="253" y="655"/>
                    </a:lnTo>
                    <a:lnTo>
                      <a:pt x="253" y="653"/>
                    </a:lnTo>
                    <a:lnTo>
                      <a:pt x="250" y="651"/>
                    </a:lnTo>
                    <a:lnTo>
                      <a:pt x="251" y="650"/>
                    </a:lnTo>
                    <a:lnTo>
                      <a:pt x="250" y="648"/>
                    </a:lnTo>
                    <a:lnTo>
                      <a:pt x="250" y="650"/>
                    </a:lnTo>
                    <a:lnTo>
                      <a:pt x="248" y="650"/>
                    </a:lnTo>
                    <a:lnTo>
                      <a:pt x="248" y="646"/>
                    </a:lnTo>
                    <a:lnTo>
                      <a:pt x="245" y="645"/>
                    </a:lnTo>
                    <a:lnTo>
                      <a:pt x="245" y="643"/>
                    </a:lnTo>
                    <a:lnTo>
                      <a:pt x="241" y="643"/>
                    </a:lnTo>
                    <a:lnTo>
                      <a:pt x="241" y="641"/>
                    </a:lnTo>
                    <a:lnTo>
                      <a:pt x="240" y="639"/>
                    </a:lnTo>
                    <a:lnTo>
                      <a:pt x="240" y="638"/>
                    </a:lnTo>
                    <a:lnTo>
                      <a:pt x="238" y="633"/>
                    </a:lnTo>
                    <a:lnTo>
                      <a:pt x="240" y="634"/>
                    </a:lnTo>
                    <a:lnTo>
                      <a:pt x="241" y="631"/>
                    </a:lnTo>
                    <a:lnTo>
                      <a:pt x="240" y="631"/>
                    </a:lnTo>
                    <a:lnTo>
                      <a:pt x="240" y="629"/>
                    </a:lnTo>
                    <a:lnTo>
                      <a:pt x="238" y="629"/>
                    </a:lnTo>
                    <a:lnTo>
                      <a:pt x="238" y="624"/>
                    </a:lnTo>
                    <a:lnTo>
                      <a:pt x="236" y="622"/>
                    </a:lnTo>
                    <a:lnTo>
                      <a:pt x="234" y="622"/>
                    </a:lnTo>
                    <a:lnTo>
                      <a:pt x="234" y="619"/>
                    </a:lnTo>
                    <a:lnTo>
                      <a:pt x="233" y="617"/>
                    </a:lnTo>
                    <a:lnTo>
                      <a:pt x="233" y="614"/>
                    </a:lnTo>
                    <a:lnTo>
                      <a:pt x="231" y="614"/>
                    </a:lnTo>
                    <a:lnTo>
                      <a:pt x="231" y="609"/>
                    </a:lnTo>
                    <a:lnTo>
                      <a:pt x="229" y="607"/>
                    </a:lnTo>
                    <a:lnTo>
                      <a:pt x="229" y="604"/>
                    </a:lnTo>
                    <a:lnTo>
                      <a:pt x="228" y="602"/>
                    </a:lnTo>
                    <a:lnTo>
                      <a:pt x="229" y="600"/>
                    </a:lnTo>
                    <a:lnTo>
                      <a:pt x="228" y="599"/>
                    </a:lnTo>
                    <a:lnTo>
                      <a:pt x="229" y="599"/>
                    </a:lnTo>
                    <a:lnTo>
                      <a:pt x="226" y="597"/>
                    </a:lnTo>
                    <a:lnTo>
                      <a:pt x="228" y="595"/>
                    </a:lnTo>
                    <a:lnTo>
                      <a:pt x="226" y="595"/>
                    </a:lnTo>
                    <a:lnTo>
                      <a:pt x="228" y="595"/>
                    </a:lnTo>
                    <a:lnTo>
                      <a:pt x="228" y="594"/>
                    </a:lnTo>
                    <a:lnTo>
                      <a:pt x="228" y="588"/>
                    </a:lnTo>
                    <a:lnTo>
                      <a:pt x="229" y="587"/>
                    </a:lnTo>
                    <a:lnTo>
                      <a:pt x="228" y="583"/>
                    </a:lnTo>
                    <a:lnTo>
                      <a:pt x="226" y="583"/>
                    </a:lnTo>
                    <a:lnTo>
                      <a:pt x="226" y="582"/>
                    </a:lnTo>
                    <a:lnTo>
                      <a:pt x="224" y="583"/>
                    </a:lnTo>
                    <a:lnTo>
                      <a:pt x="224" y="582"/>
                    </a:lnTo>
                    <a:lnTo>
                      <a:pt x="223" y="580"/>
                    </a:lnTo>
                    <a:lnTo>
                      <a:pt x="224" y="580"/>
                    </a:lnTo>
                    <a:lnTo>
                      <a:pt x="223" y="580"/>
                    </a:lnTo>
                    <a:lnTo>
                      <a:pt x="223" y="576"/>
                    </a:lnTo>
                    <a:lnTo>
                      <a:pt x="223" y="575"/>
                    </a:lnTo>
                    <a:lnTo>
                      <a:pt x="221" y="575"/>
                    </a:lnTo>
                    <a:lnTo>
                      <a:pt x="221" y="571"/>
                    </a:lnTo>
                    <a:lnTo>
                      <a:pt x="217" y="570"/>
                    </a:lnTo>
                    <a:lnTo>
                      <a:pt x="214" y="571"/>
                    </a:lnTo>
                    <a:lnTo>
                      <a:pt x="211" y="570"/>
                    </a:lnTo>
                    <a:lnTo>
                      <a:pt x="209" y="571"/>
                    </a:lnTo>
                    <a:lnTo>
                      <a:pt x="200" y="571"/>
                    </a:lnTo>
                    <a:lnTo>
                      <a:pt x="183" y="571"/>
                    </a:lnTo>
                    <a:lnTo>
                      <a:pt x="175" y="570"/>
                    </a:lnTo>
                    <a:lnTo>
                      <a:pt x="163" y="571"/>
                    </a:lnTo>
                    <a:lnTo>
                      <a:pt x="151" y="571"/>
                    </a:lnTo>
                    <a:lnTo>
                      <a:pt x="139" y="571"/>
                    </a:lnTo>
                    <a:lnTo>
                      <a:pt x="126" y="571"/>
                    </a:lnTo>
                    <a:lnTo>
                      <a:pt x="122" y="573"/>
                    </a:lnTo>
                    <a:lnTo>
                      <a:pt x="115" y="571"/>
                    </a:lnTo>
                    <a:lnTo>
                      <a:pt x="114" y="573"/>
                    </a:lnTo>
                    <a:lnTo>
                      <a:pt x="109" y="571"/>
                    </a:lnTo>
                    <a:lnTo>
                      <a:pt x="107" y="571"/>
                    </a:lnTo>
                    <a:lnTo>
                      <a:pt x="105" y="570"/>
                    </a:lnTo>
                    <a:lnTo>
                      <a:pt x="104" y="571"/>
                    </a:lnTo>
                    <a:lnTo>
                      <a:pt x="102" y="571"/>
                    </a:lnTo>
                    <a:lnTo>
                      <a:pt x="100" y="570"/>
                    </a:lnTo>
                    <a:lnTo>
                      <a:pt x="97" y="570"/>
                    </a:lnTo>
                    <a:lnTo>
                      <a:pt x="93" y="570"/>
                    </a:lnTo>
                    <a:lnTo>
                      <a:pt x="92" y="570"/>
                    </a:lnTo>
                    <a:lnTo>
                      <a:pt x="88" y="570"/>
                    </a:lnTo>
                    <a:lnTo>
                      <a:pt x="80" y="571"/>
                    </a:lnTo>
                    <a:lnTo>
                      <a:pt x="70" y="571"/>
                    </a:lnTo>
                    <a:lnTo>
                      <a:pt x="68" y="571"/>
                    </a:lnTo>
                    <a:lnTo>
                      <a:pt x="66" y="571"/>
                    </a:lnTo>
                    <a:lnTo>
                      <a:pt x="61" y="570"/>
                    </a:lnTo>
                    <a:lnTo>
                      <a:pt x="59" y="571"/>
                    </a:lnTo>
                    <a:lnTo>
                      <a:pt x="58" y="573"/>
                    </a:lnTo>
                    <a:lnTo>
                      <a:pt x="53" y="571"/>
                    </a:lnTo>
                    <a:lnTo>
                      <a:pt x="47" y="571"/>
                    </a:lnTo>
                    <a:lnTo>
                      <a:pt x="46" y="573"/>
                    </a:lnTo>
                    <a:lnTo>
                      <a:pt x="46" y="571"/>
                    </a:lnTo>
                    <a:lnTo>
                      <a:pt x="44" y="571"/>
                    </a:lnTo>
                    <a:lnTo>
                      <a:pt x="36" y="570"/>
                    </a:lnTo>
                    <a:lnTo>
                      <a:pt x="29" y="571"/>
                    </a:lnTo>
                    <a:lnTo>
                      <a:pt x="27" y="575"/>
                    </a:lnTo>
                    <a:lnTo>
                      <a:pt x="27" y="576"/>
                    </a:lnTo>
                    <a:lnTo>
                      <a:pt x="25" y="578"/>
                    </a:lnTo>
                    <a:lnTo>
                      <a:pt x="20" y="578"/>
                    </a:lnTo>
                    <a:lnTo>
                      <a:pt x="20" y="576"/>
                    </a:lnTo>
                    <a:lnTo>
                      <a:pt x="19" y="578"/>
                    </a:lnTo>
                    <a:lnTo>
                      <a:pt x="17" y="580"/>
                    </a:lnTo>
                    <a:lnTo>
                      <a:pt x="12" y="580"/>
                    </a:lnTo>
                    <a:lnTo>
                      <a:pt x="15" y="578"/>
                    </a:lnTo>
                    <a:lnTo>
                      <a:pt x="13" y="576"/>
                    </a:lnTo>
                    <a:lnTo>
                      <a:pt x="10" y="576"/>
                    </a:lnTo>
                    <a:lnTo>
                      <a:pt x="10" y="578"/>
                    </a:lnTo>
                    <a:lnTo>
                      <a:pt x="7" y="573"/>
                    </a:lnTo>
                    <a:lnTo>
                      <a:pt x="5" y="571"/>
                    </a:lnTo>
                    <a:lnTo>
                      <a:pt x="0" y="566"/>
                    </a:lnTo>
                    <a:lnTo>
                      <a:pt x="0" y="565"/>
                    </a:lnTo>
                    <a:lnTo>
                      <a:pt x="5" y="565"/>
                    </a:lnTo>
                    <a:lnTo>
                      <a:pt x="17" y="565"/>
                    </a:lnTo>
                    <a:lnTo>
                      <a:pt x="17" y="559"/>
                    </a:lnTo>
                    <a:lnTo>
                      <a:pt x="17" y="536"/>
                    </a:lnTo>
                    <a:lnTo>
                      <a:pt x="15" y="536"/>
                    </a:lnTo>
                    <a:lnTo>
                      <a:pt x="17" y="534"/>
                    </a:lnTo>
                    <a:lnTo>
                      <a:pt x="15" y="534"/>
                    </a:lnTo>
                    <a:lnTo>
                      <a:pt x="13" y="532"/>
                    </a:lnTo>
                    <a:lnTo>
                      <a:pt x="15" y="529"/>
                    </a:lnTo>
                    <a:lnTo>
                      <a:pt x="17" y="531"/>
                    </a:lnTo>
                    <a:lnTo>
                      <a:pt x="17" y="529"/>
                    </a:lnTo>
                    <a:lnTo>
                      <a:pt x="19" y="529"/>
                    </a:lnTo>
                    <a:lnTo>
                      <a:pt x="20" y="529"/>
                    </a:lnTo>
                    <a:lnTo>
                      <a:pt x="22" y="524"/>
                    </a:lnTo>
                    <a:lnTo>
                      <a:pt x="24" y="525"/>
                    </a:lnTo>
                    <a:lnTo>
                      <a:pt x="25" y="524"/>
                    </a:lnTo>
                    <a:lnTo>
                      <a:pt x="27" y="522"/>
                    </a:lnTo>
                    <a:lnTo>
                      <a:pt x="29" y="520"/>
                    </a:lnTo>
                    <a:lnTo>
                      <a:pt x="30" y="519"/>
                    </a:lnTo>
                    <a:lnTo>
                      <a:pt x="32" y="514"/>
                    </a:lnTo>
                    <a:lnTo>
                      <a:pt x="34" y="515"/>
                    </a:lnTo>
                    <a:lnTo>
                      <a:pt x="34" y="514"/>
                    </a:lnTo>
                    <a:lnTo>
                      <a:pt x="36" y="514"/>
                    </a:lnTo>
                    <a:lnTo>
                      <a:pt x="37" y="514"/>
                    </a:lnTo>
                    <a:lnTo>
                      <a:pt x="39" y="512"/>
                    </a:lnTo>
                    <a:lnTo>
                      <a:pt x="42" y="512"/>
                    </a:lnTo>
                    <a:lnTo>
                      <a:pt x="42" y="510"/>
                    </a:lnTo>
                    <a:lnTo>
                      <a:pt x="46" y="512"/>
                    </a:lnTo>
                    <a:lnTo>
                      <a:pt x="46" y="510"/>
                    </a:lnTo>
                    <a:lnTo>
                      <a:pt x="46" y="508"/>
                    </a:lnTo>
                    <a:lnTo>
                      <a:pt x="46" y="507"/>
                    </a:lnTo>
                    <a:lnTo>
                      <a:pt x="46" y="505"/>
                    </a:lnTo>
                    <a:lnTo>
                      <a:pt x="47" y="507"/>
                    </a:lnTo>
                    <a:lnTo>
                      <a:pt x="47" y="508"/>
                    </a:lnTo>
                    <a:lnTo>
                      <a:pt x="53" y="512"/>
                    </a:lnTo>
                    <a:lnTo>
                      <a:pt x="53" y="514"/>
                    </a:lnTo>
                    <a:lnTo>
                      <a:pt x="54" y="515"/>
                    </a:lnTo>
                    <a:lnTo>
                      <a:pt x="56" y="515"/>
                    </a:lnTo>
                    <a:lnTo>
                      <a:pt x="58" y="515"/>
                    </a:lnTo>
                    <a:lnTo>
                      <a:pt x="59" y="517"/>
                    </a:lnTo>
                    <a:lnTo>
                      <a:pt x="59" y="520"/>
                    </a:lnTo>
                    <a:lnTo>
                      <a:pt x="61" y="522"/>
                    </a:lnTo>
                    <a:lnTo>
                      <a:pt x="61" y="520"/>
                    </a:lnTo>
                    <a:lnTo>
                      <a:pt x="64" y="520"/>
                    </a:lnTo>
                    <a:lnTo>
                      <a:pt x="66" y="519"/>
                    </a:lnTo>
                    <a:lnTo>
                      <a:pt x="66" y="517"/>
                    </a:lnTo>
                    <a:lnTo>
                      <a:pt x="66" y="515"/>
                    </a:lnTo>
                    <a:lnTo>
                      <a:pt x="68" y="515"/>
                    </a:lnTo>
                    <a:lnTo>
                      <a:pt x="68" y="517"/>
                    </a:lnTo>
                    <a:lnTo>
                      <a:pt x="71" y="517"/>
                    </a:lnTo>
                    <a:lnTo>
                      <a:pt x="71" y="515"/>
                    </a:lnTo>
                    <a:lnTo>
                      <a:pt x="73" y="515"/>
                    </a:lnTo>
                    <a:lnTo>
                      <a:pt x="71" y="514"/>
                    </a:lnTo>
                    <a:lnTo>
                      <a:pt x="73" y="514"/>
                    </a:lnTo>
                    <a:lnTo>
                      <a:pt x="75" y="515"/>
                    </a:lnTo>
                    <a:lnTo>
                      <a:pt x="75" y="514"/>
                    </a:lnTo>
                    <a:lnTo>
                      <a:pt x="75" y="512"/>
                    </a:lnTo>
                    <a:lnTo>
                      <a:pt x="76" y="512"/>
                    </a:lnTo>
                    <a:lnTo>
                      <a:pt x="76" y="508"/>
                    </a:lnTo>
                    <a:lnTo>
                      <a:pt x="78" y="505"/>
                    </a:lnTo>
                    <a:lnTo>
                      <a:pt x="78" y="498"/>
                    </a:lnTo>
                    <a:lnTo>
                      <a:pt x="81" y="498"/>
                    </a:lnTo>
                    <a:lnTo>
                      <a:pt x="83" y="498"/>
                    </a:lnTo>
                    <a:lnTo>
                      <a:pt x="85" y="502"/>
                    </a:lnTo>
                    <a:lnTo>
                      <a:pt x="88" y="502"/>
                    </a:lnTo>
                    <a:lnTo>
                      <a:pt x="90" y="502"/>
                    </a:lnTo>
                    <a:lnTo>
                      <a:pt x="90" y="500"/>
                    </a:lnTo>
                    <a:lnTo>
                      <a:pt x="92" y="498"/>
                    </a:lnTo>
                    <a:lnTo>
                      <a:pt x="95" y="497"/>
                    </a:lnTo>
                    <a:lnTo>
                      <a:pt x="100" y="497"/>
                    </a:lnTo>
                    <a:lnTo>
                      <a:pt x="104" y="495"/>
                    </a:lnTo>
                    <a:lnTo>
                      <a:pt x="105" y="493"/>
                    </a:lnTo>
                    <a:lnTo>
                      <a:pt x="109" y="491"/>
                    </a:lnTo>
                    <a:lnTo>
                      <a:pt x="112" y="490"/>
                    </a:lnTo>
                    <a:lnTo>
                      <a:pt x="110" y="493"/>
                    </a:lnTo>
                    <a:lnTo>
                      <a:pt x="112" y="497"/>
                    </a:lnTo>
                    <a:lnTo>
                      <a:pt x="115" y="498"/>
                    </a:lnTo>
                    <a:lnTo>
                      <a:pt x="112" y="502"/>
                    </a:lnTo>
                    <a:lnTo>
                      <a:pt x="110" y="502"/>
                    </a:lnTo>
                    <a:lnTo>
                      <a:pt x="110" y="503"/>
                    </a:lnTo>
                    <a:lnTo>
                      <a:pt x="110" y="505"/>
                    </a:lnTo>
                    <a:lnTo>
                      <a:pt x="110" y="508"/>
                    </a:lnTo>
                    <a:lnTo>
                      <a:pt x="112" y="512"/>
                    </a:lnTo>
                    <a:lnTo>
                      <a:pt x="110" y="514"/>
                    </a:lnTo>
                    <a:lnTo>
                      <a:pt x="112" y="515"/>
                    </a:lnTo>
                    <a:lnTo>
                      <a:pt x="110" y="517"/>
                    </a:lnTo>
                    <a:lnTo>
                      <a:pt x="110" y="519"/>
                    </a:lnTo>
                    <a:lnTo>
                      <a:pt x="112" y="522"/>
                    </a:lnTo>
                    <a:lnTo>
                      <a:pt x="115" y="519"/>
                    </a:lnTo>
                    <a:lnTo>
                      <a:pt x="119" y="520"/>
                    </a:lnTo>
                    <a:lnTo>
                      <a:pt x="121" y="522"/>
                    </a:lnTo>
                    <a:lnTo>
                      <a:pt x="124" y="524"/>
                    </a:lnTo>
                    <a:lnTo>
                      <a:pt x="126" y="522"/>
                    </a:lnTo>
                    <a:lnTo>
                      <a:pt x="134" y="517"/>
                    </a:lnTo>
                    <a:lnTo>
                      <a:pt x="136" y="512"/>
                    </a:lnTo>
                    <a:lnTo>
                      <a:pt x="143" y="503"/>
                    </a:lnTo>
                    <a:lnTo>
                      <a:pt x="148" y="500"/>
                    </a:lnTo>
                    <a:lnTo>
                      <a:pt x="149" y="497"/>
                    </a:lnTo>
                    <a:lnTo>
                      <a:pt x="151" y="493"/>
                    </a:lnTo>
                    <a:lnTo>
                      <a:pt x="155" y="491"/>
                    </a:lnTo>
                    <a:lnTo>
                      <a:pt x="156" y="490"/>
                    </a:lnTo>
                    <a:lnTo>
                      <a:pt x="161" y="491"/>
                    </a:lnTo>
                    <a:lnTo>
                      <a:pt x="165" y="488"/>
                    </a:lnTo>
                    <a:lnTo>
                      <a:pt x="166" y="486"/>
                    </a:lnTo>
                    <a:lnTo>
                      <a:pt x="166" y="483"/>
                    </a:lnTo>
                    <a:lnTo>
                      <a:pt x="168" y="481"/>
                    </a:lnTo>
                    <a:lnTo>
                      <a:pt x="170" y="478"/>
                    </a:lnTo>
                    <a:lnTo>
                      <a:pt x="177" y="476"/>
                    </a:lnTo>
                    <a:lnTo>
                      <a:pt x="183" y="474"/>
                    </a:lnTo>
                    <a:lnTo>
                      <a:pt x="187" y="473"/>
                    </a:lnTo>
                    <a:lnTo>
                      <a:pt x="194" y="457"/>
                    </a:lnTo>
                    <a:lnTo>
                      <a:pt x="197" y="454"/>
                    </a:lnTo>
                    <a:lnTo>
                      <a:pt x="199" y="449"/>
                    </a:lnTo>
                    <a:lnTo>
                      <a:pt x="202" y="444"/>
                    </a:lnTo>
                    <a:lnTo>
                      <a:pt x="202" y="440"/>
                    </a:lnTo>
                    <a:lnTo>
                      <a:pt x="200" y="439"/>
                    </a:lnTo>
                    <a:lnTo>
                      <a:pt x="202" y="435"/>
                    </a:lnTo>
                    <a:lnTo>
                      <a:pt x="200" y="430"/>
                    </a:lnTo>
                    <a:lnTo>
                      <a:pt x="202" y="427"/>
                    </a:lnTo>
                    <a:lnTo>
                      <a:pt x="200" y="422"/>
                    </a:lnTo>
                    <a:lnTo>
                      <a:pt x="202" y="413"/>
                    </a:lnTo>
                    <a:lnTo>
                      <a:pt x="204" y="410"/>
                    </a:lnTo>
                    <a:lnTo>
                      <a:pt x="204" y="405"/>
                    </a:lnTo>
                    <a:lnTo>
                      <a:pt x="202" y="400"/>
                    </a:lnTo>
                    <a:lnTo>
                      <a:pt x="200" y="391"/>
                    </a:lnTo>
                    <a:lnTo>
                      <a:pt x="202" y="386"/>
                    </a:lnTo>
                    <a:lnTo>
                      <a:pt x="204" y="383"/>
                    </a:lnTo>
                    <a:lnTo>
                      <a:pt x="211" y="376"/>
                    </a:lnTo>
                    <a:lnTo>
                      <a:pt x="212" y="374"/>
                    </a:lnTo>
                    <a:lnTo>
                      <a:pt x="216" y="369"/>
                    </a:lnTo>
                    <a:lnTo>
                      <a:pt x="221" y="367"/>
                    </a:lnTo>
                    <a:lnTo>
                      <a:pt x="221" y="362"/>
                    </a:lnTo>
                    <a:lnTo>
                      <a:pt x="226" y="352"/>
                    </a:lnTo>
                    <a:lnTo>
                      <a:pt x="226" y="349"/>
                    </a:lnTo>
                    <a:lnTo>
                      <a:pt x="231" y="343"/>
                    </a:lnTo>
                    <a:lnTo>
                      <a:pt x="233" y="338"/>
                    </a:lnTo>
                    <a:lnTo>
                      <a:pt x="240" y="333"/>
                    </a:lnTo>
                    <a:lnTo>
                      <a:pt x="243" y="330"/>
                    </a:lnTo>
                    <a:lnTo>
                      <a:pt x="246" y="328"/>
                    </a:lnTo>
                    <a:lnTo>
                      <a:pt x="253" y="326"/>
                    </a:lnTo>
                    <a:lnTo>
                      <a:pt x="262" y="321"/>
                    </a:lnTo>
                    <a:lnTo>
                      <a:pt x="263" y="318"/>
                    </a:lnTo>
                    <a:lnTo>
                      <a:pt x="265" y="316"/>
                    </a:lnTo>
                    <a:lnTo>
                      <a:pt x="268" y="311"/>
                    </a:lnTo>
                    <a:lnTo>
                      <a:pt x="274" y="308"/>
                    </a:lnTo>
                    <a:lnTo>
                      <a:pt x="274" y="304"/>
                    </a:lnTo>
                    <a:lnTo>
                      <a:pt x="279" y="301"/>
                    </a:lnTo>
                    <a:lnTo>
                      <a:pt x="279" y="292"/>
                    </a:lnTo>
                    <a:lnTo>
                      <a:pt x="277" y="289"/>
                    </a:lnTo>
                    <a:lnTo>
                      <a:pt x="277" y="282"/>
                    </a:lnTo>
                    <a:lnTo>
                      <a:pt x="280" y="277"/>
                    </a:lnTo>
                    <a:lnTo>
                      <a:pt x="282" y="265"/>
                    </a:lnTo>
                    <a:lnTo>
                      <a:pt x="285" y="260"/>
                    </a:lnTo>
                    <a:lnTo>
                      <a:pt x="291" y="255"/>
                    </a:lnTo>
                    <a:lnTo>
                      <a:pt x="291" y="250"/>
                    </a:lnTo>
                    <a:lnTo>
                      <a:pt x="291" y="246"/>
                    </a:lnTo>
                    <a:lnTo>
                      <a:pt x="287" y="245"/>
                    </a:lnTo>
                    <a:lnTo>
                      <a:pt x="287" y="243"/>
                    </a:lnTo>
                    <a:lnTo>
                      <a:pt x="287" y="240"/>
                    </a:lnTo>
                    <a:lnTo>
                      <a:pt x="287" y="238"/>
                    </a:lnTo>
                    <a:lnTo>
                      <a:pt x="287" y="236"/>
                    </a:lnTo>
                    <a:lnTo>
                      <a:pt x="287" y="235"/>
                    </a:lnTo>
                    <a:lnTo>
                      <a:pt x="285" y="224"/>
                    </a:lnTo>
                    <a:lnTo>
                      <a:pt x="287" y="219"/>
                    </a:lnTo>
                    <a:lnTo>
                      <a:pt x="291" y="214"/>
                    </a:lnTo>
                    <a:lnTo>
                      <a:pt x="291" y="209"/>
                    </a:lnTo>
                    <a:lnTo>
                      <a:pt x="292" y="204"/>
                    </a:lnTo>
                    <a:lnTo>
                      <a:pt x="297" y="195"/>
                    </a:lnTo>
                    <a:lnTo>
                      <a:pt x="297" y="187"/>
                    </a:lnTo>
                    <a:lnTo>
                      <a:pt x="296" y="180"/>
                    </a:lnTo>
                    <a:lnTo>
                      <a:pt x="297" y="175"/>
                    </a:lnTo>
                    <a:lnTo>
                      <a:pt x="296" y="170"/>
                    </a:lnTo>
                    <a:lnTo>
                      <a:pt x="297" y="167"/>
                    </a:lnTo>
                    <a:lnTo>
                      <a:pt x="297" y="160"/>
                    </a:lnTo>
                    <a:lnTo>
                      <a:pt x="302" y="155"/>
                    </a:lnTo>
                    <a:lnTo>
                      <a:pt x="304" y="150"/>
                    </a:lnTo>
                    <a:lnTo>
                      <a:pt x="306" y="146"/>
                    </a:lnTo>
                    <a:lnTo>
                      <a:pt x="311" y="141"/>
                    </a:lnTo>
                    <a:lnTo>
                      <a:pt x="311" y="139"/>
                    </a:lnTo>
                    <a:lnTo>
                      <a:pt x="314" y="133"/>
                    </a:lnTo>
                    <a:lnTo>
                      <a:pt x="316" y="126"/>
                    </a:lnTo>
                    <a:lnTo>
                      <a:pt x="321" y="117"/>
                    </a:lnTo>
                    <a:lnTo>
                      <a:pt x="323" y="116"/>
                    </a:lnTo>
                    <a:lnTo>
                      <a:pt x="326" y="112"/>
                    </a:lnTo>
                    <a:lnTo>
                      <a:pt x="326" y="105"/>
                    </a:lnTo>
                    <a:lnTo>
                      <a:pt x="325" y="97"/>
                    </a:lnTo>
                    <a:lnTo>
                      <a:pt x="325" y="95"/>
                    </a:lnTo>
                    <a:lnTo>
                      <a:pt x="323" y="83"/>
                    </a:lnTo>
                    <a:lnTo>
                      <a:pt x="325" y="76"/>
                    </a:lnTo>
                    <a:lnTo>
                      <a:pt x="326" y="71"/>
                    </a:lnTo>
                    <a:lnTo>
                      <a:pt x="326" y="70"/>
                    </a:lnTo>
                    <a:lnTo>
                      <a:pt x="325" y="61"/>
                    </a:lnTo>
                    <a:lnTo>
                      <a:pt x="321" y="54"/>
                    </a:lnTo>
                    <a:lnTo>
                      <a:pt x="321" y="53"/>
                    </a:lnTo>
                    <a:lnTo>
                      <a:pt x="323" y="53"/>
                    </a:lnTo>
                    <a:lnTo>
                      <a:pt x="325" y="53"/>
                    </a:lnTo>
                    <a:lnTo>
                      <a:pt x="328" y="53"/>
                    </a:lnTo>
                    <a:lnTo>
                      <a:pt x="331" y="51"/>
                    </a:lnTo>
                    <a:lnTo>
                      <a:pt x="335" y="47"/>
                    </a:lnTo>
                    <a:lnTo>
                      <a:pt x="335" y="41"/>
                    </a:lnTo>
                    <a:lnTo>
                      <a:pt x="338" y="41"/>
                    </a:lnTo>
                    <a:lnTo>
                      <a:pt x="340" y="37"/>
                    </a:lnTo>
                    <a:lnTo>
                      <a:pt x="343" y="32"/>
                    </a:lnTo>
                    <a:lnTo>
                      <a:pt x="345" y="32"/>
                    </a:lnTo>
                    <a:lnTo>
                      <a:pt x="348" y="24"/>
                    </a:lnTo>
                    <a:lnTo>
                      <a:pt x="352" y="24"/>
                    </a:lnTo>
                    <a:lnTo>
                      <a:pt x="353" y="24"/>
                    </a:lnTo>
                    <a:lnTo>
                      <a:pt x="355" y="20"/>
                    </a:lnTo>
                    <a:lnTo>
                      <a:pt x="362" y="17"/>
                    </a:lnTo>
                    <a:lnTo>
                      <a:pt x="364" y="15"/>
                    </a:lnTo>
                    <a:lnTo>
                      <a:pt x="365" y="13"/>
                    </a:lnTo>
                    <a:lnTo>
                      <a:pt x="369" y="13"/>
                    </a:lnTo>
                    <a:lnTo>
                      <a:pt x="372" y="13"/>
                    </a:lnTo>
                    <a:lnTo>
                      <a:pt x="374" y="13"/>
                    </a:lnTo>
                    <a:lnTo>
                      <a:pt x="379" y="13"/>
                    </a:lnTo>
                    <a:lnTo>
                      <a:pt x="386" y="15"/>
                    </a:lnTo>
                    <a:lnTo>
                      <a:pt x="389" y="20"/>
                    </a:lnTo>
                    <a:lnTo>
                      <a:pt x="391" y="22"/>
                    </a:lnTo>
                    <a:lnTo>
                      <a:pt x="394" y="22"/>
                    </a:lnTo>
                    <a:lnTo>
                      <a:pt x="399" y="25"/>
                    </a:lnTo>
                    <a:lnTo>
                      <a:pt x="403" y="25"/>
                    </a:lnTo>
                    <a:lnTo>
                      <a:pt x="403" y="29"/>
                    </a:lnTo>
                    <a:lnTo>
                      <a:pt x="406" y="30"/>
                    </a:lnTo>
                    <a:lnTo>
                      <a:pt x="411" y="32"/>
                    </a:lnTo>
                    <a:lnTo>
                      <a:pt x="413" y="36"/>
                    </a:lnTo>
                    <a:lnTo>
                      <a:pt x="415" y="36"/>
                    </a:lnTo>
                    <a:lnTo>
                      <a:pt x="418" y="39"/>
                    </a:lnTo>
                    <a:lnTo>
                      <a:pt x="418" y="42"/>
                    </a:lnTo>
                    <a:lnTo>
                      <a:pt x="418" y="44"/>
                    </a:lnTo>
                    <a:lnTo>
                      <a:pt x="421" y="47"/>
                    </a:lnTo>
                    <a:lnTo>
                      <a:pt x="425" y="49"/>
                    </a:lnTo>
                    <a:lnTo>
                      <a:pt x="427" y="49"/>
                    </a:lnTo>
                    <a:lnTo>
                      <a:pt x="432" y="49"/>
                    </a:lnTo>
                    <a:lnTo>
                      <a:pt x="435" y="49"/>
                    </a:lnTo>
                    <a:lnTo>
                      <a:pt x="438" y="47"/>
                    </a:lnTo>
                    <a:lnTo>
                      <a:pt x="444" y="49"/>
                    </a:lnTo>
                    <a:lnTo>
                      <a:pt x="450" y="51"/>
                    </a:lnTo>
                    <a:lnTo>
                      <a:pt x="454" y="54"/>
                    </a:lnTo>
                    <a:lnTo>
                      <a:pt x="455" y="56"/>
                    </a:lnTo>
                    <a:lnTo>
                      <a:pt x="457" y="54"/>
                    </a:lnTo>
                    <a:lnTo>
                      <a:pt x="461" y="54"/>
                    </a:lnTo>
                    <a:lnTo>
                      <a:pt x="464" y="56"/>
                    </a:lnTo>
                    <a:lnTo>
                      <a:pt x="467" y="56"/>
                    </a:lnTo>
                    <a:lnTo>
                      <a:pt x="469" y="58"/>
                    </a:lnTo>
                    <a:lnTo>
                      <a:pt x="472" y="58"/>
                    </a:lnTo>
                    <a:lnTo>
                      <a:pt x="478" y="54"/>
                    </a:lnTo>
                    <a:lnTo>
                      <a:pt x="481" y="56"/>
                    </a:lnTo>
                    <a:lnTo>
                      <a:pt x="483" y="56"/>
                    </a:lnTo>
                    <a:lnTo>
                      <a:pt x="488" y="58"/>
                    </a:lnTo>
                    <a:lnTo>
                      <a:pt x="493" y="59"/>
                    </a:lnTo>
                    <a:lnTo>
                      <a:pt x="496" y="58"/>
                    </a:lnTo>
                    <a:lnTo>
                      <a:pt x="498" y="59"/>
                    </a:lnTo>
                    <a:lnTo>
                      <a:pt x="500" y="59"/>
                    </a:lnTo>
                    <a:lnTo>
                      <a:pt x="505" y="63"/>
                    </a:lnTo>
                    <a:lnTo>
                      <a:pt x="508" y="64"/>
                    </a:lnTo>
                    <a:lnTo>
                      <a:pt x="518" y="64"/>
                    </a:lnTo>
                    <a:lnTo>
                      <a:pt x="523" y="59"/>
                    </a:lnTo>
                    <a:lnTo>
                      <a:pt x="523" y="56"/>
                    </a:lnTo>
                    <a:lnTo>
                      <a:pt x="525" y="54"/>
                    </a:lnTo>
                    <a:lnTo>
                      <a:pt x="527" y="53"/>
                    </a:lnTo>
                    <a:lnTo>
                      <a:pt x="525" y="51"/>
                    </a:lnTo>
                    <a:lnTo>
                      <a:pt x="525" y="49"/>
                    </a:lnTo>
                    <a:lnTo>
                      <a:pt x="527" y="47"/>
                    </a:lnTo>
                    <a:lnTo>
                      <a:pt x="527" y="46"/>
                    </a:lnTo>
                    <a:lnTo>
                      <a:pt x="529" y="46"/>
                    </a:lnTo>
                    <a:lnTo>
                      <a:pt x="532" y="46"/>
                    </a:lnTo>
                    <a:lnTo>
                      <a:pt x="532" y="44"/>
                    </a:lnTo>
                    <a:lnTo>
                      <a:pt x="534" y="42"/>
                    </a:lnTo>
                    <a:lnTo>
                      <a:pt x="534" y="39"/>
                    </a:lnTo>
                    <a:lnTo>
                      <a:pt x="535" y="36"/>
                    </a:lnTo>
                    <a:lnTo>
                      <a:pt x="537" y="34"/>
                    </a:lnTo>
                    <a:lnTo>
                      <a:pt x="539" y="36"/>
                    </a:lnTo>
                    <a:lnTo>
                      <a:pt x="540" y="34"/>
                    </a:lnTo>
                    <a:lnTo>
                      <a:pt x="540" y="32"/>
                    </a:lnTo>
                    <a:lnTo>
                      <a:pt x="540" y="30"/>
                    </a:lnTo>
                    <a:lnTo>
                      <a:pt x="542" y="29"/>
                    </a:lnTo>
                    <a:lnTo>
                      <a:pt x="544" y="29"/>
                    </a:lnTo>
                    <a:lnTo>
                      <a:pt x="546" y="29"/>
                    </a:lnTo>
                    <a:lnTo>
                      <a:pt x="547" y="32"/>
                    </a:lnTo>
                    <a:lnTo>
                      <a:pt x="552" y="36"/>
                    </a:lnTo>
                    <a:lnTo>
                      <a:pt x="556" y="34"/>
                    </a:lnTo>
                    <a:lnTo>
                      <a:pt x="557" y="37"/>
                    </a:lnTo>
                    <a:lnTo>
                      <a:pt x="559" y="37"/>
                    </a:lnTo>
                    <a:lnTo>
                      <a:pt x="561" y="39"/>
                    </a:lnTo>
                    <a:lnTo>
                      <a:pt x="563" y="41"/>
                    </a:lnTo>
                    <a:lnTo>
                      <a:pt x="564" y="39"/>
                    </a:lnTo>
                    <a:lnTo>
                      <a:pt x="566" y="41"/>
                    </a:lnTo>
                    <a:lnTo>
                      <a:pt x="568" y="41"/>
                    </a:lnTo>
                    <a:lnTo>
                      <a:pt x="568" y="37"/>
                    </a:lnTo>
                    <a:lnTo>
                      <a:pt x="569" y="37"/>
                    </a:lnTo>
                    <a:lnTo>
                      <a:pt x="571" y="37"/>
                    </a:lnTo>
                    <a:lnTo>
                      <a:pt x="574" y="36"/>
                    </a:lnTo>
                    <a:lnTo>
                      <a:pt x="576" y="32"/>
                    </a:lnTo>
                    <a:lnTo>
                      <a:pt x="581" y="32"/>
                    </a:lnTo>
                    <a:lnTo>
                      <a:pt x="583" y="30"/>
                    </a:lnTo>
                    <a:lnTo>
                      <a:pt x="586" y="30"/>
                    </a:lnTo>
                    <a:lnTo>
                      <a:pt x="588" y="29"/>
                    </a:lnTo>
                    <a:lnTo>
                      <a:pt x="590" y="30"/>
                    </a:lnTo>
                    <a:lnTo>
                      <a:pt x="591" y="29"/>
                    </a:lnTo>
                    <a:lnTo>
                      <a:pt x="595" y="30"/>
                    </a:lnTo>
                    <a:lnTo>
                      <a:pt x="595" y="27"/>
                    </a:lnTo>
                    <a:lnTo>
                      <a:pt x="597" y="27"/>
                    </a:lnTo>
                    <a:lnTo>
                      <a:pt x="598" y="27"/>
                    </a:lnTo>
                    <a:lnTo>
                      <a:pt x="603" y="24"/>
                    </a:lnTo>
                    <a:lnTo>
                      <a:pt x="605" y="25"/>
                    </a:lnTo>
                    <a:lnTo>
                      <a:pt x="607" y="24"/>
                    </a:lnTo>
                    <a:lnTo>
                      <a:pt x="608" y="22"/>
                    </a:lnTo>
                    <a:lnTo>
                      <a:pt x="610" y="22"/>
                    </a:lnTo>
                    <a:lnTo>
                      <a:pt x="610" y="24"/>
                    </a:lnTo>
                    <a:lnTo>
                      <a:pt x="610" y="22"/>
                    </a:lnTo>
                    <a:lnTo>
                      <a:pt x="612" y="20"/>
                    </a:lnTo>
                    <a:lnTo>
                      <a:pt x="615" y="20"/>
                    </a:lnTo>
                    <a:lnTo>
                      <a:pt x="617" y="19"/>
                    </a:lnTo>
                    <a:lnTo>
                      <a:pt x="617" y="17"/>
                    </a:lnTo>
                    <a:lnTo>
                      <a:pt x="615" y="19"/>
                    </a:lnTo>
                    <a:lnTo>
                      <a:pt x="615" y="17"/>
                    </a:lnTo>
                    <a:lnTo>
                      <a:pt x="617" y="15"/>
                    </a:lnTo>
                    <a:lnTo>
                      <a:pt x="619" y="15"/>
                    </a:lnTo>
                    <a:lnTo>
                      <a:pt x="619" y="17"/>
                    </a:lnTo>
                    <a:lnTo>
                      <a:pt x="620" y="17"/>
                    </a:lnTo>
                    <a:lnTo>
                      <a:pt x="620" y="15"/>
                    </a:lnTo>
                    <a:lnTo>
                      <a:pt x="624" y="17"/>
                    </a:lnTo>
                    <a:lnTo>
                      <a:pt x="625" y="19"/>
                    </a:lnTo>
                    <a:lnTo>
                      <a:pt x="629" y="19"/>
                    </a:lnTo>
                    <a:lnTo>
                      <a:pt x="629" y="22"/>
                    </a:lnTo>
                    <a:lnTo>
                      <a:pt x="631" y="22"/>
                    </a:lnTo>
                    <a:lnTo>
                      <a:pt x="631" y="24"/>
                    </a:lnTo>
                    <a:lnTo>
                      <a:pt x="632" y="25"/>
                    </a:lnTo>
                    <a:lnTo>
                      <a:pt x="634" y="25"/>
                    </a:lnTo>
                    <a:lnTo>
                      <a:pt x="636" y="25"/>
                    </a:lnTo>
                    <a:lnTo>
                      <a:pt x="637" y="25"/>
                    </a:lnTo>
                    <a:lnTo>
                      <a:pt x="637" y="24"/>
                    </a:lnTo>
                    <a:lnTo>
                      <a:pt x="641" y="24"/>
                    </a:lnTo>
                    <a:lnTo>
                      <a:pt x="641" y="22"/>
                    </a:lnTo>
                    <a:lnTo>
                      <a:pt x="642" y="22"/>
                    </a:lnTo>
                    <a:lnTo>
                      <a:pt x="644" y="22"/>
                    </a:lnTo>
                    <a:lnTo>
                      <a:pt x="646" y="20"/>
                    </a:lnTo>
                    <a:lnTo>
                      <a:pt x="651" y="24"/>
                    </a:lnTo>
                    <a:lnTo>
                      <a:pt x="653" y="22"/>
                    </a:lnTo>
                    <a:lnTo>
                      <a:pt x="654" y="20"/>
                    </a:lnTo>
                    <a:lnTo>
                      <a:pt x="656" y="19"/>
                    </a:lnTo>
                    <a:lnTo>
                      <a:pt x="656" y="20"/>
                    </a:lnTo>
                    <a:lnTo>
                      <a:pt x="658" y="20"/>
                    </a:lnTo>
                    <a:lnTo>
                      <a:pt x="665" y="19"/>
                    </a:lnTo>
                    <a:lnTo>
                      <a:pt x="665" y="17"/>
                    </a:lnTo>
                    <a:lnTo>
                      <a:pt x="665" y="15"/>
                    </a:lnTo>
                    <a:lnTo>
                      <a:pt x="666" y="12"/>
                    </a:lnTo>
                    <a:lnTo>
                      <a:pt x="665" y="13"/>
                    </a:lnTo>
                    <a:lnTo>
                      <a:pt x="663" y="10"/>
                    </a:lnTo>
                    <a:lnTo>
                      <a:pt x="665" y="10"/>
                    </a:lnTo>
                    <a:lnTo>
                      <a:pt x="665" y="7"/>
                    </a:lnTo>
                    <a:lnTo>
                      <a:pt x="666" y="5"/>
                    </a:lnTo>
                    <a:lnTo>
                      <a:pt x="668" y="5"/>
                    </a:lnTo>
                    <a:lnTo>
                      <a:pt x="668" y="3"/>
                    </a:lnTo>
                    <a:lnTo>
                      <a:pt x="668" y="5"/>
                    </a:lnTo>
                    <a:lnTo>
                      <a:pt x="670" y="5"/>
                    </a:lnTo>
                    <a:lnTo>
                      <a:pt x="670" y="3"/>
                    </a:lnTo>
                    <a:lnTo>
                      <a:pt x="671" y="3"/>
                    </a:lnTo>
                    <a:lnTo>
                      <a:pt x="671" y="2"/>
                    </a:lnTo>
                    <a:lnTo>
                      <a:pt x="673" y="3"/>
                    </a:lnTo>
                    <a:lnTo>
                      <a:pt x="675" y="2"/>
                    </a:lnTo>
                    <a:lnTo>
                      <a:pt x="675" y="0"/>
                    </a:lnTo>
                    <a:lnTo>
                      <a:pt x="676" y="2"/>
                    </a:lnTo>
                    <a:lnTo>
                      <a:pt x="678" y="3"/>
                    </a:lnTo>
                    <a:lnTo>
                      <a:pt x="680" y="3"/>
                    </a:lnTo>
                    <a:lnTo>
                      <a:pt x="678" y="3"/>
                    </a:lnTo>
                    <a:lnTo>
                      <a:pt x="680" y="3"/>
                    </a:lnTo>
                    <a:lnTo>
                      <a:pt x="680" y="5"/>
                    </a:lnTo>
                    <a:lnTo>
                      <a:pt x="680" y="3"/>
                    </a:lnTo>
                    <a:lnTo>
                      <a:pt x="682" y="5"/>
                    </a:lnTo>
                    <a:lnTo>
                      <a:pt x="683" y="5"/>
                    </a:lnTo>
                    <a:lnTo>
                      <a:pt x="683" y="7"/>
                    </a:lnTo>
                    <a:lnTo>
                      <a:pt x="685" y="7"/>
                    </a:lnTo>
                    <a:lnTo>
                      <a:pt x="685" y="8"/>
                    </a:lnTo>
                    <a:lnTo>
                      <a:pt x="687" y="7"/>
                    </a:lnTo>
                    <a:lnTo>
                      <a:pt x="688" y="7"/>
                    </a:lnTo>
                    <a:lnTo>
                      <a:pt x="687" y="8"/>
                    </a:lnTo>
                    <a:lnTo>
                      <a:pt x="688" y="8"/>
                    </a:lnTo>
                    <a:lnTo>
                      <a:pt x="690" y="10"/>
                    </a:lnTo>
                    <a:lnTo>
                      <a:pt x="692" y="8"/>
                    </a:lnTo>
                    <a:lnTo>
                      <a:pt x="692" y="10"/>
                    </a:lnTo>
                    <a:lnTo>
                      <a:pt x="693" y="10"/>
                    </a:lnTo>
                    <a:lnTo>
                      <a:pt x="693" y="12"/>
                    </a:lnTo>
                    <a:lnTo>
                      <a:pt x="693" y="10"/>
                    </a:lnTo>
                    <a:lnTo>
                      <a:pt x="697" y="10"/>
                    </a:lnTo>
                    <a:lnTo>
                      <a:pt x="697" y="8"/>
                    </a:lnTo>
                    <a:lnTo>
                      <a:pt x="699" y="8"/>
                    </a:lnTo>
                    <a:lnTo>
                      <a:pt x="699" y="10"/>
                    </a:lnTo>
                    <a:lnTo>
                      <a:pt x="700" y="10"/>
                    </a:lnTo>
                    <a:lnTo>
                      <a:pt x="700" y="8"/>
                    </a:lnTo>
                    <a:lnTo>
                      <a:pt x="702" y="10"/>
                    </a:lnTo>
                    <a:lnTo>
                      <a:pt x="702" y="8"/>
                    </a:lnTo>
                    <a:lnTo>
                      <a:pt x="704" y="10"/>
                    </a:lnTo>
                    <a:lnTo>
                      <a:pt x="704" y="8"/>
                    </a:lnTo>
                    <a:lnTo>
                      <a:pt x="705" y="7"/>
                    </a:lnTo>
                    <a:lnTo>
                      <a:pt x="707" y="7"/>
                    </a:lnTo>
                    <a:lnTo>
                      <a:pt x="707" y="8"/>
                    </a:lnTo>
                    <a:lnTo>
                      <a:pt x="709" y="8"/>
                    </a:lnTo>
                    <a:lnTo>
                      <a:pt x="709" y="10"/>
                    </a:lnTo>
                    <a:lnTo>
                      <a:pt x="710" y="10"/>
                    </a:lnTo>
                    <a:lnTo>
                      <a:pt x="710" y="12"/>
                    </a:lnTo>
                    <a:lnTo>
                      <a:pt x="712" y="12"/>
                    </a:lnTo>
                    <a:lnTo>
                      <a:pt x="714" y="12"/>
                    </a:lnTo>
                    <a:lnTo>
                      <a:pt x="714" y="13"/>
                    </a:lnTo>
                    <a:lnTo>
                      <a:pt x="714" y="12"/>
                    </a:lnTo>
                    <a:lnTo>
                      <a:pt x="716" y="13"/>
                    </a:lnTo>
                    <a:lnTo>
                      <a:pt x="716" y="12"/>
                    </a:lnTo>
                    <a:lnTo>
                      <a:pt x="716" y="13"/>
                    </a:lnTo>
                    <a:lnTo>
                      <a:pt x="716" y="12"/>
                    </a:lnTo>
                    <a:lnTo>
                      <a:pt x="717" y="13"/>
                    </a:lnTo>
                    <a:lnTo>
                      <a:pt x="717" y="12"/>
                    </a:lnTo>
                    <a:lnTo>
                      <a:pt x="719" y="13"/>
                    </a:lnTo>
                    <a:lnTo>
                      <a:pt x="719" y="15"/>
                    </a:lnTo>
                    <a:lnTo>
                      <a:pt x="721" y="15"/>
                    </a:lnTo>
                    <a:lnTo>
                      <a:pt x="721" y="17"/>
                    </a:lnTo>
                    <a:lnTo>
                      <a:pt x="722" y="17"/>
                    </a:lnTo>
                    <a:lnTo>
                      <a:pt x="722" y="19"/>
                    </a:lnTo>
                    <a:lnTo>
                      <a:pt x="724" y="17"/>
                    </a:lnTo>
                    <a:lnTo>
                      <a:pt x="724" y="19"/>
                    </a:lnTo>
                    <a:lnTo>
                      <a:pt x="726" y="17"/>
                    </a:lnTo>
                    <a:lnTo>
                      <a:pt x="726" y="19"/>
                    </a:lnTo>
                    <a:lnTo>
                      <a:pt x="726" y="17"/>
                    </a:lnTo>
                    <a:lnTo>
                      <a:pt x="727" y="17"/>
                    </a:lnTo>
                    <a:lnTo>
                      <a:pt x="727" y="15"/>
                    </a:lnTo>
                    <a:lnTo>
                      <a:pt x="729" y="17"/>
                    </a:lnTo>
                    <a:lnTo>
                      <a:pt x="729" y="15"/>
                    </a:lnTo>
                    <a:lnTo>
                      <a:pt x="731" y="17"/>
                    </a:lnTo>
                    <a:lnTo>
                      <a:pt x="731" y="15"/>
                    </a:lnTo>
                    <a:lnTo>
                      <a:pt x="731" y="17"/>
                    </a:lnTo>
                    <a:lnTo>
                      <a:pt x="734" y="15"/>
                    </a:lnTo>
                    <a:lnTo>
                      <a:pt x="738" y="15"/>
                    </a:lnTo>
                    <a:lnTo>
                      <a:pt x="739" y="19"/>
                    </a:lnTo>
                    <a:lnTo>
                      <a:pt x="741" y="17"/>
                    </a:lnTo>
                    <a:lnTo>
                      <a:pt x="743" y="19"/>
                    </a:lnTo>
                    <a:lnTo>
                      <a:pt x="746" y="13"/>
                    </a:lnTo>
                    <a:lnTo>
                      <a:pt x="750" y="10"/>
                    </a:lnTo>
                    <a:lnTo>
                      <a:pt x="755" y="10"/>
                    </a:lnTo>
                    <a:lnTo>
                      <a:pt x="758" y="10"/>
                    </a:lnTo>
                    <a:lnTo>
                      <a:pt x="761" y="12"/>
                    </a:lnTo>
                    <a:lnTo>
                      <a:pt x="765" y="13"/>
                    </a:lnTo>
                    <a:lnTo>
                      <a:pt x="772" y="17"/>
                    </a:lnTo>
                    <a:close/>
                    <a:moveTo>
                      <a:pt x="37" y="571"/>
                    </a:moveTo>
                    <a:lnTo>
                      <a:pt x="41" y="571"/>
                    </a:lnTo>
                    <a:lnTo>
                      <a:pt x="37" y="573"/>
                    </a:lnTo>
                    <a:lnTo>
                      <a:pt x="34" y="573"/>
                    </a:lnTo>
                    <a:lnTo>
                      <a:pt x="30" y="576"/>
                    </a:lnTo>
                    <a:lnTo>
                      <a:pt x="27" y="575"/>
                    </a:lnTo>
                    <a:lnTo>
                      <a:pt x="27" y="576"/>
                    </a:lnTo>
                    <a:lnTo>
                      <a:pt x="27" y="575"/>
                    </a:lnTo>
                    <a:lnTo>
                      <a:pt x="30" y="573"/>
                    </a:lnTo>
                    <a:lnTo>
                      <a:pt x="30" y="571"/>
                    </a:lnTo>
                    <a:lnTo>
                      <a:pt x="32" y="571"/>
                    </a:lnTo>
                    <a:lnTo>
                      <a:pt x="34" y="570"/>
                    </a:lnTo>
                    <a:lnTo>
                      <a:pt x="37" y="571"/>
                    </a:lnTo>
                    <a:close/>
                    <a:moveTo>
                      <a:pt x="15" y="576"/>
                    </a:moveTo>
                    <a:lnTo>
                      <a:pt x="12" y="578"/>
                    </a:lnTo>
                    <a:lnTo>
                      <a:pt x="10" y="578"/>
                    </a:lnTo>
                    <a:lnTo>
                      <a:pt x="12" y="576"/>
                    </a:lnTo>
                    <a:lnTo>
                      <a:pt x="13" y="576"/>
                    </a:lnTo>
                    <a:lnTo>
                      <a:pt x="15" y="576"/>
                    </a:lnTo>
                    <a:close/>
                    <a:moveTo>
                      <a:pt x="39" y="570"/>
                    </a:moveTo>
                    <a:lnTo>
                      <a:pt x="37" y="570"/>
                    </a:lnTo>
                    <a:lnTo>
                      <a:pt x="36" y="571"/>
                    </a:lnTo>
                    <a:lnTo>
                      <a:pt x="34" y="570"/>
                    </a:lnTo>
                    <a:lnTo>
                      <a:pt x="36" y="570"/>
                    </a:lnTo>
                    <a:lnTo>
                      <a:pt x="39" y="570"/>
                    </a:lnTo>
                    <a:close/>
                    <a:moveTo>
                      <a:pt x="29" y="571"/>
                    </a:moveTo>
                    <a:lnTo>
                      <a:pt x="30" y="571"/>
                    </a:lnTo>
                    <a:lnTo>
                      <a:pt x="30" y="573"/>
                    </a:lnTo>
                    <a:lnTo>
                      <a:pt x="29" y="573"/>
                    </a:lnTo>
                    <a:lnTo>
                      <a:pt x="29" y="571"/>
                    </a:lnTo>
                    <a:close/>
                    <a:moveTo>
                      <a:pt x="19" y="578"/>
                    </a:moveTo>
                    <a:lnTo>
                      <a:pt x="20" y="578"/>
                    </a:lnTo>
                    <a:lnTo>
                      <a:pt x="19" y="578"/>
                    </a:lnTo>
                    <a:close/>
                    <a:moveTo>
                      <a:pt x="36" y="570"/>
                    </a:moveTo>
                    <a:lnTo>
                      <a:pt x="39" y="570"/>
                    </a:lnTo>
                    <a:lnTo>
                      <a:pt x="39" y="571"/>
                    </a:lnTo>
                    <a:lnTo>
                      <a:pt x="36" y="571"/>
                    </a:lnTo>
                    <a:lnTo>
                      <a:pt x="36" y="570"/>
                    </a:lnTo>
                    <a:close/>
                    <a:moveTo>
                      <a:pt x="32" y="575"/>
                    </a:moveTo>
                    <a:lnTo>
                      <a:pt x="34" y="575"/>
                    </a:lnTo>
                    <a:lnTo>
                      <a:pt x="32" y="575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3" name="Freeform 23">
                <a:extLst>
                  <a:ext uri="{FF2B5EF4-FFF2-40B4-BE49-F238E27FC236}">
                    <a16:creationId xmlns:a16="http://schemas.microsoft.com/office/drawing/2014/main" id="{52CD807F-F0AE-4FC9-BD9C-A97598E2F4F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935686" y="2430362"/>
                <a:ext cx="131758" cy="146045"/>
              </a:xfrm>
              <a:custGeom>
                <a:avLst/>
                <a:gdLst>
                  <a:gd name="T0" fmla="*/ 62 w 83"/>
                  <a:gd name="T1" fmla="*/ 83 h 92"/>
                  <a:gd name="T2" fmla="*/ 56 w 83"/>
                  <a:gd name="T3" fmla="*/ 88 h 92"/>
                  <a:gd name="T4" fmla="*/ 51 w 83"/>
                  <a:gd name="T5" fmla="*/ 88 h 92"/>
                  <a:gd name="T6" fmla="*/ 45 w 83"/>
                  <a:gd name="T7" fmla="*/ 85 h 92"/>
                  <a:gd name="T8" fmla="*/ 40 w 83"/>
                  <a:gd name="T9" fmla="*/ 83 h 92"/>
                  <a:gd name="T10" fmla="*/ 32 w 83"/>
                  <a:gd name="T11" fmla="*/ 88 h 92"/>
                  <a:gd name="T12" fmla="*/ 22 w 83"/>
                  <a:gd name="T13" fmla="*/ 88 h 92"/>
                  <a:gd name="T14" fmla="*/ 15 w 83"/>
                  <a:gd name="T15" fmla="*/ 90 h 92"/>
                  <a:gd name="T16" fmla="*/ 10 w 83"/>
                  <a:gd name="T17" fmla="*/ 90 h 92"/>
                  <a:gd name="T18" fmla="*/ 8 w 83"/>
                  <a:gd name="T19" fmla="*/ 90 h 92"/>
                  <a:gd name="T20" fmla="*/ 1 w 83"/>
                  <a:gd name="T21" fmla="*/ 75 h 92"/>
                  <a:gd name="T22" fmla="*/ 3 w 83"/>
                  <a:gd name="T23" fmla="*/ 49 h 92"/>
                  <a:gd name="T24" fmla="*/ 6 w 83"/>
                  <a:gd name="T25" fmla="*/ 48 h 92"/>
                  <a:gd name="T26" fmla="*/ 18 w 83"/>
                  <a:gd name="T27" fmla="*/ 32 h 92"/>
                  <a:gd name="T28" fmla="*/ 27 w 83"/>
                  <a:gd name="T29" fmla="*/ 20 h 92"/>
                  <a:gd name="T30" fmla="*/ 32 w 83"/>
                  <a:gd name="T31" fmla="*/ 12 h 92"/>
                  <a:gd name="T32" fmla="*/ 35 w 83"/>
                  <a:gd name="T33" fmla="*/ 10 h 92"/>
                  <a:gd name="T34" fmla="*/ 45 w 83"/>
                  <a:gd name="T35" fmla="*/ 19 h 92"/>
                  <a:gd name="T36" fmla="*/ 49 w 83"/>
                  <a:gd name="T37" fmla="*/ 17 h 92"/>
                  <a:gd name="T38" fmla="*/ 51 w 83"/>
                  <a:gd name="T39" fmla="*/ 15 h 92"/>
                  <a:gd name="T40" fmla="*/ 52 w 83"/>
                  <a:gd name="T41" fmla="*/ 14 h 92"/>
                  <a:gd name="T42" fmla="*/ 51 w 83"/>
                  <a:gd name="T43" fmla="*/ 10 h 92"/>
                  <a:gd name="T44" fmla="*/ 54 w 83"/>
                  <a:gd name="T45" fmla="*/ 9 h 92"/>
                  <a:gd name="T46" fmla="*/ 57 w 83"/>
                  <a:gd name="T47" fmla="*/ 5 h 92"/>
                  <a:gd name="T48" fmla="*/ 68 w 83"/>
                  <a:gd name="T49" fmla="*/ 0 h 92"/>
                  <a:gd name="T50" fmla="*/ 76 w 83"/>
                  <a:gd name="T51" fmla="*/ 14 h 92"/>
                  <a:gd name="T52" fmla="*/ 78 w 83"/>
                  <a:gd name="T53" fmla="*/ 14 h 92"/>
                  <a:gd name="T54" fmla="*/ 79 w 83"/>
                  <a:gd name="T55" fmla="*/ 22 h 92"/>
                  <a:gd name="T56" fmla="*/ 83 w 83"/>
                  <a:gd name="T57" fmla="*/ 29 h 92"/>
                  <a:gd name="T58" fmla="*/ 79 w 83"/>
                  <a:gd name="T59" fmla="*/ 37 h 92"/>
                  <a:gd name="T60" fmla="*/ 76 w 83"/>
                  <a:gd name="T61" fmla="*/ 39 h 92"/>
                  <a:gd name="T62" fmla="*/ 64 w 83"/>
                  <a:gd name="T63" fmla="*/ 46 h 92"/>
                  <a:gd name="T64" fmla="*/ 59 w 83"/>
                  <a:gd name="T65" fmla="*/ 48 h 92"/>
                  <a:gd name="T66" fmla="*/ 56 w 83"/>
                  <a:gd name="T67" fmla="*/ 48 h 92"/>
                  <a:gd name="T68" fmla="*/ 51 w 83"/>
                  <a:gd name="T69" fmla="*/ 49 h 92"/>
                  <a:gd name="T70" fmla="*/ 45 w 83"/>
                  <a:gd name="T71" fmla="*/ 54 h 92"/>
                  <a:gd name="T72" fmla="*/ 42 w 83"/>
                  <a:gd name="T73" fmla="*/ 58 h 92"/>
                  <a:gd name="T74" fmla="*/ 42 w 83"/>
                  <a:gd name="T75" fmla="*/ 58 h 92"/>
                  <a:gd name="T76" fmla="*/ 39 w 83"/>
                  <a:gd name="T77" fmla="*/ 58 h 92"/>
                  <a:gd name="T78" fmla="*/ 39 w 83"/>
                  <a:gd name="T79" fmla="*/ 60 h 92"/>
                  <a:gd name="T80" fmla="*/ 37 w 83"/>
                  <a:gd name="T81" fmla="*/ 61 h 92"/>
                  <a:gd name="T82" fmla="*/ 42 w 83"/>
                  <a:gd name="T83" fmla="*/ 63 h 92"/>
                  <a:gd name="T84" fmla="*/ 45 w 83"/>
                  <a:gd name="T85" fmla="*/ 63 h 92"/>
                  <a:gd name="T86" fmla="*/ 44 w 83"/>
                  <a:gd name="T87" fmla="*/ 61 h 92"/>
                  <a:gd name="T88" fmla="*/ 51 w 83"/>
                  <a:gd name="T89" fmla="*/ 58 h 92"/>
                  <a:gd name="T90" fmla="*/ 54 w 83"/>
                  <a:gd name="T91" fmla="*/ 56 h 92"/>
                  <a:gd name="T92" fmla="*/ 59 w 83"/>
                  <a:gd name="T93" fmla="*/ 58 h 92"/>
                  <a:gd name="T94" fmla="*/ 66 w 83"/>
                  <a:gd name="T95" fmla="*/ 56 h 92"/>
                  <a:gd name="T96" fmla="*/ 66 w 83"/>
                  <a:gd name="T97" fmla="*/ 56 h 92"/>
                  <a:gd name="T98" fmla="*/ 68 w 83"/>
                  <a:gd name="T99" fmla="*/ 58 h 92"/>
                  <a:gd name="T100" fmla="*/ 68 w 83"/>
                  <a:gd name="T101" fmla="*/ 56 h 92"/>
                  <a:gd name="T102" fmla="*/ 71 w 83"/>
                  <a:gd name="T103" fmla="*/ 61 h 92"/>
                  <a:gd name="T104" fmla="*/ 74 w 83"/>
                  <a:gd name="T105" fmla="*/ 65 h 92"/>
                  <a:gd name="T106" fmla="*/ 73 w 83"/>
                  <a:gd name="T107" fmla="*/ 49 h 92"/>
                  <a:gd name="T108" fmla="*/ 71 w 83"/>
                  <a:gd name="T109" fmla="*/ 51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3" h="92">
                    <a:moveTo>
                      <a:pt x="74" y="65"/>
                    </a:moveTo>
                    <a:lnTo>
                      <a:pt x="62" y="83"/>
                    </a:lnTo>
                    <a:lnTo>
                      <a:pt x="59" y="88"/>
                    </a:lnTo>
                    <a:lnTo>
                      <a:pt x="56" y="88"/>
                    </a:lnTo>
                    <a:lnTo>
                      <a:pt x="54" y="88"/>
                    </a:lnTo>
                    <a:lnTo>
                      <a:pt x="51" y="88"/>
                    </a:lnTo>
                    <a:lnTo>
                      <a:pt x="49" y="83"/>
                    </a:lnTo>
                    <a:lnTo>
                      <a:pt x="45" y="85"/>
                    </a:lnTo>
                    <a:lnTo>
                      <a:pt x="42" y="82"/>
                    </a:lnTo>
                    <a:lnTo>
                      <a:pt x="40" y="83"/>
                    </a:lnTo>
                    <a:lnTo>
                      <a:pt x="35" y="85"/>
                    </a:lnTo>
                    <a:lnTo>
                      <a:pt x="32" y="88"/>
                    </a:lnTo>
                    <a:lnTo>
                      <a:pt x="30" y="87"/>
                    </a:lnTo>
                    <a:lnTo>
                      <a:pt x="22" y="88"/>
                    </a:lnTo>
                    <a:lnTo>
                      <a:pt x="18" y="88"/>
                    </a:lnTo>
                    <a:lnTo>
                      <a:pt x="15" y="90"/>
                    </a:lnTo>
                    <a:lnTo>
                      <a:pt x="13" y="90"/>
                    </a:lnTo>
                    <a:lnTo>
                      <a:pt x="10" y="90"/>
                    </a:lnTo>
                    <a:lnTo>
                      <a:pt x="10" y="92"/>
                    </a:lnTo>
                    <a:lnTo>
                      <a:pt x="8" y="90"/>
                    </a:lnTo>
                    <a:lnTo>
                      <a:pt x="0" y="88"/>
                    </a:lnTo>
                    <a:lnTo>
                      <a:pt x="1" y="75"/>
                    </a:lnTo>
                    <a:lnTo>
                      <a:pt x="0" y="63"/>
                    </a:lnTo>
                    <a:lnTo>
                      <a:pt x="3" y="49"/>
                    </a:lnTo>
                    <a:lnTo>
                      <a:pt x="5" y="49"/>
                    </a:lnTo>
                    <a:lnTo>
                      <a:pt x="6" y="48"/>
                    </a:lnTo>
                    <a:lnTo>
                      <a:pt x="10" y="44"/>
                    </a:lnTo>
                    <a:lnTo>
                      <a:pt x="18" y="32"/>
                    </a:lnTo>
                    <a:lnTo>
                      <a:pt x="22" y="26"/>
                    </a:lnTo>
                    <a:lnTo>
                      <a:pt x="27" y="20"/>
                    </a:lnTo>
                    <a:lnTo>
                      <a:pt x="28" y="17"/>
                    </a:lnTo>
                    <a:lnTo>
                      <a:pt x="32" y="12"/>
                    </a:lnTo>
                    <a:lnTo>
                      <a:pt x="34" y="10"/>
                    </a:lnTo>
                    <a:lnTo>
                      <a:pt x="35" y="10"/>
                    </a:lnTo>
                    <a:lnTo>
                      <a:pt x="37" y="12"/>
                    </a:lnTo>
                    <a:lnTo>
                      <a:pt x="45" y="19"/>
                    </a:lnTo>
                    <a:lnTo>
                      <a:pt x="47" y="17"/>
                    </a:lnTo>
                    <a:lnTo>
                      <a:pt x="49" y="17"/>
                    </a:lnTo>
                    <a:lnTo>
                      <a:pt x="49" y="15"/>
                    </a:lnTo>
                    <a:lnTo>
                      <a:pt x="51" y="15"/>
                    </a:lnTo>
                    <a:lnTo>
                      <a:pt x="52" y="15"/>
                    </a:lnTo>
                    <a:lnTo>
                      <a:pt x="52" y="14"/>
                    </a:lnTo>
                    <a:lnTo>
                      <a:pt x="51" y="12"/>
                    </a:lnTo>
                    <a:lnTo>
                      <a:pt x="51" y="10"/>
                    </a:lnTo>
                    <a:lnTo>
                      <a:pt x="52" y="9"/>
                    </a:lnTo>
                    <a:lnTo>
                      <a:pt x="54" y="9"/>
                    </a:lnTo>
                    <a:lnTo>
                      <a:pt x="56" y="5"/>
                    </a:lnTo>
                    <a:lnTo>
                      <a:pt x="57" y="5"/>
                    </a:lnTo>
                    <a:lnTo>
                      <a:pt x="59" y="3"/>
                    </a:lnTo>
                    <a:lnTo>
                      <a:pt x="68" y="0"/>
                    </a:lnTo>
                    <a:lnTo>
                      <a:pt x="69" y="3"/>
                    </a:lnTo>
                    <a:lnTo>
                      <a:pt x="76" y="14"/>
                    </a:lnTo>
                    <a:lnTo>
                      <a:pt x="78" y="12"/>
                    </a:lnTo>
                    <a:lnTo>
                      <a:pt x="78" y="14"/>
                    </a:lnTo>
                    <a:lnTo>
                      <a:pt x="79" y="17"/>
                    </a:lnTo>
                    <a:lnTo>
                      <a:pt x="79" y="22"/>
                    </a:lnTo>
                    <a:lnTo>
                      <a:pt x="83" y="26"/>
                    </a:lnTo>
                    <a:lnTo>
                      <a:pt x="83" y="29"/>
                    </a:lnTo>
                    <a:lnTo>
                      <a:pt x="83" y="32"/>
                    </a:lnTo>
                    <a:lnTo>
                      <a:pt x="79" y="37"/>
                    </a:lnTo>
                    <a:lnTo>
                      <a:pt x="76" y="37"/>
                    </a:lnTo>
                    <a:lnTo>
                      <a:pt x="76" y="39"/>
                    </a:lnTo>
                    <a:lnTo>
                      <a:pt x="71" y="39"/>
                    </a:lnTo>
                    <a:lnTo>
                      <a:pt x="64" y="46"/>
                    </a:lnTo>
                    <a:lnTo>
                      <a:pt x="61" y="46"/>
                    </a:lnTo>
                    <a:lnTo>
                      <a:pt x="59" y="48"/>
                    </a:lnTo>
                    <a:lnTo>
                      <a:pt x="57" y="48"/>
                    </a:lnTo>
                    <a:lnTo>
                      <a:pt x="56" y="48"/>
                    </a:lnTo>
                    <a:lnTo>
                      <a:pt x="52" y="49"/>
                    </a:lnTo>
                    <a:lnTo>
                      <a:pt x="51" y="49"/>
                    </a:lnTo>
                    <a:lnTo>
                      <a:pt x="49" y="53"/>
                    </a:lnTo>
                    <a:lnTo>
                      <a:pt x="45" y="54"/>
                    </a:lnTo>
                    <a:lnTo>
                      <a:pt x="45" y="60"/>
                    </a:lnTo>
                    <a:lnTo>
                      <a:pt x="42" y="58"/>
                    </a:lnTo>
                    <a:lnTo>
                      <a:pt x="44" y="60"/>
                    </a:lnTo>
                    <a:lnTo>
                      <a:pt x="42" y="58"/>
                    </a:lnTo>
                    <a:lnTo>
                      <a:pt x="40" y="58"/>
                    </a:lnTo>
                    <a:lnTo>
                      <a:pt x="39" y="58"/>
                    </a:lnTo>
                    <a:lnTo>
                      <a:pt x="37" y="58"/>
                    </a:lnTo>
                    <a:lnTo>
                      <a:pt x="39" y="60"/>
                    </a:lnTo>
                    <a:lnTo>
                      <a:pt x="37" y="60"/>
                    </a:lnTo>
                    <a:lnTo>
                      <a:pt x="37" y="61"/>
                    </a:lnTo>
                    <a:lnTo>
                      <a:pt x="40" y="63"/>
                    </a:lnTo>
                    <a:lnTo>
                      <a:pt x="42" y="63"/>
                    </a:lnTo>
                    <a:lnTo>
                      <a:pt x="44" y="63"/>
                    </a:lnTo>
                    <a:lnTo>
                      <a:pt x="45" y="63"/>
                    </a:lnTo>
                    <a:lnTo>
                      <a:pt x="45" y="61"/>
                    </a:lnTo>
                    <a:lnTo>
                      <a:pt x="44" y="61"/>
                    </a:lnTo>
                    <a:lnTo>
                      <a:pt x="45" y="60"/>
                    </a:lnTo>
                    <a:lnTo>
                      <a:pt x="51" y="58"/>
                    </a:lnTo>
                    <a:lnTo>
                      <a:pt x="54" y="58"/>
                    </a:lnTo>
                    <a:lnTo>
                      <a:pt x="54" y="56"/>
                    </a:lnTo>
                    <a:lnTo>
                      <a:pt x="56" y="58"/>
                    </a:lnTo>
                    <a:lnTo>
                      <a:pt x="59" y="58"/>
                    </a:lnTo>
                    <a:lnTo>
                      <a:pt x="64" y="58"/>
                    </a:lnTo>
                    <a:lnTo>
                      <a:pt x="66" y="56"/>
                    </a:lnTo>
                    <a:lnTo>
                      <a:pt x="66" y="58"/>
                    </a:lnTo>
                    <a:lnTo>
                      <a:pt x="66" y="56"/>
                    </a:lnTo>
                    <a:lnTo>
                      <a:pt x="66" y="58"/>
                    </a:lnTo>
                    <a:lnTo>
                      <a:pt x="68" y="58"/>
                    </a:lnTo>
                    <a:lnTo>
                      <a:pt x="69" y="56"/>
                    </a:lnTo>
                    <a:lnTo>
                      <a:pt x="68" y="56"/>
                    </a:lnTo>
                    <a:lnTo>
                      <a:pt x="69" y="56"/>
                    </a:lnTo>
                    <a:lnTo>
                      <a:pt x="71" y="61"/>
                    </a:lnTo>
                    <a:lnTo>
                      <a:pt x="73" y="61"/>
                    </a:lnTo>
                    <a:lnTo>
                      <a:pt x="74" y="65"/>
                    </a:lnTo>
                    <a:close/>
                    <a:moveTo>
                      <a:pt x="71" y="49"/>
                    </a:moveTo>
                    <a:lnTo>
                      <a:pt x="73" y="49"/>
                    </a:lnTo>
                    <a:lnTo>
                      <a:pt x="73" y="51"/>
                    </a:lnTo>
                    <a:lnTo>
                      <a:pt x="71" y="51"/>
                    </a:lnTo>
                    <a:lnTo>
                      <a:pt x="71" y="49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4" name="Freeform 24">
                <a:extLst>
                  <a:ext uri="{FF2B5EF4-FFF2-40B4-BE49-F238E27FC236}">
                    <a16:creationId xmlns:a16="http://schemas.microsoft.com/office/drawing/2014/main" id="{7FACE669-D539-48CF-90FF-E78A705DB59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560951" y="904837"/>
                <a:ext cx="979458" cy="781018"/>
              </a:xfrm>
              <a:custGeom>
                <a:avLst/>
                <a:gdLst>
                  <a:gd name="T0" fmla="*/ 72 w 617"/>
                  <a:gd name="T1" fmla="*/ 5 h 492"/>
                  <a:gd name="T2" fmla="*/ 128 w 617"/>
                  <a:gd name="T3" fmla="*/ 15 h 492"/>
                  <a:gd name="T4" fmla="*/ 158 w 617"/>
                  <a:gd name="T5" fmla="*/ 24 h 492"/>
                  <a:gd name="T6" fmla="*/ 196 w 617"/>
                  <a:gd name="T7" fmla="*/ 32 h 492"/>
                  <a:gd name="T8" fmla="*/ 230 w 617"/>
                  <a:gd name="T9" fmla="*/ 42 h 492"/>
                  <a:gd name="T10" fmla="*/ 264 w 617"/>
                  <a:gd name="T11" fmla="*/ 24 h 492"/>
                  <a:gd name="T12" fmla="*/ 296 w 617"/>
                  <a:gd name="T13" fmla="*/ 12 h 492"/>
                  <a:gd name="T14" fmla="*/ 359 w 617"/>
                  <a:gd name="T15" fmla="*/ 12 h 492"/>
                  <a:gd name="T16" fmla="*/ 388 w 617"/>
                  <a:gd name="T17" fmla="*/ 20 h 492"/>
                  <a:gd name="T18" fmla="*/ 403 w 617"/>
                  <a:gd name="T19" fmla="*/ 32 h 492"/>
                  <a:gd name="T20" fmla="*/ 410 w 617"/>
                  <a:gd name="T21" fmla="*/ 32 h 492"/>
                  <a:gd name="T22" fmla="*/ 424 w 617"/>
                  <a:gd name="T23" fmla="*/ 31 h 492"/>
                  <a:gd name="T24" fmla="*/ 425 w 617"/>
                  <a:gd name="T25" fmla="*/ 25 h 492"/>
                  <a:gd name="T26" fmla="*/ 432 w 617"/>
                  <a:gd name="T27" fmla="*/ 32 h 492"/>
                  <a:gd name="T28" fmla="*/ 442 w 617"/>
                  <a:gd name="T29" fmla="*/ 31 h 492"/>
                  <a:gd name="T30" fmla="*/ 497 w 617"/>
                  <a:gd name="T31" fmla="*/ 51 h 492"/>
                  <a:gd name="T32" fmla="*/ 517 w 617"/>
                  <a:gd name="T33" fmla="*/ 110 h 492"/>
                  <a:gd name="T34" fmla="*/ 505 w 617"/>
                  <a:gd name="T35" fmla="*/ 143 h 492"/>
                  <a:gd name="T36" fmla="*/ 493 w 617"/>
                  <a:gd name="T37" fmla="*/ 168 h 492"/>
                  <a:gd name="T38" fmla="*/ 488 w 617"/>
                  <a:gd name="T39" fmla="*/ 194 h 492"/>
                  <a:gd name="T40" fmla="*/ 478 w 617"/>
                  <a:gd name="T41" fmla="*/ 197 h 492"/>
                  <a:gd name="T42" fmla="*/ 454 w 617"/>
                  <a:gd name="T43" fmla="*/ 179 h 492"/>
                  <a:gd name="T44" fmla="*/ 434 w 617"/>
                  <a:gd name="T45" fmla="*/ 158 h 492"/>
                  <a:gd name="T46" fmla="*/ 425 w 617"/>
                  <a:gd name="T47" fmla="*/ 131 h 492"/>
                  <a:gd name="T48" fmla="*/ 407 w 617"/>
                  <a:gd name="T49" fmla="*/ 110 h 492"/>
                  <a:gd name="T50" fmla="*/ 398 w 617"/>
                  <a:gd name="T51" fmla="*/ 87 h 492"/>
                  <a:gd name="T52" fmla="*/ 390 w 617"/>
                  <a:gd name="T53" fmla="*/ 109 h 492"/>
                  <a:gd name="T54" fmla="*/ 413 w 617"/>
                  <a:gd name="T55" fmla="*/ 155 h 492"/>
                  <a:gd name="T56" fmla="*/ 435 w 617"/>
                  <a:gd name="T57" fmla="*/ 180 h 492"/>
                  <a:gd name="T58" fmla="*/ 451 w 617"/>
                  <a:gd name="T59" fmla="*/ 199 h 492"/>
                  <a:gd name="T60" fmla="*/ 447 w 617"/>
                  <a:gd name="T61" fmla="*/ 202 h 492"/>
                  <a:gd name="T62" fmla="*/ 464 w 617"/>
                  <a:gd name="T63" fmla="*/ 224 h 492"/>
                  <a:gd name="T64" fmla="*/ 469 w 617"/>
                  <a:gd name="T65" fmla="*/ 245 h 492"/>
                  <a:gd name="T66" fmla="*/ 486 w 617"/>
                  <a:gd name="T67" fmla="*/ 284 h 492"/>
                  <a:gd name="T68" fmla="*/ 503 w 617"/>
                  <a:gd name="T69" fmla="*/ 311 h 492"/>
                  <a:gd name="T70" fmla="*/ 519 w 617"/>
                  <a:gd name="T71" fmla="*/ 340 h 492"/>
                  <a:gd name="T72" fmla="*/ 529 w 617"/>
                  <a:gd name="T73" fmla="*/ 364 h 492"/>
                  <a:gd name="T74" fmla="*/ 548 w 617"/>
                  <a:gd name="T75" fmla="*/ 383 h 492"/>
                  <a:gd name="T76" fmla="*/ 554 w 617"/>
                  <a:gd name="T77" fmla="*/ 393 h 492"/>
                  <a:gd name="T78" fmla="*/ 548 w 617"/>
                  <a:gd name="T79" fmla="*/ 400 h 492"/>
                  <a:gd name="T80" fmla="*/ 551 w 617"/>
                  <a:gd name="T81" fmla="*/ 422 h 492"/>
                  <a:gd name="T82" fmla="*/ 563 w 617"/>
                  <a:gd name="T83" fmla="*/ 449 h 492"/>
                  <a:gd name="T84" fmla="*/ 575 w 617"/>
                  <a:gd name="T85" fmla="*/ 456 h 492"/>
                  <a:gd name="T86" fmla="*/ 612 w 617"/>
                  <a:gd name="T87" fmla="*/ 481 h 492"/>
                  <a:gd name="T88" fmla="*/ 395 w 617"/>
                  <a:gd name="T89" fmla="*/ 492 h 492"/>
                  <a:gd name="T90" fmla="*/ 16 w 617"/>
                  <a:gd name="T91" fmla="*/ 241 h 492"/>
                  <a:gd name="T92" fmla="*/ 4 w 617"/>
                  <a:gd name="T93" fmla="*/ 82 h 492"/>
                  <a:gd name="T94" fmla="*/ 10 w 617"/>
                  <a:gd name="T95" fmla="*/ 20 h 492"/>
                  <a:gd name="T96" fmla="*/ 468 w 617"/>
                  <a:gd name="T97" fmla="*/ 213 h 492"/>
                  <a:gd name="T98" fmla="*/ 469 w 617"/>
                  <a:gd name="T99" fmla="*/ 228 h 492"/>
                  <a:gd name="T100" fmla="*/ 425 w 617"/>
                  <a:gd name="T101" fmla="*/ 24 h 492"/>
                  <a:gd name="T102" fmla="*/ 456 w 617"/>
                  <a:gd name="T103" fmla="*/ 202 h 492"/>
                  <a:gd name="T104" fmla="*/ 607 w 617"/>
                  <a:gd name="T105" fmla="*/ 476 h 492"/>
                  <a:gd name="T106" fmla="*/ 456 w 617"/>
                  <a:gd name="T107" fmla="*/ 202 h 492"/>
                  <a:gd name="T108" fmla="*/ 469 w 617"/>
                  <a:gd name="T109" fmla="*/ 228 h 492"/>
                  <a:gd name="T110" fmla="*/ 558 w 617"/>
                  <a:gd name="T111" fmla="*/ 444 h 492"/>
                  <a:gd name="T112" fmla="*/ 461 w 617"/>
                  <a:gd name="T113" fmla="*/ 202 h 492"/>
                  <a:gd name="T114" fmla="*/ 456 w 617"/>
                  <a:gd name="T115" fmla="*/ 197 h 492"/>
                  <a:gd name="T116" fmla="*/ 444 w 617"/>
                  <a:gd name="T117" fmla="*/ 27 h 492"/>
                  <a:gd name="T118" fmla="*/ 444 w 617"/>
                  <a:gd name="T119" fmla="*/ 27 h 4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17" h="492">
                    <a:moveTo>
                      <a:pt x="22" y="0"/>
                    </a:moveTo>
                    <a:lnTo>
                      <a:pt x="24" y="3"/>
                    </a:lnTo>
                    <a:lnTo>
                      <a:pt x="24" y="5"/>
                    </a:lnTo>
                    <a:lnTo>
                      <a:pt x="24" y="7"/>
                    </a:lnTo>
                    <a:lnTo>
                      <a:pt x="31" y="8"/>
                    </a:lnTo>
                    <a:lnTo>
                      <a:pt x="36" y="8"/>
                    </a:lnTo>
                    <a:lnTo>
                      <a:pt x="41" y="8"/>
                    </a:lnTo>
                    <a:lnTo>
                      <a:pt x="56" y="3"/>
                    </a:lnTo>
                    <a:lnTo>
                      <a:pt x="61" y="3"/>
                    </a:lnTo>
                    <a:lnTo>
                      <a:pt x="72" y="5"/>
                    </a:lnTo>
                    <a:lnTo>
                      <a:pt x="92" y="10"/>
                    </a:lnTo>
                    <a:lnTo>
                      <a:pt x="95" y="8"/>
                    </a:lnTo>
                    <a:lnTo>
                      <a:pt x="95" y="10"/>
                    </a:lnTo>
                    <a:lnTo>
                      <a:pt x="104" y="10"/>
                    </a:lnTo>
                    <a:lnTo>
                      <a:pt x="109" y="12"/>
                    </a:lnTo>
                    <a:lnTo>
                      <a:pt x="116" y="12"/>
                    </a:lnTo>
                    <a:lnTo>
                      <a:pt x="118" y="14"/>
                    </a:lnTo>
                    <a:lnTo>
                      <a:pt x="121" y="14"/>
                    </a:lnTo>
                    <a:lnTo>
                      <a:pt x="121" y="15"/>
                    </a:lnTo>
                    <a:lnTo>
                      <a:pt x="128" y="15"/>
                    </a:lnTo>
                    <a:lnTo>
                      <a:pt x="126" y="15"/>
                    </a:lnTo>
                    <a:lnTo>
                      <a:pt x="126" y="17"/>
                    </a:lnTo>
                    <a:lnTo>
                      <a:pt x="135" y="15"/>
                    </a:lnTo>
                    <a:lnTo>
                      <a:pt x="136" y="22"/>
                    </a:lnTo>
                    <a:lnTo>
                      <a:pt x="140" y="24"/>
                    </a:lnTo>
                    <a:lnTo>
                      <a:pt x="145" y="24"/>
                    </a:lnTo>
                    <a:lnTo>
                      <a:pt x="146" y="25"/>
                    </a:lnTo>
                    <a:lnTo>
                      <a:pt x="150" y="25"/>
                    </a:lnTo>
                    <a:lnTo>
                      <a:pt x="152" y="25"/>
                    </a:lnTo>
                    <a:lnTo>
                      <a:pt x="158" y="24"/>
                    </a:lnTo>
                    <a:lnTo>
                      <a:pt x="160" y="22"/>
                    </a:lnTo>
                    <a:lnTo>
                      <a:pt x="162" y="25"/>
                    </a:lnTo>
                    <a:lnTo>
                      <a:pt x="162" y="29"/>
                    </a:lnTo>
                    <a:lnTo>
                      <a:pt x="163" y="31"/>
                    </a:lnTo>
                    <a:lnTo>
                      <a:pt x="175" y="31"/>
                    </a:lnTo>
                    <a:lnTo>
                      <a:pt x="179" y="31"/>
                    </a:lnTo>
                    <a:lnTo>
                      <a:pt x="184" y="31"/>
                    </a:lnTo>
                    <a:lnTo>
                      <a:pt x="189" y="31"/>
                    </a:lnTo>
                    <a:lnTo>
                      <a:pt x="192" y="32"/>
                    </a:lnTo>
                    <a:lnTo>
                      <a:pt x="196" y="32"/>
                    </a:lnTo>
                    <a:lnTo>
                      <a:pt x="199" y="34"/>
                    </a:lnTo>
                    <a:lnTo>
                      <a:pt x="206" y="36"/>
                    </a:lnTo>
                    <a:lnTo>
                      <a:pt x="209" y="37"/>
                    </a:lnTo>
                    <a:lnTo>
                      <a:pt x="211" y="39"/>
                    </a:lnTo>
                    <a:lnTo>
                      <a:pt x="214" y="41"/>
                    </a:lnTo>
                    <a:lnTo>
                      <a:pt x="218" y="42"/>
                    </a:lnTo>
                    <a:lnTo>
                      <a:pt x="220" y="42"/>
                    </a:lnTo>
                    <a:lnTo>
                      <a:pt x="220" y="44"/>
                    </a:lnTo>
                    <a:lnTo>
                      <a:pt x="221" y="44"/>
                    </a:lnTo>
                    <a:lnTo>
                      <a:pt x="230" y="42"/>
                    </a:lnTo>
                    <a:lnTo>
                      <a:pt x="242" y="39"/>
                    </a:lnTo>
                    <a:lnTo>
                      <a:pt x="252" y="32"/>
                    </a:lnTo>
                    <a:lnTo>
                      <a:pt x="259" y="27"/>
                    </a:lnTo>
                    <a:lnTo>
                      <a:pt x="260" y="27"/>
                    </a:lnTo>
                    <a:lnTo>
                      <a:pt x="262" y="25"/>
                    </a:lnTo>
                    <a:lnTo>
                      <a:pt x="264" y="25"/>
                    </a:lnTo>
                    <a:lnTo>
                      <a:pt x="262" y="25"/>
                    </a:lnTo>
                    <a:lnTo>
                      <a:pt x="262" y="27"/>
                    </a:lnTo>
                    <a:lnTo>
                      <a:pt x="262" y="24"/>
                    </a:lnTo>
                    <a:lnTo>
                      <a:pt x="264" y="24"/>
                    </a:lnTo>
                    <a:lnTo>
                      <a:pt x="265" y="24"/>
                    </a:lnTo>
                    <a:lnTo>
                      <a:pt x="272" y="19"/>
                    </a:lnTo>
                    <a:lnTo>
                      <a:pt x="274" y="19"/>
                    </a:lnTo>
                    <a:lnTo>
                      <a:pt x="272" y="19"/>
                    </a:lnTo>
                    <a:lnTo>
                      <a:pt x="274" y="20"/>
                    </a:lnTo>
                    <a:lnTo>
                      <a:pt x="277" y="20"/>
                    </a:lnTo>
                    <a:lnTo>
                      <a:pt x="281" y="20"/>
                    </a:lnTo>
                    <a:lnTo>
                      <a:pt x="284" y="17"/>
                    </a:lnTo>
                    <a:lnTo>
                      <a:pt x="288" y="10"/>
                    </a:lnTo>
                    <a:lnTo>
                      <a:pt x="296" y="12"/>
                    </a:lnTo>
                    <a:lnTo>
                      <a:pt x="318" y="5"/>
                    </a:lnTo>
                    <a:lnTo>
                      <a:pt x="322" y="5"/>
                    </a:lnTo>
                    <a:lnTo>
                      <a:pt x="325" y="5"/>
                    </a:lnTo>
                    <a:lnTo>
                      <a:pt x="333" y="7"/>
                    </a:lnTo>
                    <a:lnTo>
                      <a:pt x="344" y="12"/>
                    </a:lnTo>
                    <a:lnTo>
                      <a:pt x="349" y="12"/>
                    </a:lnTo>
                    <a:lnTo>
                      <a:pt x="356" y="10"/>
                    </a:lnTo>
                    <a:lnTo>
                      <a:pt x="357" y="10"/>
                    </a:lnTo>
                    <a:lnTo>
                      <a:pt x="357" y="12"/>
                    </a:lnTo>
                    <a:lnTo>
                      <a:pt x="359" y="12"/>
                    </a:lnTo>
                    <a:lnTo>
                      <a:pt x="359" y="10"/>
                    </a:lnTo>
                    <a:lnTo>
                      <a:pt x="362" y="8"/>
                    </a:lnTo>
                    <a:lnTo>
                      <a:pt x="366" y="8"/>
                    </a:lnTo>
                    <a:lnTo>
                      <a:pt x="369" y="10"/>
                    </a:lnTo>
                    <a:lnTo>
                      <a:pt x="371" y="12"/>
                    </a:lnTo>
                    <a:lnTo>
                      <a:pt x="367" y="8"/>
                    </a:lnTo>
                    <a:lnTo>
                      <a:pt x="371" y="14"/>
                    </a:lnTo>
                    <a:lnTo>
                      <a:pt x="379" y="19"/>
                    </a:lnTo>
                    <a:lnTo>
                      <a:pt x="386" y="20"/>
                    </a:lnTo>
                    <a:lnTo>
                      <a:pt x="388" y="20"/>
                    </a:lnTo>
                    <a:lnTo>
                      <a:pt x="386" y="22"/>
                    </a:lnTo>
                    <a:lnTo>
                      <a:pt x="388" y="24"/>
                    </a:lnTo>
                    <a:lnTo>
                      <a:pt x="388" y="22"/>
                    </a:lnTo>
                    <a:lnTo>
                      <a:pt x="388" y="25"/>
                    </a:lnTo>
                    <a:lnTo>
                      <a:pt x="390" y="22"/>
                    </a:lnTo>
                    <a:lnTo>
                      <a:pt x="390" y="24"/>
                    </a:lnTo>
                    <a:lnTo>
                      <a:pt x="393" y="25"/>
                    </a:lnTo>
                    <a:lnTo>
                      <a:pt x="396" y="29"/>
                    </a:lnTo>
                    <a:lnTo>
                      <a:pt x="400" y="32"/>
                    </a:lnTo>
                    <a:lnTo>
                      <a:pt x="403" y="32"/>
                    </a:lnTo>
                    <a:lnTo>
                      <a:pt x="408" y="31"/>
                    </a:lnTo>
                    <a:lnTo>
                      <a:pt x="417" y="27"/>
                    </a:lnTo>
                    <a:lnTo>
                      <a:pt x="410" y="31"/>
                    </a:lnTo>
                    <a:lnTo>
                      <a:pt x="407" y="32"/>
                    </a:lnTo>
                    <a:lnTo>
                      <a:pt x="405" y="32"/>
                    </a:lnTo>
                    <a:lnTo>
                      <a:pt x="407" y="32"/>
                    </a:lnTo>
                    <a:lnTo>
                      <a:pt x="407" y="34"/>
                    </a:lnTo>
                    <a:lnTo>
                      <a:pt x="408" y="32"/>
                    </a:lnTo>
                    <a:lnTo>
                      <a:pt x="410" y="34"/>
                    </a:lnTo>
                    <a:lnTo>
                      <a:pt x="410" y="32"/>
                    </a:lnTo>
                    <a:lnTo>
                      <a:pt x="408" y="32"/>
                    </a:lnTo>
                    <a:lnTo>
                      <a:pt x="415" y="31"/>
                    </a:lnTo>
                    <a:lnTo>
                      <a:pt x="417" y="31"/>
                    </a:lnTo>
                    <a:lnTo>
                      <a:pt x="418" y="31"/>
                    </a:lnTo>
                    <a:lnTo>
                      <a:pt x="420" y="31"/>
                    </a:lnTo>
                    <a:lnTo>
                      <a:pt x="420" y="32"/>
                    </a:lnTo>
                    <a:lnTo>
                      <a:pt x="418" y="32"/>
                    </a:lnTo>
                    <a:lnTo>
                      <a:pt x="422" y="32"/>
                    </a:lnTo>
                    <a:lnTo>
                      <a:pt x="422" y="31"/>
                    </a:lnTo>
                    <a:lnTo>
                      <a:pt x="424" y="31"/>
                    </a:lnTo>
                    <a:lnTo>
                      <a:pt x="424" y="29"/>
                    </a:lnTo>
                    <a:lnTo>
                      <a:pt x="425" y="29"/>
                    </a:lnTo>
                    <a:lnTo>
                      <a:pt x="424" y="29"/>
                    </a:lnTo>
                    <a:lnTo>
                      <a:pt x="422" y="29"/>
                    </a:lnTo>
                    <a:lnTo>
                      <a:pt x="422" y="31"/>
                    </a:lnTo>
                    <a:lnTo>
                      <a:pt x="420" y="31"/>
                    </a:lnTo>
                    <a:lnTo>
                      <a:pt x="418" y="29"/>
                    </a:lnTo>
                    <a:lnTo>
                      <a:pt x="420" y="31"/>
                    </a:lnTo>
                    <a:lnTo>
                      <a:pt x="422" y="27"/>
                    </a:lnTo>
                    <a:lnTo>
                      <a:pt x="425" y="25"/>
                    </a:lnTo>
                    <a:lnTo>
                      <a:pt x="429" y="29"/>
                    </a:lnTo>
                    <a:lnTo>
                      <a:pt x="427" y="27"/>
                    </a:lnTo>
                    <a:lnTo>
                      <a:pt x="425" y="29"/>
                    </a:lnTo>
                    <a:lnTo>
                      <a:pt x="427" y="29"/>
                    </a:lnTo>
                    <a:lnTo>
                      <a:pt x="425" y="29"/>
                    </a:lnTo>
                    <a:lnTo>
                      <a:pt x="427" y="29"/>
                    </a:lnTo>
                    <a:lnTo>
                      <a:pt x="427" y="31"/>
                    </a:lnTo>
                    <a:lnTo>
                      <a:pt x="429" y="31"/>
                    </a:lnTo>
                    <a:lnTo>
                      <a:pt x="429" y="32"/>
                    </a:lnTo>
                    <a:lnTo>
                      <a:pt x="432" y="32"/>
                    </a:lnTo>
                    <a:lnTo>
                      <a:pt x="430" y="32"/>
                    </a:lnTo>
                    <a:lnTo>
                      <a:pt x="432" y="32"/>
                    </a:lnTo>
                    <a:lnTo>
                      <a:pt x="430" y="31"/>
                    </a:lnTo>
                    <a:lnTo>
                      <a:pt x="434" y="31"/>
                    </a:lnTo>
                    <a:lnTo>
                      <a:pt x="435" y="31"/>
                    </a:lnTo>
                    <a:lnTo>
                      <a:pt x="437" y="31"/>
                    </a:lnTo>
                    <a:lnTo>
                      <a:pt x="435" y="31"/>
                    </a:lnTo>
                    <a:lnTo>
                      <a:pt x="439" y="31"/>
                    </a:lnTo>
                    <a:lnTo>
                      <a:pt x="441" y="31"/>
                    </a:lnTo>
                    <a:lnTo>
                      <a:pt x="442" y="31"/>
                    </a:lnTo>
                    <a:lnTo>
                      <a:pt x="442" y="29"/>
                    </a:lnTo>
                    <a:lnTo>
                      <a:pt x="444" y="29"/>
                    </a:lnTo>
                    <a:lnTo>
                      <a:pt x="451" y="29"/>
                    </a:lnTo>
                    <a:lnTo>
                      <a:pt x="458" y="29"/>
                    </a:lnTo>
                    <a:lnTo>
                      <a:pt x="471" y="24"/>
                    </a:lnTo>
                    <a:lnTo>
                      <a:pt x="483" y="19"/>
                    </a:lnTo>
                    <a:lnTo>
                      <a:pt x="483" y="20"/>
                    </a:lnTo>
                    <a:lnTo>
                      <a:pt x="486" y="29"/>
                    </a:lnTo>
                    <a:lnTo>
                      <a:pt x="492" y="42"/>
                    </a:lnTo>
                    <a:lnTo>
                      <a:pt x="497" y="51"/>
                    </a:lnTo>
                    <a:lnTo>
                      <a:pt x="498" y="58"/>
                    </a:lnTo>
                    <a:lnTo>
                      <a:pt x="500" y="61"/>
                    </a:lnTo>
                    <a:lnTo>
                      <a:pt x="498" y="65"/>
                    </a:lnTo>
                    <a:lnTo>
                      <a:pt x="503" y="66"/>
                    </a:lnTo>
                    <a:lnTo>
                      <a:pt x="507" y="76"/>
                    </a:lnTo>
                    <a:lnTo>
                      <a:pt x="515" y="97"/>
                    </a:lnTo>
                    <a:lnTo>
                      <a:pt x="515" y="100"/>
                    </a:lnTo>
                    <a:lnTo>
                      <a:pt x="517" y="104"/>
                    </a:lnTo>
                    <a:lnTo>
                      <a:pt x="515" y="105"/>
                    </a:lnTo>
                    <a:lnTo>
                      <a:pt x="517" y="110"/>
                    </a:lnTo>
                    <a:lnTo>
                      <a:pt x="515" y="112"/>
                    </a:lnTo>
                    <a:lnTo>
                      <a:pt x="510" y="119"/>
                    </a:lnTo>
                    <a:lnTo>
                      <a:pt x="509" y="121"/>
                    </a:lnTo>
                    <a:lnTo>
                      <a:pt x="509" y="126"/>
                    </a:lnTo>
                    <a:lnTo>
                      <a:pt x="509" y="127"/>
                    </a:lnTo>
                    <a:lnTo>
                      <a:pt x="507" y="127"/>
                    </a:lnTo>
                    <a:lnTo>
                      <a:pt x="505" y="134"/>
                    </a:lnTo>
                    <a:lnTo>
                      <a:pt x="507" y="138"/>
                    </a:lnTo>
                    <a:lnTo>
                      <a:pt x="503" y="139"/>
                    </a:lnTo>
                    <a:lnTo>
                      <a:pt x="505" y="143"/>
                    </a:lnTo>
                    <a:lnTo>
                      <a:pt x="503" y="144"/>
                    </a:lnTo>
                    <a:lnTo>
                      <a:pt x="503" y="150"/>
                    </a:lnTo>
                    <a:lnTo>
                      <a:pt x="500" y="153"/>
                    </a:lnTo>
                    <a:lnTo>
                      <a:pt x="500" y="155"/>
                    </a:lnTo>
                    <a:lnTo>
                      <a:pt x="500" y="156"/>
                    </a:lnTo>
                    <a:lnTo>
                      <a:pt x="498" y="158"/>
                    </a:lnTo>
                    <a:lnTo>
                      <a:pt x="498" y="163"/>
                    </a:lnTo>
                    <a:lnTo>
                      <a:pt x="497" y="163"/>
                    </a:lnTo>
                    <a:lnTo>
                      <a:pt x="495" y="165"/>
                    </a:lnTo>
                    <a:lnTo>
                      <a:pt x="493" y="168"/>
                    </a:lnTo>
                    <a:lnTo>
                      <a:pt x="492" y="170"/>
                    </a:lnTo>
                    <a:lnTo>
                      <a:pt x="492" y="175"/>
                    </a:lnTo>
                    <a:lnTo>
                      <a:pt x="495" y="179"/>
                    </a:lnTo>
                    <a:lnTo>
                      <a:pt x="493" y="182"/>
                    </a:lnTo>
                    <a:lnTo>
                      <a:pt x="493" y="185"/>
                    </a:lnTo>
                    <a:lnTo>
                      <a:pt x="493" y="187"/>
                    </a:lnTo>
                    <a:lnTo>
                      <a:pt x="492" y="189"/>
                    </a:lnTo>
                    <a:lnTo>
                      <a:pt x="490" y="190"/>
                    </a:lnTo>
                    <a:lnTo>
                      <a:pt x="488" y="190"/>
                    </a:lnTo>
                    <a:lnTo>
                      <a:pt x="488" y="194"/>
                    </a:lnTo>
                    <a:lnTo>
                      <a:pt x="486" y="194"/>
                    </a:lnTo>
                    <a:lnTo>
                      <a:pt x="485" y="194"/>
                    </a:lnTo>
                    <a:lnTo>
                      <a:pt x="485" y="197"/>
                    </a:lnTo>
                    <a:lnTo>
                      <a:pt x="481" y="197"/>
                    </a:lnTo>
                    <a:lnTo>
                      <a:pt x="483" y="199"/>
                    </a:lnTo>
                    <a:lnTo>
                      <a:pt x="485" y="199"/>
                    </a:lnTo>
                    <a:lnTo>
                      <a:pt x="485" y="201"/>
                    </a:lnTo>
                    <a:lnTo>
                      <a:pt x="483" y="201"/>
                    </a:lnTo>
                    <a:lnTo>
                      <a:pt x="481" y="197"/>
                    </a:lnTo>
                    <a:lnTo>
                      <a:pt x="478" y="197"/>
                    </a:lnTo>
                    <a:lnTo>
                      <a:pt x="476" y="197"/>
                    </a:lnTo>
                    <a:lnTo>
                      <a:pt x="475" y="196"/>
                    </a:lnTo>
                    <a:lnTo>
                      <a:pt x="471" y="192"/>
                    </a:lnTo>
                    <a:lnTo>
                      <a:pt x="469" y="192"/>
                    </a:lnTo>
                    <a:lnTo>
                      <a:pt x="468" y="190"/>
                    </a:lnTo>
                    <a:lnTo>
                      <a:pt x="466" y="190"/>
                    </a:lnTo>
                    <a:lnTo>
                      <a:pt x="459" y="185"/>
                    </a:lnTo>
                    <a:lnTo>
                      <a:pt x="459" y="184"/>
                    </a:lnTo>
                    <a:lnTo>
                      <a:pt x="458" y="184"/>
                    </a:lnTo>
                    <a:lnTo>
                      <a:pt x="454" y="179"/>
                    </a:lnTo>
                    <a:lnTo>
                      <a:pt x="452" y="177"/>
                    </a:lnTo>
                    <a:lnTo>
                      <a:pt x="452" y="175"/>
                    </a:lnTo>
                    <a:lnTo>
                      <a:pt x="451" y="175"/>
                    </a:lnTo>
                    <a:lnTo>
                      <a:pt x="449" y="172"/>
                    </a:lnTo>
                    <a:lnTo>
                      <a:pt x="442" y="167"/>
                    </a:lnTo>
                    <a:lnTo>
                      <a:pt x="439" y="163"/>
                    </a:lnTo>
                    <a:lnTo>
                      <a:pt x="437" y="161"/>
                    </a:lnTo>
                    <a:lnTo>
                      <a:pt x="434" y="160"/>
                    </a:lnTo>
                    <a:lnTo>
                      <a:pt x="435" y="158"/>
                    </a:lnTo>
                    <a:lnTo>
                      <a:pt x="434" y="158"/>
                    </a:lnTo>
                    <a:lnTo>
                      <a:pt x="432" y="158"/>
                    </a:lnTo>
                    <a:lnTo>
                      <a:pt x="434" y="158"/>
                    </a:lnTo>
                    <a:lnTo>
                      <a:pt x="430" y="153"/>
                    </a:lnTo>
                    <a:lnTo>
                      <a:pt x="432" y="148"/>
                    </a:lnTo>
                    <a:lnTo>
                      <a:pt x="430" y="144"/>
                    </a:lnTo>
                    <a:lnTo>
                      <a:pt x="430" y="139"/>
                    </a:lnTo>
                    <a:lnTo>
                      <a:pt x="429" y="139"/>
                    </a:lnTo>
                    <a:lnTo>
                      <a:pt x="430" y="136"/>
                    </a:lnTo>
                    <a:lnTo>
                      <a:pt x="425" y="134"/>
                    </a:lnTo>
                    <a:lnTo>
                      <a:pt x="425" y="131"/>
                    </a:lnTo>
                    <a:lnTo>
                      <a:pt x="418" y="126"/>
                    </a:lnTo>
                    <a:lnTo>
                      <a:pt x="415" y="124"/>
                    </a:lnTo>
                    <a:lnTo>
                      <a:pt x="415" y="121"/>
                    </a:lnTo>
                    <a:lnTo>
                      <a:pt x="412" y="121"/>
                    </a:lnTo>
                    <a:lnTo>
                      <a:pt x="412" y="116"/>
                    </a:lnTo>
                    <a:lnTo>
                      <a:pt x="408" y="114"/>
                    </a:lnTo>
                    <a:lnTo>
                      <a:pt x="408" y="112"/>
                    </a:lnTo>
                    <a:lnTo>
                      <a:pt x="407" y="114"/>
                    </a:lnTo>
                    <a:lnTo>
                      <a:pt x="408" y="110"/>
                    </a:lnTo>
                    <a:lnTo>
                      <a:pt x="407" y="110"/>
                    </a:lnTo>
                    <a:lnTo>
                      <a:pt x="407" y="109"/>
                    </a:lnTo>
                    <a:lnTo>
                      <a:pt x="407" y="107"/>
                    </a:lnTo>
                    <a:lnTo>
                      <a:pt x="405" y="105"/>
                    </a:lnTo>
                    <a:lnTo>
                      <a:pt x="405" y="99"/>
                    </a:lnTo>
                    <a:lnTo>
                      <a:pt x="401" y="95"/>
                    </a:lnTo>
                    <a:lnTo>
                      <a:pt x="403" y="92"/>
                    </a:lnTo>
                    <a:lnTo>
                      <a:pt x="398" y="88"/>
                    </a:lnTo>
                    <a:lnTo>
                      <a:pt x="400" y="88"/>
                    </a:lnTo>
                    <a:lnTo>
                      <a:pt x="398" y="88"/>
                    </a:lnTo>
                    <a:lnTo>
                      <a:pt x="398" y="87"/>
                    </a:lnTo>
                    <a:lnTo>
                      <a:pt x="395" y="88"/>
                    </a:lnTo>
                    <a:lnTo>
                      <a:pt x="393" y="92"/>
                    </a:lnTo>
                    <a:lnTo>
                      <a:pt x="395" y="92"/>
                    </a:lnTo>
                    <a:lnTo>
                      <a:pt x="396" y="92"/>
                    </a:lnTo>
                    <a:lnTo>
                      <a:pt x="388" y="102"/>
                    </a:lnTo>
                    <a:lnTo>
                      <a:pt x="390" y="104"/>
                    </a:lnTo>
                    <a:lnTo>
                      <a:pt x="388" y="104"/>
                    </a:lnTo>
                    <a:lnTo>
                      <a:pt x="390" y="104"/>
                    </a:lnTo>
                    <a:lnTo>
                      <a:pt x="388" y="105"/>
                    </a:lnTo>
                    <a:lnTo>
                      <a:pt x="390" y="109"/>
                    </a:lnTo>
                    <a:lnTo>
                      <a:pt x="400" y="117"/>
                    </a:lnTo>
                    <a:lnTo>
                      <a:pt x="400" y="119"/>
                    </a:lnTo>
                    <a:lnTo>
                      <a:pt x="405" y="131"/>
                    </a:lnTo>
                    <a:lnTo>
                      <a:pt x="401" y="133"/>
                    </a:lnTo>
                    <a:lnTo>
                      <a:pt x="401" y="138"/>
                    </a:lnTo>
                    <a:lnTo>
                      <a:pt x="403" y="139"/>
                    </a:lnTo>
                    <a:lnTo>
                      <a:pt x="405" y="143"/>
                    </a:lnTo>
                    <a:lnTo>
                      <a:pt x="408" y="146"/>
                    </a:lnTo>
                    <a:lnTo>
                      <a:pt x="412" y="148"/>
                    </a:lnTo>
                    <a:lnTo>
                      <a:pt x="413" y="155"/>
                    </a:lnTo>
                    <a:lnTo>
                      <a:pt x="413" y="158"/>
                    </a:lnTo>
                    <a:lnTo>
                      <a:pt x="417" y="158"/>
                    </a:lnTo>
                    <a:lnTo>
                      <a:pt x="420" y="161"/>
                    </a:lnTo>
                    <a:lnTo>
                      <a:pt x="422" y="163"/>
                    </a:lnTo>
                    <a:lnTo>
                      <a:pt x="424" y="167"/>
                    </a:lnTo>
                    <a:lnTo>
                      <a:pt x="427" y="168"/>
                    </a:lnTo>
                    <a:lnTo>
                      <a:pt x="427" y="172"/>
                    </a:lnTo>
                    <a:lnTo>
                      <a:pt x="434" y="179"/>
                    </a:lnTo>
                    <a:lnTo>
                      <a:pt x="434" y="180"/>
                    </a:lnTo>
                    <a:lnTo>
                      <a:pt x="435" y="180"/>
                    </a:lnTo>
                    <a:lnTo>
                      <a:pt x="437" y="182"/>
                    </a:lnTo>
                    <a:lnTo>
                      <a:pt x="439" y="184"/>
                    </a:lnTo>
                    <a:lnTo>
                      <a:pt x="441" y="185"/>
                    </a:lnTo>
                    <a:lnTo>
                      <a:pt x="442" y="185"/>
                    </a:lnTo>
                    <a:lnTo>
                      <a:pt x="446" y="187"/>
                    </a:lnTo>
                    <a:lnTo>
                      <a:pt x="451" y="194"/>
                    </a:lnTo>
                    <a:lnTo>
                      <a:pt x="451" y="197"/>
                    </a:lnTo>
                    <a:lnTo>
                      <a:pt x="452" y="197"/>
                    </a:lnTo>
                    <a:lnTo>
                      <a:pt x="452" y="199"/>
                    </a:lnTo>
                    <a:lnTo>
                      <a:pt x="451" y="199"/>
                    </a:lnTo>
                    <a:lnTo>
                      <a:pt x="451" y="197"/>
                    </a:lnTo>
                    <a:lnTo>
                      <a:pt x="449" y="196"/>
                    </a:lnTo>
                    <a:lnTo>
                      <a:pt x="446" y="196"/>
                    </a:lnTo>
                    <a:lnTo>
                      <a:pt x="447" y="199"/>
                    </a:lnTo>
                    <a:lnTo>
                      <a:pt x="449" y="199"/>
                    </a:lnTo>
                    <a:lnTo>
                      <a:pt x="449" y="202"/>
                    </a:lnTo>
                    <a:lnTo>
                      <a:pt x="451" y="204"/>
                    </a:lnTo>
                    <a:lnTo>
                      <a:pt x="451" y="206"/>
                    </a:lnTo>
                    <a:lnTo>
                      <a:pt x="449" y="204"/>
                    </a:lnTo>
                    <a:lnTo>
                      <a:pt x="447" y="202"/>
                    </a:lnTo>
                    <a:lnTo>
                      <a:pt x="446" y="204"/>
                    </a:lnTo>
                    <a:lnTo>
                      <a:pt x="449" y="207"/>
                    </a:lnTo>
                    <a:lnTo>
                      <a:pt x="449" y="211"/>
                    </a:lnTo>
                    <a:lnTo>
                      <a:pt x="452" y="213"/>
                    </a:lnTo>
                    <a:lnTo>
                      <a:pt x="452" y="214"/>
                    </a:lnTo>
                    <a:lnTo>
                      <a:pt x="456" y="216"/>
                    </a:lnTo>
                    <a:lnTo>
                      <a:pt x="456" y="218"/>
                    </a:lnTo>
                    <a:lnTo>
                      <a:pt x="456" y="221"/>
                    </a:lnTo>
                    <a:lnTo>
                      <a:pt x="458" y="221"/>
                    </a:lnTo>
                    <a:lnTo>
                      <a:pt x="464" y="224"/>
                    </a:lnTo>
                    <a:lnTo>
                      <a:pt x="464" y="228"/>
                    </a:lnTo>
                    <a:lnTo>
                      <a:pt x="463" y="228"/>
                    </a:lnTo>
                    <a:lnTo>
                      <a:pt x="463" y="233"/>
                    </a:lnTo>
                    <a:lnTo>
                      <a:pt x="466" y="235"/>
                    </a:lnTo>
                    <a:lnTo>
                      <a:pt x="468" y="236"/>
                    </a:lnTo>
                    <a:lnTo>
                      <a:pt x="466" y="238"/>
                    </a:lnTo>
                    <a:lnTo>
                      <a:pt x="469" y="243"/>
                    </a:lnTo>
                    <a:lnTo>
                      <a:pt x="471" y="243"/>
                    </a:lnTo>
                    <a:lnTo>
                      <a:pt x="471" y="245"/>
                    </a:lnTo>
                    <a:lnTo>
                      <a:pt x="469" y="245"/>
                    </a:lnTo>
                    <a:lnTo>
                      <a:pt x="469" y="247"/>
                    </a:lnTo>
                    <a:lnTo>
                      <a:pt x="468" y="248"/>
                    </a:lnTo>
                    <a:lnTo>
                      <a:pt x="469" y="250"/>
                    </a:lnTo>
                    <a:lnTo>
                      <a:pt x="468" y="255"/>
                    </a:lnTo>
                    <a:lnTo>
                      <a:pt x="473" y="257"/>
                    </a:lnTo>
                    <a:lnTo>
                      <a:pt x="476" y="265"/>
                    </a:lnTo>
                    <a:lnTo>
                      <a:pt x="481" y="272"/>
                    </a:lnTo>
                    <a:lnTo>
                      <a:pt x="483" y="277"/>
                    </a:lnTo>
                    <a:lnTo>
                      <a:pt x="486" y="282"/>
                    </a:lnTo>
                    <a:lnTo>
                      <a:pt x="486" y="284"/>
                    </a:lnTo>
                    <a:lnTo>
                      <a:pt x="488" y="284"/>
                    </a:lnTo>
                    <a:lnTo>
                      <a:pt x="490" y="289"/>
                    </a:lnTo>
                    <a:lnTo>
                      <a:pt x="492" y="291"/>
                    </a:lnTo>
                    <a:lnTo>
                      <a:pt x="493" y="296"/>
                    </a:lnTo>
                    <a:lnTo>
                      <a:pt x="495" y="298"/>
                    </a:lnTo>
                    <a:lnTo>
                      <a:pt x="497" y="299"/>
                    </a:lnTo>
                    <a:lnTo>
                      <a:pt x="498" y="301"/>
                    </a:lnTo>
                    <a:lnTo>
                      <a:pt x="502" y="308"/>
                    </a:lnTo>
                    <a:lnTo>
                      <a:pt x="503" y="309"/>
                    </a:lnTo>
                    <a:lnTo>
                      <a:pt x="503" y="311"/>
                    </a:lnTo>
                    <a:lnTo>
                      <a:pt x="505" y="315"/>
                    </a:lnTo>
                    <a:lnTo>
                      <a:pt x="507" y="318"/>
                    </a:lnTo>
                    <a:lnTo>
                      <a:pt x="509" y="320"/>
                    </a:lnTo>
                    <a:lnTo>
                      <a:pt x="510" y="323"/>
                    </a:lnTo>
                    <a:lnTo>
                      <a:pt x="512" y="325"/>
                    </a:lnTo>
                    <a:lnTo>
                      <a:pt x="512" y="328"/>
                    </a:lnTo>
                    <a:lnTo>
                      <a:pt x="515" y="330"/>
                    </a:lnTo>
                    <a:lnTo>
                      <a:pt x="517" y="335"/>
                    </a:lnTo>
                    <a:lnTo>
                      <a:pt x="519" y="338"/>
                    </a:lnTo>
                    <a:lnTo>
                      <a:pt x="519" y="340"/>
                    </a:lnTo>
                    <a:lnTo>
                      <a:pt x="522" y="344"/>
                    </a:lnTo>
                    <a:lnTo>
                      <a:pt x="522" y="347"/>
                    </a:lnTo>
                    <a:lnTo>
                      <a:pt x="526" y="352"/>
                    </a:lnTo>
                    <a:lnTo>
                      <a:pt x="527" y="355"/>
                    </a:lnTo>
                    <a:lnTo>
                      <a:pt x="527" y="357"/>
                    </a:lnTo>
                    <a:lnTo>
                      <a:pt x="527" y="359"/>
                    </a:lnTo>
                    <a:lnTo>
                      <a:pt x="529" y="359"/>
                    </a:lnTo>
                    <a:lnTo>
                      <a:pt x="531" y="361"/>
                    </a:lnTo>
                    <a:lnTo>
                      <a:pt x="529" y="361"/>
                    </a:lnTo>
                    <a:lnTo>
                      <a:pt x="529" y="364"/>
                    </a:lnTo>
                    <a:lnTo>
                      <a:pt x="532" y="366"/>
                    </a:lnTo>
                    <a:lnTo>
                      <a:pt x="534" y="369"/>
                    </a:lnTo>
                    <a:lnTo>
                      <a:pt x="537" y="371"/>
                    </a:lnTo>
                    <a:lnTo>
                      <a:pt x="539" y="371"/>
                    </a:lnTo>
                    <a:lnTo>
                      <a:pt x="541" y="374"/>
                    </a:lnTo>
                    <a:lnTo>
                      <a:pt x="543" y="376"/>
                    </a:lnTo>
                    <a:lnTo>
                      <a:pt x="544" y="379"/>
                    </a:lnTo>
                    <a:lnTo>
                      <a:pt x="548" y="383"/>
                    </a:lnTo>
                    <a:lnTo>
                      <a:pt x="548" y="384"/>
                    </a:lnTo>
                    <a:lnTo>
                      <a:pt x="548" y="383"/>
                    </a:lnTo>
                    <a:lnTo>
                      <a:pt x="551" y="384"/>
                    </a:lnTo>
                    <a:lnTo>
                      <a:pt x="553" y="386"/>
                    </a:lnTo>
                    <a:lnTo>
                      <a:pt x="553" y="388"/>
                    </a:lnTo>
                    <a:lnTo>
                      <a:pt x="560" y="389"/>
                    </a:lnTo>
                    <a:lnTo>
                      <a:pt x="561" y="391"/>
                    </a:lnTo>
                    <a:lnTo>
                      <a:pt x="563" y="395"/>
                    </a:lnTo>
                    <a:lnTo>
                      <a:pt x="561" y="395"/>
                    </a:lnTo>
                    <a:lnTo>
                      <a:pt x="560" y="393"/>
                    </a:lnTo>
                    <a:lnTo>
                      <a:pt x="558" y="395"/>
                    </a:lnTo>
                    <a:lnTo>
                      <a:pt x="554" y="393"/>
                    </a:lnTo>
                    <a:lnTo>
                      <a:pt x="551" y="393"/>
                    </a:lnTo>
                    <a:lnTo>
                      <a:pt x="551" y="391"/>
                    </a:lnTo>
                    <a:lnTo>
                      <a:pt x="548" y="393"/>
                    </a:lnTo>
                    <a:lnTo>
                      <a:pt x="548" y="391"/>
                    </a:lnTo>
                    <a:lnTo>
                      <a:pt x="551" y="391"/>
                    </a:lnTo>
                    <a:lnTo>
                      <a:pt x="548" y="391"/>
                    </a:lnTo>
                    <a:lnTo>
                      <a:pt x="546" y="393"/>
                    </a:lnTo>
                    <a:lnTo>
                      <a:pt x="548" y="396"/>
                    </a:lnTo>
                    <a:lnTo>
                      <a:pt x="546" y="400"/>
                    </a:lnTo>
                    <a:lnTo>
                      <a:pt x="548" y="400"/>
                    </a:lnTo>
                    <a:lnTo>
                      <a:pt x="546" y="401"/>
                    </a:lnTo>
                    <a:lnTo>
                      <a:pt x="548" y="400"/>
                    </a:lnTo>
                    <a:lnTo>
                      <a:pt x="548" y="401"/>
                    </a:lnTo>
                    <a:lnTo>
                      <a:pt x="546" y="401"/>
                    </a:lnTo>
                    <a:lnTo>
                      <a:pt x="548" y="403"/>
                    </a:lnTo>
                    <a:lnTo>
                      <a:pt x="548" y="405"/>
                    </a:lnTo>
                    <a:lnTo>
                      <a:pt x="548" y="408"/>
                    </a:lnTo>
                    <a:lnTo>
                      <a:pt x="548" y="410"/>
                    </a:lnTo>
                    <a:lnTo>
                      <a:pt x="546" y="415"/>
                    </a:lnTo>
                    <a:lnTo>
                      <a:pt x="551" y="422"/>
                    </a:lnTo>
                    <a:lnTo>
                      <a:pt x="551" y="429"/>
                    </a:lnTo>
                    <a:lnTo>
                      <a:pt x="554" y="434"/>
                    </a:lnTo>
                    <a:lnTo>
                      <a:pt x="556" y="437"/>
                    </a:lnTo>
                    <a:lnTo>
                      <a:pt x="556" y="442"/>
                    </a:lnTo>
                    <a:lnTo>
                      <a:pt x="558" y="444"/>
                    </a:lnTo>
                    <a:lnTo>
                      <a:pt x="561" y="447"/>
                    </a:lnTo>
                    <a:lnTo>
                      <a:pt x="561" y="446"/>
                    </a:lnTo>
                    <a:lnTo>
                      <a:pt x="561" y="447"/>
                    </a:lnTo>
                    <a:lnTo>
                      <a:pt x="561" y="449"/>
                    </a:lnTo>
                    <a:lnTo>
                      <a:pt x="563" y="449"/>
                    </a:lnTo>
                    <a:lnTo>
                      <a:pt x="563" y="447"/>
                    </a:lnTo>
                    <a:lnTo>
                      <a:pt x="565" y="452"/>
                    </a:lnTo>
                    <a:lnTo>
                      <a:pt x="566" y="454"/>
                    </a:lnTo>
                    <a:lnTo>
                      <a:pt x="568" y="454"/>
                    </a:lnTo>
                    <a:lnTo>
                      <a:pt x="570" y="454"/>
                    </a:lnTo>
                    <a:lnTo>
                      <a:pt x="568" y="456"/>
                    </a:lnTo>
                    <a:lnTo>
                      <a:pt x="570" y="454"/>
                    </a:lnTo>
                    <a:lnTo>
                      <a:pt x="570" y="456"/>
                    </a:lnTo>
                    <a:lnTo>
                      <a:pt x="571" y="456"/>
                    </a:lnTo>
                    <a:lnTo>
                      <a:pt x="575" y="456"/>
                    </a:lnTo>
                    <a:lnTo>
                      <a:pt x="582" y="457"/>
                    </a:lnTo>
                    <a:lnTo>
                      <a:pt x="587" y="459"/>
                    </a:lnTo>
                    <a:lnTo>
                      <a:pt x="588" y="466"/>
                    </a:lnTo>
                    <a:lnTo>
                      <a:pt x="592" y="468"/>
                    </a:lnTo>
                    <a:lnTo>
                      <a:pt x="594" y="469"/>
                    </a:lnTo>
                    <a:lnTo>
                      <a:pt x="595" y="473"/>
                    </a:lnTo>
                    <a:lnTo>
                      <a:pt x="602" y="476"/>
                    </a:lnTo>
                    <a:lnTo>
                      <a:pt x="609" y="483"/>
                    </a:lnTo>
                    <a:lnTo>
                      <a:pt x="611" y="483"/>
                    </a:lnTo>
                    <a:lnTo>
                      <a:pt x="612" y="481"/>
                    </a:lnTo>
                    <a:lnTo>
                      <a:pt x="616" y="486"/>
                    </a:lnTo>
                    <a:lnTo>
                      <a:pt x="617" y="488"/>
                    </a:lnTo>
                    <a:lnTo>
                      <a:pt x="617" y="492"/>
                    </a:lnTo>
                    <a:lnTo>
                      <a:pt x="609" y="492"/>
                    </a:lnTo>
                    <a:lnTo>
                      <a:pt x="609" y="490"/>
                    </a:lnTo>
                    <a:lnTo>
                      <a:pt x="500" y="492"/>
                    </a:lnTo>
                    <a:lnTo>
                      <a:pt x="476" y="490"/>
                    </a:lnTo>
                    <a:lnTo>
                      <a:pt x="442" y="490"/>
                    </a:lnTo>
                    <a:lnTo>
                      <a:pt x="430" y="490"/>
                    </a:lnTo>
                    <a:lnTo>
                      <a:pt x="395" y="492"/>
                    </a:lnTo>
                    <a:lnTo>
                      <a:pt x="393" y="492"/>
                    </a:lnTo>
                    <a:lnTo>
                      <a:pt x="344" y="492"/>
                    </a:lnTo>
                    <a:lnTo>
                      <a:pt x="337" y="492"/>
                    </a:lnTo>
                    <a:lnTo>
                      <a:pt x="327" y="492"/>
                    </a:lnTo>
                    <a:lnTo>
                      <a:pt x="264" y="492"/>
                    </a:lnTo>
                    <a:lnTo>
                      <a:pt x="16" y="492"/>
                    </a:lnTo>
                    <a:lnTo>
                      <a:pt x="16" y="417"/>
                    </a:lnTo>
                    <a:lnTo>
                      <a:pt x="16" y="337"/>
                    </a:lnTo>
                    <a:lnTo>
                      <a:pt x="16" y="274"/>
                    </a:lnTo>
                    <a:lnTo>
                      <a:pt x="16" y="241"/>
                    </a:lnTo>
                    <a:lnTo>
                      <a:pt x="16" y="206"/>
                    </a:lnTo>
                    <a:lnTo>
                      <a:pt x="16" y="187"/>
                    </a:lnTo>
                    <a:lnTo>
                      <a:pt x="16" y="124"/>
                    </a:lnTo>
                    <a:lnTo>
                      <a:pt x="16" y="122"/>
                    </a:lnTo>
                    <a:lnTo>
                      <a:pt x="9" y="110"/>
                    </a:lnTo>
                    <a:lnTo>
                      <a:pt x="9" y="107"/>
                    </a:lnTo>
                    <a:lnTo>
                      <a:pt x="10" y="105"/>
                    </a:lnTo>
                    <a:lnTo>
                      <a:pt x="7" y="97"/>
                    </a:lnTo>
                    <a:lnTo>
                      <a:pt x="7" y="90"/>
                    </a:lnTo>
                    <a:lnTo>
                      <a:pt x="4" y="82"/>
                    </a:lnTo>
                    <a:lnTo>
                      <a:pt x="0" y="78"/>
                    </a:lnTo>
                    <a:lnTo>
                      <a:pt x="5" y="70"/>
                    </a:lnTo>
                    <a:lnTo>
                      <a:pt x="9" y="65"/>
                    </a:lnTo>
                    <a:lnTo>
                      <a:pt x="12" y="59"/>
                    </a:lnTo>
                    <a:lnTo>
                      <a:pt x="12" y="56"/>
                    </a:lnTo>
                    <a:lnTo>
                      <a:pt x="14" y="53"/>
                    </a:lnTo>
                    <a:lnTo>
                      <a:pt x="17" y="46"/>
                    </a:lnTo>
                    <a:lnTo>
                      <a:pt x="16" y="39"/>
                    </a:lnTo>
                    <a:lnTo>
                      <a:pt x="10" y="27"/>
                    </a:lnTo>
                    <a:lnTo>
                      <a:pt x="10" y="20"/>
                    </a:lnTo>
                    <a:lnTo>
                      <a:pt x="9" y="14"/>
                    </a:lnTo>
                    <a:lnTo>
                      <a:pt x="16" y="10"/>
                    </a:lnTo>
                    <a:lnTo>
                      <a:pt x="19" y="7"/>
                    </a:lnTo>
                    <a:lnTo>
                      <a:pt x="21" y="3"/>
                    </a:lnTo>
                    <a:lnTo>
                      <a:pt x="22" y="0"/>
                    </a:lnTo>
                    <a:close/>
                    <a:moveTo>
                      <a:pt x="469" y="211"/>
                    </a:moveTo>
                    <a:lnTo>
                      <a:pt x="473" y="213"/>
                    </a:lnTo>
                    <a:lnTo>
                      <a:pt x="473" y="214"/>
                    </a:lnTo>
                    <a:lnTo>
                      <a:pt x="471" y="213"/>
                    </a:lnTo>
                    <a:lnTo>
                      <a:pt x="468" y="213"/>
                    </a:lnTo>
                    <a:lnTo>
                      <a:pt x="468" y="211"/>
                    </a:lnTo>
                    <a:lnTo>
                      <a:pt x="469" y="211"/>
                    </a:lnTo>
                    <a:close/>
                    <a:moveTo>
                      <a:pt x="461" y="209"/>
                    </a:moveTo>
                    <a:lnTo>
                      <a:pt x="459" y="209"/>
                    </a:lnTo>
                    <a:lnTo>
                      <a:pt x="461" y="209"/>
                    </a:lnTo>
                    <a:lnTo>
                      <a:pt x="459" y="207"/>
                    </a:lnTo>
                    <a:lnTo>
                      <a:pt x="459" y="206"/>
                    </a:lnTo>
                    <a:lnTo>
                      <a:pt x="461" y="207"/>
                    </a:lnTo>
                    <a:lnTo>
                      <a:pt x="461" y="209"/>
                    </a:lnTo>
                    <a:close/>
                    <a:moveTo>
                      <a:pt x="469" y="228"/>
                    </a:moveTo>
                    <a:lnTo>
                      <a:pt x="466" y="224"/>
                    </a:lnTo>
                    <a:lnTo>
                      <a:pt x="469" y="228"/>
                    </a:lnTo>
                    <a:close/>
                    <a:moveTo>
                      <a:pt x="471" y="250"/>
                    </a:moveTo>
                    <a:lnTo>
                      <a:pt x="471" y="252"/>
                    </a:lnTo>
                    <a:lnTo>
                      <a:pt x="469" y="250"/>
                    </a:lnTo>
                    <a:lnTo>
                      <a:pt x="469" y="248"/>
                    </a:lnTo>
                    <a:lnTo>
                      <a:pt x="471" y="250"/>
                    </a:lnTo>
                    <a:close/>
                    <a:moveTo>
                      <a:pt x="435" y="24"/>
                    </a:moveTo>
                    <a:lnTo>
                      <a:pt x="427" y="24"/>
                    </a:lnTo>
                    <a:lnTo>
                      <a:pt x="425" y="24"/>
                    </a:lnTo>
                    <a:lnTo>
                      <a:pt x="418" y="27"/>
                    </a:lnTo>
                    <a:lnTo>
                      <a:pt x="425" y="24"/>
                    </a:lnTo>
                    <a:lnTo>
                      <a:pt x="427" y="24"/>
                    </a:lnTo>
                    <a:lnTo>
                      <a:pt x="435" y="24"/>
                    </a:lnTo>
                    <a:close/>
                    <a:moveTo>
                      <a:pt x="461" y="204"/>
                    </a:moveTo>
                    <a:lnTo>
                      <a:pt x="463" y="204"/>
                    </a:lnTo>
                    <a:lnTo>
                      <a:pt x="463" y="206"/>
                    </a:lnTo>
                    <a:lnTo>
                      <a:pt x="461" y="206"/>
                    </a:lnTo>
                    <a:lnTo>
                      <a:pt x="461" y="204"/>
                    </a:lnTo>
                    <a:close/>
                    <a:moveTo>
                      <a:pt x="456" y="202"/>
                    </a:moveTo>
                    <a:lnTo>
                      <a:pt x="458" y="202"/>
                    </a:lnTo>
                    <a:lnTo>
                      <a:pt x="458" y="204"/>
                    </a:lnTo>
                    <a:lnTo>
                      <a:pt x="456" y="204"/>
                    </a:lnTo>
                    <a:lnTo>
                      <a:pt x="456" y="202"/>
                    </a:lnTo>
                    <a:close/>
                    <a:moveTo>
                      <a:pt x="441" y="25"/>
                    </a:moveTo>
                    <a:lnTo>
                      <a:pt x="442" y="27"/>
                    </a:lnTo>
                    <a:lnTo>
                      <a:pt x="435" y="24"/>
                    </a:lnTo>
                    <a:lnTo>
                      <a:pt x="441" y="25"/>
                    </a:lnTo>
                    <a:close/>
                    <a:moveTo>
                      <a:pt x="605" y="476"/>
                    </a:moveTo>
                    <a:lnTo>
                      <a:pt x="607" y="476"/>
                    </a:lnTo>
                    <a:lnTo>
                      <a:pt x="607" y="478"/>
                    </a:lnTo>
                    <a:lnTo>
                      <a:pt x="605" y="478"/>
                    </a:lnTo>
                    <a:lnTo>
                      <a:pt x="605" y="476"/>
                    </a:lnTo>
                    <a:close/>
                    <a:moveTo>
                      <a:pt x="582" y="408"/>
                    </a:moveTo>
                    <a:lnTo>
                      <a:pt x="583" y="408"/>
                    </a:lnTo>
                    <a:lnTo>
                      <a:pt x="583" y="410"/>
                    </a:lnTo>
                    <a:lnTo>
                      <a:pt x="582" y="410"/>
                    </a:lnTo>
                    <a:lnTo>
                      <a:pt x="582" y="408"/>
                    </a:lnTo>
                    <a:close/>
                    <a:moveTo>
                      <a:pt x="456" y="201"/>
                    </a:moveTo>
                    <a:lnTo>
                      <a:pt x="456" y="202"/>
                    </a:lnTo>
                    <a:lnTo>
                      <a:pt x="456" y="201"/>
                    </a:lnTo>
                    <a:close/>
                    <a:moveTo>
                      <a:pt x="560" y="444"/>
                    </a:moveTo>
                    <a:lnTo>
                      <a:pt x="561" y="444"/>
                    </a:lnTo>
                    <a:lnTo>
                      <a:pt x="561" y="447"/>
                    </a:lnTo>
                    <a:lnTo>
                      <a:pt x="560" y="447"/>
                    </a:lnTo>
                    <a:lnTo>
                      <a:pt x="560" y="444"/>
                    </a:lnTo>
                    <a:close/>
                    <a:moveTo>
                      <a:pt x="469" y="226"/>
                    </a:moveTo>
                    <a:lnTo>
                      <a:pt x="471" y="226"/>
                    </a:lnTo>
                    <a:lnTo>
                      <a:pt x="471" y="228"/>
                    </a:lnTo>
                    <a:lnTo>
                      <a:pt x="469" y="228"/>
                    </a:lnTo>
                    <a:lnTo>
                      <a:pt x="469" y="226"/>
                    </a:lnTo>
                    <a:close/>
                    <a:moveTo>
                      <a:pt x="531" y="355"/>
                    </a:moveTo>
                    <a:lnTo>
                      <a:pt x="531" y="357"/>
                    </a:lnTo>
                    <a:lnTo>
                      <a:pt x="531" y="355"/>
                    </a:lnTo>
                    <a:close/>
                    <a:moveTo>
                      <a:pt x="452" y="202"/>
                    </a:moveTo>
                    <a:lnTo>
                      <a:pt x="454" y="202"/>
                    </a:lnTo>
                    <a:lnTo>
                      <a:pt x="454" y="204"/>
                    </a:lnTo>
                    <a:lnTo>
                      <a:pt x="452" y="204"/>
                    </a:lnTo>
                    <a:lnTo>
                      <a:pt x="452" y="202"/>
                    </a:lnTo>
                    <a:close/>
                    <a:moveTo>
                      <a:pt x="558" y="444"/>
                    </a:moveTo>
                    <a:lnTo>
                      <a:pt x="560" y="444"/>
                    </a:lnTo>
                    <a:lnTo>
                      <a:pt x="560" y="446"/>
                    </a:lnTo>
                    <a:lnTo>
                      <a:pt x="558" y="446"/>
                    </a:lnTo>
                    <a:lnTo>
                      <a:pt x="558" y="444"/>
                    </a:lnTo>
                    <a:close/>
                    <a:moveTo>
                      <a:pt x="464" y="226"/>
                    </a:moveTo>
                    <a:lnTo>
                      <a:pt x="466" y="226"/>
                    </a:lnTo>
                    <a:lnTo>
                      <a:pt x="466" y="228"/>
                    </a:lnTo>
                    <a:lnTo>
                      <a:pt x="464" y="228"/>
                    </a:lnTo>
                    <a:lnTo>
                      <a:pt x="464" y="226"/>
                    </a:lnTo>
                    <a:close/>
                    <a:moveTo>
                      <a:pt x="461" y="202"/>
                    </a:moveTo>
                    <a:lnTo>
                      <a:pt x="463" y="202"/>
                    </a:lnTo>
                    <a:lnTo>
                      <a:pt x="463" y="204"/>
                    </a:lnTo>
                    <a:lnTo>
                      <a:pt x="461" y="204"/>
                    </a:lnTo>
                    <a:lnTo>
                      <a:pt x="461" y="202"/>
                    </a:lnTo>
                    <a:close/>
                    <a:moveTo>
                      <a:pt x="558" y="444"/>
                    </a:moveTo>
                    <a:lnTo>
                      <a:pt x="560" y="444"/>
                    </a:lnTo>
                    <a:lnTo>
                      <a:pt x="560" y="446"/>
                    </a:lnTo>
                    <a:lnTo>
                      <a:pt x="558" y="446"/>
                    </a:lnTo>
                    <a:lnTo>
                      <a:pt x="558" y="444"/>
                    </a:lnTo>
                    <a:close/>
                    <a:moveTo>
                      <a:pt x="456" y="197"/>
                    </a:moveTo>
                    <a:lnTo>
                      <a:pt x="456" y="199"/>
                    </a:lnTo>
                    <a:lnTo>
                      <a:pt x="456" y="197"/>
                    </a:lnTo>
                    <a:close/>
                    <a:moveTo>
                      <a:pt x="424" y="29"/>
                    </a:moveTo>
                    <a:lnTo>
                      <a:pt x="425" y="29"/>
                    </a:lnTo>
                    <a:lnTo>
                      <a:pt x="424" y="29"/>
                    </a:lnTo>
                    <a:close/>
                    <a:moveTo>
                      <a:pt x="456" y="197"/>
                    </a:moveTo>
                    <a:lnTo>
                      <a:pt x="456" y="199"/>
                    </a:lnTo>
                    <a:lnTo>
                      <a:pt x="456" y="197"/>
                    </a:lnTo>
                    <a:close/>
                    <a:moveTo>
                      <a:pt x="442" y="27"/>
                    </a:moveTo>
                    <a:lnTo>
                      <a:pt x="444" y="27"/>
                    </a:lnTo>
                    <a:lnTo>
                      <a:pt x="442" y="27"/>
                    </a:lnTo>
                    <a:close/>
                    <a:moveTo>
                      <a:pt x="456" y="197"/>
                    </a:moveTo>
                    <a:lnTo>
                      <a:pt x="456" y="199"/>
                    </a:lnTo>
                    <a:lnTo>
                      <a:pt x="456" y="197"/>
                    </a:lnTo>
                    <a:close/>
                    <a:moveTo>
                      <a:pt x="583" y="451"/>
                    </a:moveTo>
                    <a:lnTo>
                      <a:pt x="585" y="451"/>
                    </a:lnTo>
                    <a:lnTo>
                      <a:pt x="583" y="451"/>
                    </a:lnTo>
                    <a:close/>
                    <a:moveTo>
                      <a:pt x="444" y="27"/>
                    </a:moveTo>
                    <a:lnTo>
                      <a:pt x="446" y="27"/>
                    </a:lnTo>
                    <a:lnTo>
                      <a:pt x="444" y="27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5" name="Freeform 25">
                <a:extLst>
                  <a:ext uri="{FF2B5EF4-FFF2-40B4-BE49-F238E27FC236}">
                    <a16:creationId xmlns:a16="http://schemas.microsoft.com/office/drawing/2014/main" id="{AB73C298-6CFF-4DDC-8E0E-5321804CD81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025882" y="3147883"/>
                <a:ext cx="463537" cy="425433"/>
              </a:xfrm>
              <a:custGeom>
                <a:avLst/>
                <a:gdLst>
                  <a:gd name="T0" fmla="*/ 216 w 292"/>
                  <a:gd name="T1" fmla="*/ 79 h 268"/>
                  <a:gd name="T2" fmla="*/ 218 w 292"/>
                  <a:gd name="T3" fmla="*/ 80 h 268"/>
                  <a:gd name="T4" fmla="*/ 224 w 292"/>
                  <a:gd name="T5" fmla="*/ 82 h 268"/>
                  <a:gd name="T6" fmla="*/ 229 w 292"/>
                  <a:gd name="T7" fmla="*/ 84 h 268"/>
                  <a:gd name="T8" fmla="*/ 233 w 292"/>
                  <a:gd name="T9" fmla="*/ 84 h 268"/>
                  <a:gd name="T10" fmla="*/ 243 w 292"/>
                  <a:gd name="T11" fmla="*/ 82 h 268"/>
                  <a:gd name="T12" fmla="*/ 292 w 292"/>
                  <a:gd name="T13" fmla="*/ 82 h 268"/>
                  <a:gd name="T14" fmla="*/ 291 w 292"/>
                  <a:gd name="T15" fmla="*/ 104 h 268"/>
                  <a:gd name="T16" fmla="*/ 291 w 292"/>
                  <a:gd name="T17" fmla="*/ 142 h 268"/>
                  <a:gd name="T18" fmla="*/ 262 w 292"/>
                  <a:gd name="T19" fmla="*/ 142 h 268"/>
                  <a:gd name="T20" fmla="*/ 223 w 292"/>
                  <a:gd name="T21" fmla="*/ 142 h 268"/>
                  <a:gd name="T22" fmla="*/ 223 w 292"/>
                  <a:gd name="T23" fmla="*/ 145 h 268"/>
                  <a:gd name="T24" fmla="*/ 218 w 292"/>
                  <a:gd name="T25" fmla="*/ 145 h 268"/>
                  <a:gd name="T26" fmla="*/ 216 w 292"/>
                  <a:gd name="T27" fmla="*/ 142 h 268"/>
                  <a:gd name="T28" fmla="*/ 212 w 292"/>
                  <a:gd name="T29" fmla="*/ 138 h 268"/>
                  <a:gd name="T30" fmla="*/ 211 w 292"/>
                  <a:gd name="T31" fmla="*/ 137 h 268"/>
                  <a:gd name="T32" fmla="*/ 207 w 292"/>
                  <a:gd name="T33" fmla="*/ 135 h 268"/>
                  <a:gd name="T34" fmla="*/ 207 w 292"/>
                  <a:gd name="T35" fmla="*/ 137 h 268"/>
                  <a:gd name="T36" fmla="*/ 202 w 292"/>
                  <a:gd name="T37" fmla="*/ 140 h 268"/>
                  <a:gd name="T38" fmla="*/ 197 w 292"/>
                  <a:gd name="T39" fmla="*/ 135 h 268"/>
                  <a:gd name="T40" fmla="*/ 192 w 292"/>
                  <a:gd name="T41" fmla="*/ 137 h 268"/>
                  <a:gd name="T42" fmla="*/ 192 w 292"/>
                  <a:gd name="T43" fmla="*/ 133 h 268"/>
                  <a:gd name="T44" fmla="*/ 194 w 292"/>
                  <a:gd name="T45" fmla="*/ 128 h 268"/>
                  <a:gd name="T46" fmla="*/ 196 w 292"/>
                  <a:gd name="T47" fmla="*/ 121 h 268"/>
                  <a:gd name="T48" fmla="*/ 202 w 292"/>
                  <a:gd name="T49" fmla="*/ 113 h 268"/>
                  <a:gd name="T50" fmla="*/ 204 w 292"/>
                  <a:gd name="T51" fmla="*/ 111 h 268"/>
                  <a:gd name="T52" fmla="*/ 209 w 292"/>
                  <a:gd name="T53" fmla="*/ 103 h 268"/>
                  <a:gd name="T54" fmla="*/ 214 w 292"/>
                  <a:gd name="T55" fmla="*/ 96 h 268"/>
                  <a:gd name="T56" fmla="*/ 211 w 292"/>
                  <a:gd name="T57" fmla="*/ 87 h 268"/>
                  <a:gd name="T58" fmla="*/ 212 w 292"/>
                  <a:gd name="T59" fmla="*/ 75 h 268"/>
                  <a:gd name="T60" fmla="*/ 158 w 292"/>
                  <a:gd name="T61" fmla="*/ 0 h 268"/>
                  <a:gd name="T62" fmla="*/ 165 w 292"/>
                  <a:gd name="T63" fmla="*/ 2 h 268"/>
                  <a:gd name="T64" fmla="*/ 168 w 292"/>
                  <a:gd name="T65" fmla="*/ 2 h 268"/>
                  <a:gd name="T66" fmla="*/ 168 w 292"/>
                  <a:gd name="T67" fmla="*/ 9 h 268"/>
                  <a:gd name="T68" fmla="*/ 163 w 292"/>
                  <a:gd name="T69" fmla="*/ 17 h 268"/>
                  <a:gd name="T70" fmla="*/ 162 w 292"/>
                  <a:gd name="T71" fmla="*/ 21 h 268"/>
                  <a:gd name="T72" fmla="*/ 156 w 292"/>
                  <a:gd name="T73" fmla="*/ 29 h 268"/>
                  <a:gd name="T74" fmla="*/ 150 w 292"/>
                  <a:gd name="T75" fmla="*/ 28 h 268"/>
                  <a:gd name="T76" fmla="*/ 143 w 292"/>
                  <a:gd name="T77" fmla="*/ 23 h 268"/>
                  <a:gd name="T78" fmla="*/ 146 w 292"/>
                  <a:gd name="T79" fmla="*/ 16 h 268"/>
                  <a:gd name="T80" fmla="*/ 151 w 292"/>
                  <a:gd name="T81" fmla="*/ 16 h 268"/>
                  <a:gd name="T82" fmla="*/ 153 w 292"/>
                  <a:gd name="T83" fmla="*/ 12 h 268"/>
                  <a:gd name="T84" fmla="*/ 156 w 292"/>
                  <a:gd name="T85" fmla="*/ 0 h 268"/>
                  <a:gd name="T86" fmla="*/ 0 w 292"/>
                  <a:gd name="T87" fmla="*/ 264 h 268"/>
                  <a:gd name="T88" fmla="*/ 3 w 292"/>
                  <a:gd name="T89" fmla="*/ 268 h 268"/>
                  <a:gd name="T90" fmla="*/ 0 w 292"/>
                  <a:gd name="T91" fmla="*/ 264 h 268"/>
                  <a:gd name="T92" fmla="*/ 190 w 292"/>
                  <a:gd name="T93" fmla="*/ 145 h 268"/>
                  <a:gd name="T94" fmla="*/ 189 w 292"/>
                  <a:gd name="T95" fmla="*/ 147 h 268"/>
                  <a:gd name="T96" fmla="*/ 211 w 292"/>
                  <a:gd name="T97" fmla="*/ 138 h 268"/>
                  <a:gd name="T98" fmla="*/ 212 w 292"/>
                  <a:gd name="T99" fmla="*/ 140 h 268"/>
                  <a:gd name="T100" fmla="*/ 211 w 292"/>
                  <a:gd name="T101" fmla="*/ 138 h 268"/>
                  <a:gd name="T102" fmla="*/ 199 w 292"/>
                  <a:gd name="T103" fmla="*/ 142 h 268"/>
                  <a:gd name="T104" fmla="*/ 197 w 292"/>
                  <a:gd name="T105" fmla="*/ 143 h 2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92" h="268">
                    <a:moveTo>
                      <a:pt x="214" y="74"/>
                    </a:moveTo>
                    <a:lnTo>
                      <a:pt x="216" y="79"/>
                    </a:lnTo>
                    <a:lnTo>
                      <a:pt x="218" y="79"/>
                    </a:lnTo>
                    <a:lnTo>
                      <a:pt x="218" y="80"/>
                    </a:lnTo>
                    <a:lnTo>
                      <a:pt x="219" y="80"/>
                    </a:lnTo>
                    <a:lnTo>
                      <a:pt x="224" y="82"/>
                    </a:lnTo>
                    <a:lnTo>
                      <a:pt x="226" y="82"/>
                    </a:lnTo>
                    <a:lnTo>
                      <a:pt x="229" y="84"/>
                    </a:lnTo>
                    <a:lnTo>
                      <a:pt x="231" y="82"/>
                    </a:lnTo>
                    <a:lnTo>
                      <a:pt x="233" y="84"/>
                    </a:lnTo>
                    <a:lnTo>
                      <a:pt x="233" y="82"/>
                    </a:lnTo>
                    <a:lnTo>
                      <a:pt x="243" y="82"/>
                    </a:lnTo>
                    <a:lnTo>
                      <a:pt x="282" y="82"/>
                    </a:lnTo>
                    <a:lnTo>
                      <a:pt x="292" y="82"/>
                    </a:lnTo>
                    <a:lnTo>
                      <a:pt x="291" y="86"/>
                    </a:lnTo>
                    <a:lnTo>
                      <a:pt x="291" y="104"/>
                    </a:lnTo>
                    <a:lnTo>
                      <a:pt x="291" y="118"/>
                    </a:lnTo>
                    <a:lnTo>
                      <a:pt x="291" y="142"/>
                    </a:lnTo>
                    <a:lnTo>
                      <a:pt x="272" y="142"/>
                    </a:lnTo>
                    <a:lnTo>
                      <a:pt x="262" y="142"/>
                    </a:lnTo>
                    <a:lnTo>
                      <a:pt x="245" y="142"/>
                    </a:lnTo>
                    <a:lnTo>
                      <a:pt x="223" y="142"/>
                    </a:lnTo>
                    <a:lnTo>
                      <a:pt x="223" y="143"/>
                    </a:lnTo>
                    <a:lnTo>
                      <a:pt x="223" y="145"/>
                    </a:lnTo>
                    <a:lnTo>
                      <a:pt x="221" y="145"/>
                    </a:lnTo>
                    <a:lnTo>
                      <a:pt x="218" y="145"/>
                    </a:lnTo>
                    <a:lnTo>
                      <a:pt x="218" y="142"/>
                    </a:lnTo>
                    <a:lnTo>
                      <a:pt x="216" y="142"/>
                    </a:lnTo>
                    <a:lnTo>
                      <a:pt x="212" y="142"/>
                    </a:lnTo>
                    <a:lnTo>
                      <a:pt x="212" y="138"/>
                    </a:lnTo>
                    <a:lnTo>
                      <a:pt x="214" y="138"/>
                    </a:lnTo>
                    <a:lnTo>
                      <a:pt x="211" y="137"/>
                    </a:lnTo>
                    <a:lnTo>
                      <a:pt x="207" y="138"/>
                    </a:lnTo>
                    <a:lnTo>
                      <a:pt x="207" y="135"/>
                    </a:lnTo>
                    <a:lnTo>
                      <a:pt x="209" y="135"/>
                    </a:lnTo>
                    <a:lnTo>
                      <a:pt x="207" y="137"/>
                    </a:lnTo>
                    <a:lnTo>
                      <a:pt x="206" y="138"/>
                    </a:lnTo>
                    <a:lnTo>
                      <a:pt x="202" y="140"/>
                    </a:lnTo>
                    <a:lnTo>
                      <a:pt x="199" y="135"/>
                    </a:lnTo>
                    <a:lnTo>
                      <a:pt x="197" y="135"/>
                    </a:lnTo>
                    <a:lnTo>
                      <a:pt x="194" y="137"/>
                    </a:lnTo>
                    <a:lnTo>
                      <a:pt x="192" y="137"/>
                    </a:lnTo>
                    <a:lnTo>
                      <a:pt x="190" y="133"/>
                    </a:lnTo>
                    <a:lnTo>
                      <a:pt x="192" y="133"/>
                    </a:lnTo>
                    <a:lnTo>
                      <a:pt x="192" y="128"/>
                    </a:lnTo>
                    <a:lnTo>
                      <a:pt x="194" y="128"/>
                    </a:lnTo>
                    <a:lnTo>
                      <a:pt x="196" y="125"/>
                    </a:lnTo>
                    <a:lnTo>
                      <a:pt x="196" y="121"/>
                    </a:lnTo>
                    <a:lnTo>
                      <a:pt x="201" y="118"/>
                    </a:lnTo>
                    <a:lnTo>
                      <a:pt x="202" y="113"/>
                    </a:lnTo>
                    <a:lnTo>
                      <a:pt x="204" y="113"/>
                    </a:lnTo>
                    <a:lnTo>
                      <a:pt x="204" y="111"/>
                    </a:lnTo>
                    <a:lnTo>
                      <a:pt x="204" y="108"/>
                    </a:lnTo>
                    <a:lnTo>
                      <a:pt x="209" y="103"/>
                    </a:lnTo>
                    <a:lnTo>
                      <a:pt x="211" y="99"/>
                    </a:lnTo>
                    <a:lnTo>
                      <a:pt x="214" y="96"/>
                    </a:lnTo>
                    <a:lnTo>
                      <a:pt x="214" y="94"/>
                    </a:lnTo>
                    <a:lnTo>
                      <a:pt x="211" y="87"/>
                    </a:lnTo>
                    <a:lnTo>
                      <a:pt x="212" y="82"/>
                    </a:lnTo>
                    <a:lnTo>
                      <a:pt x="212" y="75"/>
                    </a:lnTo>
                    <a:lnTo>
                      <a:pt x="214" y="74"/>
                    </a:lnTo>
                    <a:close/>
                    <a:moveTo>
                      <a:pt x="158" y="0"/>
                    </a:moveTo>
                    <a:lnTo>
                      <a:pt x="160" y="2"/>
                    </a:lnTo>
                    <a:lnTo>
                      <a:pt x="165" y="2"/>
                    </a:lnTo>
                    <a:lnTo>
                      <a:pt x="167" y="2"/>
                    </a:lnTo>
                    <a:lnTo>
                      <a:pt x="168" y="2"/>
                    </a:lnTo>
                    <a:lnTo>
                      <a:pt x="170" y="4"/>
                    </a:lnTo>
                    <a:lnTo>
                      <a:pt x="168" y="9"/>
                    </a:lnTo>
                    <a:lnTo>
                      <a:pt x="165" y="12"/>
                    </a:lnTo>
                    <a:lnTo>
                      <a:pt x="163" y="17"/>
                    </a:lnTo>
                    <a:lnTo>
                      <a:pt x="163" y="19"/>
                    </a:lnTo>
                    <a:lnTo>
                      <a:pt x="162" y="21"/>
                    </a:lnTo>
                    <a:lnTo>
                      <a:pt x="162" y="24"/>
                    </a:lnTo>
                    <a:lnTo>
                      <a:pt x="156" y="29"/>
                    </a:lnTo>
                    <a:lnTo>
                      <a:pt x="151" y="28"/>
                    </a:lnTo>
                    <a:lnTo>
                      <a:pt x="150" y="28"/>
                    </a:lnTo>
                    <a:lnTo>
                      <a:pt x="145" y="26"/>
                    </a:lnTo>
                    <a:lnTo>
                      <a:pt x="143" y="23"/>
                    </a:lnTo>
                    <a:lnTo>
                      <a:pt x="145" y="19"/>
                    </a:lnTo>
                    <a:lnTo>
                      <a:pt x="146" y="16"/>
                    </a:lnTo>
                    <a:lnTo>
                      <a:pt x="151" y="17"/>
                    </a:lnTo>
                    <a:lnTo>
                      <a:pt x="151" y="16"/>
                    </a:lnTo>
                    <a:lnTo>
                      <a:pt x="151" y="14"/>
                    </a:lnTo>
                    <a:lnTo>
                      <a:pt x="153" y="12"/>
                    </a:lnTo>
                    <a:lnTo>
                      <a:pt x="153" y="7"/>
                    </a:lnTo>
                    <a:lnTo>
                      <a:pt x="156" y="0"/>
                    </a:lnTo>
                    <a:lnTo>
                      <a:pt x="158" y="0"/>
                    </a:lnTo>
                    <a:close/>
                    <a:moveTo>
                      <a:pt x="0" y="264"/>
                    </a:moveTo>
                    <a:lnTo>
                      <a:pt x="3" y="264"/>
                    </a:lnTo>
                    <a:lnTo>
                      <a:pt x="3" y="268"/>
                    </a:lnTo>
                    <a:lnTo>
                      <a:pt x="0" y="268"/>
                    </a:lnTo>
                    <a:lnTo>
                      <a:pt x="0" y="264"/>
                    </a:lnTo>
                    <a:close/>
                    <a:moveTo>
                      <a:pt x="189" y="145"/>
                    </a:moveTo>
                    <a:lnTo>
                      <a:pt x="190" y="145"/>
                    </a:lnTo>
                    <a:lnTo>
                      <a:pt x="190" y="147"/>
                    </a:lnTo>
                    <a:lnTo>
                      <a:pt x="189" y="147"/>
                    </a:lnTo>
                    <a:lnTo>
                      <a:pt x="189" y="145"/>
                    </a:lnTo>
                    <a:close/>
                    <a:moveTo>
                      <a:pt x="211" y="138"/>
                    </a:moveTo>
                    <a:lnTo>
                      <a:pt x="212" y="138"/>
                    </a:lnTo>
                    <a:lnTo>
                      <a:pt x="212" y="140"/>
                    </a:lnTo>
                    <a:lnTo>
                      <a:pt x="211" y="140"/>
                    </a:lnTo>
                    <a:lnTo>
                      <a:pt x="211" y="138"/>
                    </a:lnTo>
                    <a:close/>
                    <a:moveTo>
                      <a:pt x="197" y="142"/>
                    </a:moveTo>
                    <a:lnTo>
                      <a:pt x="199" y="142"/>
                    </a:lnTo>
                    <a:lnTo>
                      <a:pt x="199" y="143"/>
                    </a:lnTo>
                    <a:lnTo>
                      <a:pt x="197" y="143"/>
                    </a:lnTo>
                    <a:lnTo>
                      <a:pt x="197" y="14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6" name="Freeform 26">
                <a:extLst>
                  <a:ext uri="{FF2B5EF4-FFF2-40B4-BE49-F238E27FC236}">
                    <a16:creationId xmlns:a16="http://schemas.microsoft.com/office/drawing/2014/main" id="{2701200F-9648-400B-99FF-EE45257E568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505485" y="2006517"/>
                <a:ext cx="538147" cy="454006"/>
              </a:xfrm>
              <a:custGeom>
                <a:avLst/>
                <a:gdLst>
                  <a:gd name="T0" fmla="*/ 320 w 339"/>
                  <a:gd name="T1" fmla="*/ 284 h 286"/>
                  <a:gd name="T2" fmla="*/ 269 w 339"/>
                  <a:gd name="T3" fmla="*/ 240 h 286"/>
                  <a:gd name="T4" fmla="*/ 187 w 339"/>
                  <a:gd name="T5" fmla="*/ 175 h 286"/>
                  <a:gd name="T6" fmla="*/ 157 w 339"/>
                  <a:gd name="T7" fmla="*/ 173 h 286"/>
                  <a:gd name="T8" fmla="*/ 141 w 339"/>
                  <a:gd name="T9" fmla="*/ 173 h 286"/>
                  <a:gd name="T10" fmla="*/ 114 w 339"/>
                  <a:gd name="T11" fmla="*/ 179 h 286"/>
                  <a:gd name="T12" fmla="*/ 92 w 339"/>
                  <a:gd name="T13" fmla="*/ 168 h 286"/>
                  <a:gd name="T14" fmla="*/ 68 w 339"/>
                  <a:gd name="T15" fmla="*/ 168 h 286"/>
                  <a:gd name="T16" fmla="*/ 39 w 339"/>
                  <a:gd name="T17" fmla="*/ 180 h 286"/>
                  <a:gd name="T18" fmla="*/ 7 w 339"/>
                  <a:gd name="T19" fmla="*/ 187 h 286"/>
                  <a:gd name="T20" fmla="*/ 26 w 339"/>
                  <a:gd name="T21" fmla="*/ 87 h 286"/>
                  <a:gd name="T22" fmla="*/ 29 w 339"/>
                  <a:gd name="T23" fmla="*/ 56 h 286"/>
                  <a:gd name="T24" fmla="*/ 55 w 339"/>
                  <a:gd name="T25" fmla="*/ 41 h 286"/>
                  <a:gd name="T26" fmla="*/ 82 w 339"/>
                  <a:gd name="T27" fmla="*/ 22 h 286"/>
                  <a:gd name="T28" fmla="*/ 102 w 339"/>
                  <a:gd name="T29" fmla="*/ 5 h 286"/>
                  <a:gd name="T30" fmla="*/ 136 w 339"/>
                  <a:gd name="T31" fmla="*/ 70 h 286"/>
                  <a:gd name="T32" fmla="*/ 155 w 339"/>
                  <a:gd name="T33" fmla="*/ 121 h 286"/>
                  <a:gd name="T34" fmla="*/ 169 w 339"/>
                  <a:gd name="T35" fmla="*/ 148 h 286"/>
                  <a:gd name="T36" fmla="*/ 172 w 339"/>
                  <a:gd name="T37" fmla="*/ 129 h 286"/>
                  <a:gd name="T38" fmla="*/ 182 w 339"/>
                  <a:gd name="T39" fmla="*/ 141 h 286"/>
                  <a:gd name="T40" fmla="*/ 194 w 339"/>
                  <a:gd name="T41" fmla="*/ 155 h 286"/>
                  <a:gd name="T42" fmla="*/ 203 w 339"/>
                  <a:gd name="T43" fmla="*/ 153 h 286"/>
                  <a:gd name="T44" fmla="*/ 216 w 339"/>
                  <a:gd name="T45" fmla="*/ 156 h 286"/>
                  <a:gd name="T46" fmla="*/ 220 w 339"/>
                  <a:gd name="T47" fmla="*/ 167 h 286"/>
                  <a:gd name="T48" fmla="*/ 252 w 339"/>
                  <a:gd name="T49" fmla="*/ 184 h 286"/>
                  <a:gd name="T50" fmla="*/ 281 w 339"/>
                  <a:gd name="T51" fmla="*/ 211 h 286"/>
                  <a:gd name="T52" fmla="*/ 291 w 339"/>
                  <a:gd name="T53" fmla="*/ 221 h 286"/>
                  <a:gd name="T54" fmla="*/ 310 w 339"/>
                  <a:gd name="T55" fmla="*/ 241 h 286"/>
                  <a:gd name="T56" fmla="*/ 328 w 339"/>
                  <a:gd name="T57" fmla="*/ 262 h 286"/>
                  <a:gd name="T58" fmla="*/ 182 w 339"/>
                  <a:gd name="T59" fmla="*/ 107 h 286"/>
                  <a:gd name="T60" fmla="*/ 192 w 339"/>
                  <a:gd name="T61" fmla="*/ 117 h 286"/>
                  <a:gd name="T62" fmla="*/ 186 w 339"/>
                  <a:gd name="T63" fmla="*/ 122 h 286"/>
                  <a:gd name="T64" fmla="*/ 180 w 339"/>
                  <a:gd name="T65" fmla="*/ 114 h 286"/>
                  <a:gd name="T66" fmla="*/ 182 w 339"/>
                  <a:gd name="T67" fmla="*/ 107 h 286"/>
                  <a:gd name="T68" fmla="*/ 182 w 339"/>
                  <a:gd name="T69" fmla="*/ 95 h 286"/>
                  <a:gd name="T70" fmla="*/ 192 w 339"/>
                  <a:gd name="T71" fmla="*/ 143 h 286"/>
                  <a:gd name="T72" fmla="*/ 189 w 339"/>
                  <a:gd name="T73" fmla="*/ 117 h 286"/>
                  <a:gd name="T74" fmla="*/ 187 w 339"/>
                  <a:gd name="T75" fmla="*/ 75 h 286"/>
                  <a:gd name="T76" fmla="*/ 155 w 339"/>
                  <a:gd name="T77" fmla="*/ 99 h 286"/>
                  <a:gd name="T78" fmla="*/ 192 w 339"/>
                  <a:gd name="T79" fmla="*/ 141 h 286"/>
                  <a:gd name="T80" fmla="*/ 192 w 339"/>
                  <a:gd name="T81" fmla="*/ 87 h 286"/>
                  <a:gd name="T82" fmla="*/ 182 w 339"/>
                  <a:gd name="T83" fmla="*/ 102 h 286"/>
                  <a:gd name="T84" fmla="*/ 167 w 339"/>
                  <a:gd name="T85" fmla="*/ 126 h 286"/>
                  <a:gd name="T86" fmla="*/ 221 w 339"/>
                  <a:gd name="T87" fmla="*/ 122 h 286"/>
                  <a:gd name="T88" fmla="*/ 180 w 339"/>
                  <a:gd name="T89" fmla="*/ 124 h 286"/>
                  <a:gd name="T90" fmla="*/ 194 w 339"/>
                  <a:gd name="T91" fmla="*/ 100 h 286"/>
                  <a:gd name="T92" fmla="*/ 218 w 339"/>
                  <a:gd name="T93" fmla="*/ 114 h 286"/>
                  <a:gd name="T94" fmla="*/ 157 w 339"/>
                  <a:gd name="T95" fmla="*/ 83 h 286"/>
                  <a:gd name="T96" fmla="*/ 323 w 339"/>
                  <a:gd name="T97" fmla="*/ 260 h 286"/>
                  <a:gd name="T98" fmla="*/ 216 w 339"/>
                  <a:gd name="T99" fmla="*/ 110 h 286"/>
                  <a:gd name="T100" fmla="*/ 197 w 339"/>
                  <a:gd name="T101" fmla="*/ 105 h 286"/>
                  <a:gd name="T102" fmla="*/ 160 w 339"/>
                  <a:gd name="T103" fmla="*/ 102 h 286"/>
                  <a:gd name="T104" fmla="*/ 330 w 339"/>
                  <a:gd name="T105" fmla="*/ 257 h 286"/>
                  <a:gd name="T106" fmla="*/ 186 w 339"/>
                  <a:gd name="T107" fmla="*/ 139 h 286"/>
                  <a:gd name="T108" fmla="*/ 281 w 339"/>
                  <a:gd name="T109" fmla="*/ 207 h 286"/>
                  <a:gd name="T110" fmla="*/ 327 w 339"/>
                  <a:gd name="T111" fmla="*/ 260 h 286"/>
                  <a:gd name="T112" fmla="*/ 177 w 339"/>
                  <a:gd name="T113" fmla="*/ 116 h 286"/>
                  <a:gd name="T114" fmla="*/ 186 w 339"/>
                  <a:gd name="T115" fmla="*/ 107 h 286"/>
                  <a:gd name="T116" fmla="*/ 179 w 339"/>
                  <a:gd name="T117" fmla="*/ 97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39" h="286">
                    <a:moveTo>
                      <a:pt x="339" y="267"/>
                    </a:moveTo>
                    <a:lnTo>
                      <a:pt x="330" y="270"/>
                    </a:lnTo>
                    <a:lnTo>
                      <a:pt x="328" y="272"/>
                    </a:lnTo>
                    <a:lnTo>
                      <a:pt x="327" y="272"/>
                    </a:lnTo>
                    <a:lnTo>
                      <a:pt x="325" y="276"/>
                    </a:lnTo>
                    <a:lnTo>
                      <a:pt x="323" y="276"/>
                    </a:lnTo>
                    <a:lnTo>
                      <a:pt x="322" y="277"/>
                    </a:lnTo>
                    <a:lnTo>
                      <a:pt x="322" y="279"/>
                    </a:lnTo>
                    <a:lnTo>
                      <a:pt x="323" y="281"/>
                    </a:lnTo>
                    <a:lnTo>
                      <a:pt x="323" y="282"/>
                    </a:lnTo>
                    <a:lnTo>
                      <a:pt x="322" y="282"/>
                    </a:lnTo>
                    <a:lnTo>
                      <a:pt x="320" y="282"/>
                    </a:lnTo>
                    <a:lnTo>
                      <a:pt x="320" y="284"/>
                    </a:lnTo>
                    <a:lnTo>
                      <a:pt x="318" y="284"/>
                    </a:lnTo>
                    <a:lnTo>
                      <a:pt x="316" y="286"/>
                    </a:lnTo>
                    <a:lnTo>
                      <a:pt x="308" y="279"/>
                    </a:lnTo>
                    <a:lnTo>
                      <a:pt x="306" y="277"/>
                    </a:lnTo>
                    <a:lnTo>
                      <a:pt x="305" y="277"/>
                    </a:lnTo>
                    <a:lnTo>
                      <a:pt x="303" y="279"/>
                    </a:lnTo>
                    <a:lnTo>
                      <a:pt x="296" y="270"/>
                    </a:lnTo>
                    <a:lnTo>
                      <a:pt x="293" y="265"/>
                    </a:lnTo>
                    <a:lnTo>
                      <a:pt x="284" y="262"/>
                    </a:lnTo>
                    <a:lnTo>
                      <a:pt x="282" y="260"/>
                    </a:lnTo>
                    <a:lnTo>
                      <a:pt x="281" y="257"/>
                    </a:lnTo>
                    <a:lnTo>
                      <a:pt x="276" y="250"/>
                    </a:lnTo>
                    <a:lnTo>
                      <a:pt x="269" y="240"/>
                    </a:lnTo>
                    <a:lnTo>
                      <a:pt x="267" y="238"/>
                    </a:lnTo>
                    <a:lnTo>
                      <a:pt x="262" y="233"/>
                    </a:lnTo>
                    <a:lnTo>
                      <a:pt x="254" y="230"/>
                    </a:lnTo>
                    <a:lnTo>
                      <a:pt x="247" y="224"/>
                    </a:lnTo>
                    <a:lnTo>
                      <a:pt x="240" y="216"/>
                    </a:lnTo>
                    <a:lnTo>
                      <a:pt x="231" y="201"/>
                    </a:lnTo>
                    <a:lnTo>
                      <a:pt x="228" y="197"/>
                    </a:lnTo>
                    <a:lnTo>
                      <a:pt x="225" y="196"/>
                    </a:lnTo>
                    <a:lnTo>
                      <a:pt x="221" y="194"/>
                    </a:lnTo>
                    <a:lnTo>
                      <a:pt x="203" y="185"/>
                    </a:lnTo>
                    <a:lnTo>
                      <a:pt x="194" y="182"/>
                    </a:lnTo>
                    <a:lnTo>
                      <a:pt x="191" y="182"/>
                    </a:lnTo>
                    <a:lnTo>
                      <a:pt x="187" y="175"/>
                    </a:lnTo>
                    <a:lnTo>
                      <a:pt x="186" y="175"/>
                    </a:lnTo>
                    <a:lnTo>
                      <a:pt x="184" y="175"/>
                    </a:lnTo>
                    <a:lnTo>
                      <a:pt x="180" y="179"/>
                    </a:lnTo>
                    <a:lnTo>
                      <a:pt x="179" y="180"/>
                    </a:lnTo>
                    <a:lnTo>
                      <a:pt x="177" y="182"/>
                    </a:lnTo>
                    <a:lnTo>
                      <a:pt x="174" y="179"/>
                    </a:lnTo>
                    <a:lnTo>
                      <a:pt x="170" y="177"/>
                    </a:lnTo>
                    <a:lnTo>
                      <a:pt x="169" y="175"/>
                    </a:lnTo>
                    <a:lnTo>
                      <a:pt x="165" y="173"/>
                    </a:lnTo>
                    <a:lnTo>
                      <a:pt x="165" y="172"/>
                    </a:lnTo>
                    <a:lnTo>
                      <a:pt x="160" y="172"/>
                    </a:lnTo>
                    <a:lnTo>
                      <a:pt x="157" y="172"/>
                    </a:lnTo>
                    <a:lnTo>
                      <a:pt x="157" y="173"/>
                    </a:lnTo>
                    <a:lnTo>
                      <a:pt x="155" y="173"/>
                    </a:lnTo>
                    <a:lnTo>
                      <a:pt x="155" y="175"/>
                    </a:lnTo>
                    <a:lnTo>
                      <a:pt x="157" y="177"/>
                    </a:lnTo>
                    <a:lnTo>
                      <a:pt x="155" y="179"/>
                    </a:lnTo>
                    <a:lnTo>
                      <a:pt x="150" y="177"/>
                    </a:lnTo>
                    <a:lnTo>
                      <a:pt x="150" y="175"/>
                    </a:lnTo>
                    <a:lnTo>
                      <a:pt x="148" y="175"/>
                    </a:lnTo>
                    <a:lnTo>
                      <a:pt x="148" y="179"/>
                    </a:lnTo>
                    <a:lnTo>
                      <a:pt x="145" y="179"/>
                    </a:lnTo>
                    <a:lnTo>
                      <a:pt x="143" y="182"/>
                    </a:lnTo>
                    <a:lnTo>
                      <a:pt x="141" y="179"/>
                    </a:lnTo>
                    <a:lnTo>
                      <a:pt x="143" y="177"/>
                    </a:lnTo>
                    <a:lnTo>
                      <a:pt x="141" y="173"/>
                    </a:lnTo>
                    <a:lnTo>
                      <a:pt x="140" y="170"/>
                    </a:lnTo>
                    <a:lnTo>
                      <a:pt x="140" y="172"/>
                    </a:lnTo>
                    <a:lnTo>
                      <a:pt x="140" y="170"/>
                    </a:lnTo>
                    <a:lnTo>
                      <a:pt x="138" y="168"/>
                    </a:lnTo>
                    <a:lnTo>
                      <a:pt x="135" y="170"/>
                    </a:lnTo>
                    <a:lnTo>
                      <a:pt x="131" y="170"/>
                    </a:lnTo>
                    <a:lnTo>
                      <a:pt x="131" y="172"/>
                    </a:lnTo>
                    <a:lnTo>
                      <a:pt x="128" y="175"/>
                    </a:lnTo>
                    <a:lnTo>
                      <a:pt x="126" y="175"/>
                    </a:lnTo>
                    <a:lnTo>
                      <a:pt x="124" y="177"/>
                    </a:lnTo>
                    <a:lnTo>
                      <a:pt x="123" y="177"/>
                    </a:lnTo>
                    <a:lnTo>
                      <a:pt x="119" y="179"/>
                    </a:lnTo>
                    <a:lnTo>
                      <a:pt x="114" y="179"/>
                    </a:lnTo>
                    <a:lnTo>
                      <a:pt x="112" y="180"/>
                    </a:lnTo>
                    <a:lnTo>
                      <a:pt x="107" y="180"/>
                    </a:lnTo>
                    <a:lnTo>
                      <a:pt x="106" y="182"/>
                    </a:lnTo>
                    <a:lnTo>
                      <a:pt x="104" y="180"/>
                    </a:lnTo>
                    <a:lnTo>
                      <a:pt x="102" y="182"/>
                    </a:lnTo>
                    <a:lnTo>
                      <a:pt x="101" y="179"/>
                    </a:lnTo>
                    <a:lnTo>
                      <a:pt x="99" y="179"/>
                    </a:lnTo>
                    <a:lnTo>
                      <a:pt x="99" y="177"/>
                    </a:lnTo>
                    <a:lnTo>
                      <a:pt x="97" y="177"/>
                    </a:lnTo>
                    <a:lnTo>
                      <a:pt x="95" y="172"/>
                    </a:lnTo>
                    <a:lnTo>
                      <a:pt x="94" y="172"/>
                    </a:lnTo>
                    <a:lnTo>
                      <a:pt x="92" y="170"/>
                    </a:lnTo>
                    <a:lnTo>
                      <a:pt x="92" y="168"/>
                    </a:lnTo>
                    <a:lnTo>
                      <a:pt x="89" y="167"/>
                    </a:lnTo>
                    <a:lnTo>
                      <a:pt x="89" y="168"/>
                    </a:lnTo>
                    <a:lnTo>
                      <a:pt x="87" y="168"/>
                    </a:lnTo>
                    <a:lnTo>
                      <a:pt x="84" y="167"/>
                    </a:lnTo>
                    <a:lnTo>
                      <a:pt x="82" y="165"/>
                    </a:lnTo>
                    <a:lnTo>
                      <a:pt x="80" y="165"/>
                    </a:lnTo>
                    <a:lnTo>
                      <a:pt x="80" y="163"/>
                    </a:lnTo>
                    <a:lnTo>
                      <a:pt x="78" y="163"/>
                    </a:lnTo>
                    <a:lnTo>
                      <a:pt x="78" y="162"/>
                    </a:lnTo>
                    <a:lnTo>
                      <a:pt x="77" y="162"/>
                    </a:lnTo>
                    <a:lnTo>
                      <a:pt x="77" y="160"/>
                    </a:lnTo>
                    <a:lnTo>
                      <a:pt x="75" y="156"/>
                    </a:lnTo>
                    <a:lnTo>
                      <a:pt x="68" y="168"/>
                    </a:lnTo>
                    <a:lnTo>
                      <a:pt x="55" y="192"/>
                    </a:lnTo>
                    <a:lnTo>
                      <a:pt x="53" y="192"/>
                    </a:lnTo>
                    <a:lnTo>
                      <a:pt x="53" y="190"/>
                    </a:lnTo>
                    <a:lnTo>
                      <a:pt x="53" y="189"/>
                    </a:lnTo>
                    <a:lnTo>
                      <a:pt x="51" y="189"/>
                    </a:lnTo>
                    <a:lnTo>
                      <a:pt x="48" y="187"/>
                    </a:lnTo>
                    <a:lnTo>
                      <a:pt x="50" y="185"/>
                    </a:lnTo>
                    <a:lnTo>
                      <a:pt x="48" y="185"/>
                    </a:lnTo>
                    <a:lnTo>
                      <a:pt x="48" y="184"/>
                    </a:lnTo>
                    <a:lnTo>
                      <a:pt x="46" y="180"/>
                    </a:lnTo>
                    <a:lnTo>
                      <a:pt x="44" y="180"/>
                    </a:lnTo>
                    <a:lnTo>
                      <a:pt x="41" y="180"/>
                    </a:lnTo>
                    <a:lnTo>
                      <a:pt x="39" y="180"/>
                    </a:lnTo>
                    <a:lnTo>
                      <a:pt x="38" y="180"/>
                    </a:lnTo>
                    <a:lnTo>
                      <a:pt x="36" y="182"/>
                    </a:lnTo>
                    <a:lnTo>
                      <a:pt x="34" y="185"/>
                    </a:lnTo>
                    <a:lnTo>
                      <a:pt x="33" y="189"/>
                    </a:lnTo>
                    <a:lnTo>
                      <a:pt x="31" y="189"/>
                    </a:lnTo>
                    <a:lnTo>
                      <a:pt x="29" y="189"/>
                    </a:lnTo>
                    <a:lnTo>
                      <a:pt x="27" y="187"/>
                    </a:lnTo>
                    <a:lnTo>
                      <a:pt x="21" y="185"/>
                    </a:lnTo>
                    <a:lnTo>
                      <a:pt x="21" y="187"/>
                    </a:lnTo>
                    <a:lnTo>
                      <a:pt x="16" y="185"/>
                    </a:lnTo>
                    <a:lnTo>
                      <a:pt x="12" y="187"/>
                    </a:lnTo>
                    <a:lnTo>
                      <a:pt x="10" y="185"/>
                    </a:lnTo>
                    <a:lnTo>
                      <a:pt x="7" y="187"/>
                    </a:lnTo>
                    <a:lnTo>
                      <a:pt x="5" y="187"/>
                    </a:lnTo>
                    <a:lnTo>
                      <a:pt x="5" y="189"/>
                    </a:lnTo>
                    <a:lnTo>
                      <a:pt x="4" y="185"/>
                    </a:lnTo>
                    <a:lnTo>
                      <a:pt x="4" y="175"/>
                    </a:lnTo>
                    <a:lnTo>
                      <a:pt x="2" y="163"/>
                    </a:lnTo>
                    <a:lnTo>
                      <a:pt x="0" y="143"/>
                    </a:lnTo>
                    <a:lnTo>
                      <a:pt x="5" y="139"/>
                    </a:lnTo>
                    <a:lnTo>
                      <a:pt x="10" y="128"/>
                    </a:lnTo>
                    <a:lnTo>
                      <a:pt x="9" y="128"/>
                    </a:lnTo>
                    <a:lnTo>
                      <a:pt x="12" y="114"/>
                    </a:lnTo>
                    <a:lnTo>
                      <a:pt x="16" y="109"/>
                    </a:lnTo>
                    <a:lnTo>
                      <a:pt x="22" y="90"/>
                    </a:lnTo>
                    <a:lnTo>
                      <a:pt x="26" y="87"/>
                    </a:lnTo>
                    <a:lnTo>
                      <a:pt x="24" y="85"/>
                    </a:lnTo>
                    <a:lnTo>
                      <a:pt x="26" y="80"/>
                    </a:lnTo>
                    <a:lnTo>
                      <a:pt x="24" y="78"/>
                    </a:lnTo>
                    <a:lnTo>
                      <a:pt x="22" y="75"/>
                    </a:lnTo>
                    <a:lnTo>
                      <a:pt x="22" y="71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26" y="66"/>
                    </a:lnTo>
                    <a:lnTo>
                      <a:pt x="27" y="65"/>
                    </a:lnTo>
                    <a:lnTo>
                      <a:pt x="27" y="63"/>
                    </a:lnTo>
                    <a:lnTo>
                      <a:pt x="29" y="59"/>
                    </a:lnTo>
                    <a:lnTo>
                      <a:pt x="27" y="58"/>
                    </a:lnTo>
                    <a:lnTo>
                      <a:pt x="29" y="56"/>
                    </a:lnTo>
                    <a:lnTo>
                      <a:pt x="26" y="53"/>
                    </a:lnTo>
                    <a:lnTo>
                      <a:pt x="29" y="49"/>
                    </a:lnTo>
                    <a:lnTo>
                      <a:pt x="27" y="46"/>
                    </a:lnTo>
                    <a:lnTo>
                      <a:pt x="29" y="46"/>
                    </a:lnTo>
                    <a:lnTo>
                      <a:pt x="31" y="46"/>
                    </a:lnTo>
                    <a:lnTo>
                      <a:pt x="33" y="46"/>
                    </a:lnTo>
                    <a:lnTo>
                      <a:pt x="36" y="48"/>
                    </a:lnTo>
                    <a:lnTo>
                      <a:pt x="43" y="46"/>
                    </a:lnTo>
                    <a:lnTo>
                      <a:pt x="48" y="48"/>
                    </a:lnTo>
                    <a:lnTo>
                      <a:pt x="50" y="46"/>
                    </a:lnTo>
                    <a:lnTo>
                      <a:pt x="51" y="44"/>
                    </a:lnTo>
                    <a:lnTo>
                      <a:pt x="53" y="41"/>
                    </a:lnTo>
                    <a:lnTo>
                      <a:pt x="55" y="41"/>
                    </a:lnTo>
                    <a:lnTo>
                      <a:pt x="53" y="37"/>
                    </a:lnTo>
                    <a:lnTo>
                      <a:pt x="55" y="37"/>
                    </a:lnTo>
                    <a:lnTo>
                      <a:pt x="53" y="34"/>
                    </a:lnTo>
                    <a:lnTo>
                      <a:pt x="60" y="32"/>
                    </a:lnTo>
                    <a:lnTo>
                      <a:pt x="67" y="31"/>
                    </a:lnTo>
                    <a:lnTo>
                      <a:pt x="68" y="25"/>
                    </a:lnTo>
                    <a:lnTo>
                      <a:pt x="72" y="25"/>
                    </a:lnTo>
                    <a:lnTo>
                      <a:pt x="73" y="27"/>
                    </a:lnTo>
                    <a:lnTo>
                      <a:pt x="77" y="27"/>
                    </a:lnTo>
                    <a:lnTo>
                      <a:pt x="77" y="25"/>
                    </a:lnTo>
                    <a:lnTo>
                      <a:pt x="78" y="22"/>
                    </a:lnTo>
                    <a:lnTo>
                      <a:pt x="80" y="22"/>
                    </a:lnTo>
                    <a:lnTo>
                      <a:pt x="82" y="22"/>
                    </a:lnTo>
                    <a:lnTo>
                      <a:pt x="82" y="24"/>
                    </a:lnTo>
                    <a:lnTo>
                      <a:pt x="84" y="24"/>
                    </a:lnTo>
                    <a:lnTo>
                      <a:pt x="84" y="22"/>
                    </a:lnTo>
                    <a:lnTo>
                      <a:pt x="85" y="20"/>
                    </a:lnTo>
                    <a:lnTo>
                      <a:pt x="85" y="22"/>
                    </a:lnTo>
                    <a:lnTo>
                      <a:pt x="87" y="20"/>
                    </a:lnTo>
                    <a:lnTo>
                      <a:pt x="89" y="22"/>
                    </a:lnTo>
                    <a:lnTo>
                      <a:pt x="90" y="22"/>
                    </a:lnTo>
                    <a:lnTo>
                      <a:pt x="92" y="22"/>
                    </a:lnTo>
                    <a:lnTo>
                      <a:pt x="94" y="19"/>
                    </a:lnTo>
                    <a:lnTo>
                      <a:pt x="97" y="17"/>
                    </a:lnTo>
                    <a:lnTo>
                      <a:pt x="97" y="14"/>
                    </a:lnTo>
                    <a:lnTo>
                      <a:pt x="102" y="5"/>
                    </a:lnTo>
                    <a:lnTo>
                      <a:pt x="107" y="0"/>
                    </a:lnTo>
                    <a:lnTo>
                      <a:pt x="109" y="3"/>
                    </a:lnTo>
                    <a:lnTo>
                      <a:pt x="112" y="5"/>
                    </a:lnTo>
                    <a:lnTo>
                      <a:pt x="112" y="8"/>
                    </a:lnTo>
                    <a:lnTo>
                      <a:pt x="121" y="19"/>
                    </a:lnTo>
                    <a:lnTo>
                      <a:pt x="126" y="29"/>
                    </a:lnTo>
                    <a:lnTo>
                      <a:pt x="128" y="39"/>
                    </a:lnTo>
                    <a:lnTo>
                      <a:pt x="129" y="41"/>
                    </a:lnTo>
                    <a:lnTo>
                      <a:pt x="129" y="42"/>
                    </a:lnTo>
                    <a:lnTo>
                      <a:pt x="133" y="56"/>
                    </a:lnTo>
                    <a:lnTo>
                      <a:pt x="138" y="66"/>
                    </a:lnTo>
                    <a:lnTo>
                      <a:pt x="138" y="68"/>
                    </a:lnTo>
                    <a:lnTo>
                      <a:pt x="136" y="70"/>
                    </a:lnTo>
                    <a:lnTo>
                      <a:pt x="138" y="73"/>
                    </a:lnTo>
                    <a:lnTo>
                      <a:pt x="138" y="75"/>
                    </a:lnTo>
                    <a:lnTo>
                      <a:pt x="138" y="76"/>
                    </a:lnTo>
                    <a:lnTo>
                      <a:pt x="140" y="78"/>
                    </a:lnTo>
                    <a:lnTo>
                      <a:pt x="140" y="87"/>
                    </a:lnTo>
                    <a:lnTo>
                      <a:pt x="141" y="97"/>
                    </a:lnTo>
                    <a:lnTo>
                      <a:pt x="145" y="105"/>
                    </a:lnTo>
                    <a:lnTo>
                      <a:pt x="152" y="110"/>
                    </a:lnTo>
                    <a:lnTo>
                      <a:pt x="152" y="114"/>
                    </a:lnTo>
                    <a:lnTo>
                      <a:pt x="153" y="117"/>
                    </a:lnTo>
                    <a:lnTo>
                      <a:pt x="155" y="119"/>
                    </a:lnTo>
                    <a:lnTo>
                      <a:pt x="153" y="119"/>
                    </a:lnTo>
                    <a:lnTo>
                      <a:pt x="155" y="121"/>
                    </a:lnTo>
                    <a:lnTo>
                      <a:pt x="153" y="121"/>
                    </a:lnTo>
                    <a:lnTo>
                      <a:pt x="152" y="121"/>
                    </a:lnTo>
                    <a:lnTo>
                      <a:pt x="153" y="124"/>
                    </a:lnTo>
                    <a:lnTo>
                      <a:pt x="155" y="126"/>
                    </a:lnTo>
                    <a:lnTo>
                      <a:pt x="158" y="124"/>
                    </a:lnTo>
                    <a:lnTo>
                      <a:pt x="160" y="126"/>
                    </a:lnTo>
                    <a:lnTo>
                      <a:pt x="162" y="128"/>
                    </a:lnTo>
                    <a:lnTo>
                      <a:pt x="163" y="134"/>
                    </a:lnTo>
                    <a:lnTo>
                      <a:pt x="165" y="138"/>
                    </a:lnTo>
                    <a:lnTo>
                      <a:pt x="165" y="145"/>
                    </a:lnTo>
                    <a:lnTo>
                      <a:pt x="165" y="146"/>
                    </a:lnTo>
                    <a:lnTo>
                      <a:pt x="169" y="146"/>
                    </a:lnTo>
                    <a:lnTo>
                      <a:pt x="169" y="148"/>
                    </a:lnTo>
                    <a:lnTo>
                      <a:pt x="170" y="148"/>
                    </a:lnTo>
                    <a:lnTo>
                      <a:pt x="172" y="145"/>
                    </a:lnTo>
                    <a:lnTo>
                      <a:pt x="174" y="143"/>
                    </a:lnTo>
                    <a:lnTo>
                      <a:pt x="172" y="138"/>
                    </a:lnTo>
                    <a:lnTo>
                      <a:pt x="170" y="138"/>
                    </a:lnTo>
                    <a:lnTo>
                      <a:pt x="170" y="139"/>
                    </a:lnTo>
                    <a:lnTo>
                      <a:pt x="170" y="138"/>
                    </a:lnTo>
                    <a:lnTo>
                      <a:pt x="169" y="136"/>
                    </a:lnTo>
                    <a:lnTo>
                      <a:pt x="170" y="134"/>
                    </a:lnTo>
                    <a:lnTo>
                      <a:pt x="169" y="131"/>
                    </a:lnTo>
                    <a:lnTo>
                      <a:pt x="170" y="131"/>
                    </a:lnTo>
                    <a:lnTo>
                      <a:pt x="170" y="129"/>
                    </a:lnTo>
                    <a:lnTo>
                      <a:pt x="172" y="129"/>
                    </a:lnTo>
                    <a:lnTo>
                      <a:pt x="172" y="128"/>
                    </a:lnTo>
                    <a:lnTo>
                      <a:pt x="172" y="129"/>
                    </a:lnTo>
                    <a:lnTo>
                      <a:pt x="172" y="128"/>
                    </a:lnTo>
                    <a:lnTo>
                      <a:pt x="174" y="128"/>
                    </a:lnTo>
                    <a:lnTo>
                      <a:pt x="174" y="126"/>
                    </a:lnTo>
                    <a:lnTo>
                      <a:pt x="175" y="129"/>
                    </a:lnTo>
                    <a:lnTo>
                      <a:pt x="179" y="129"/>
                    </a:lnTo>
                    <a:lnTo>
                      <a:pt x="179" y="131"/>
                    </a:lnTo>
                    <a:lnTo>
                      <a:pt x="186" y="134"/>
                    </a:lnTo>
                    <a:lnTo>
                      <a:pt x="184" y="136"/>
                    </a:lnTo>
                    <a:lnTo>
                      <a:pt x="182" y="139"/>
                    </a:lnTo>
                    <a:lnTo>
                      <a:pt x="184" y="139"/>
                    </a:lnTo>
                    <a:lnTo>
                      <a:pt x="182" y="141"/>
                    </a:lnTo>
                    <a:lnTo>
                      <a:pt x="186" y="141"/>
                    </a:lnTo>
                    <a:lnTo>
                      <a:pt x="184" y="143"/>
                    </a:lnTo>
                    <a:lnTo>
                      <a:pt x="184" y="141"/>
                    </a:lnTo>
                    <a:lnTo>
                      <a:pt x="182" y="141"/>
                    </a:lnTo>
                    <a:lnTo>
                      <a:pt x="186" y="145"/>
                    </a:lnTo>
                    <a:lnTo>
                      <a:pt x="186" y="148"/>
                    </a:lnTo>
                    <a:lnTo>
                      <a:pt x="186" y="146"/>
                    </a:lnTo>
                    <a:lnTo>
                      <a:pt x="186" y="148"/>
                    </a:lnTo>
                    <a:lnTo>
                      <a:pt x="187" y="148"/>
                    </a:lnTo>
                    <a:lnTo>
                      <a:pt x="189" y="150"/>
                    </a:lnTo>
                    <a:lnTo>
                      <a:pt x="189" y="151"/>
                    </a:lnTo>
                    <a:lnTo>
                      <a:pt x="191" y="155"/>
                    </a:lnTo>
                    <a:lnTo>
                      <a:pt x="194" y="155"/>
                    </a:lnTo>
                    <a:lnTo>
                      <a:pt x="196" y="156"/>
                    </a:lnTo>
                    <a:lnTo>
                      <a:pt x="197" y="155"/>
                    </a:lnTo>
                    <a:lnTo>
                      <a:pt x="199" y="155"/>
                    </a:lnTo>
                    <a:lnTo>
                      <a:pt x="199" y="151"/>
                    </a:lnTo>
                    <a:lnTo>
                      <a:pt x="201" y="151"/>
                    </a:lnTo>
                    <a:lnTo>
                      <a:pt x="199" y="153"/>
                    </a:lnTo>
                    <a:lnTo>
                      <a:pt x="201" y="155"/>
                    </a:lnTo>
                    <a:lnTo>
                      <a:pt x="203" y="153"/>
                    </a:lnTo>
                    <a:lnTo>
                      <a:pt x="201" y="153"/>
                    </a:lnTo>
                    <a:lnTo>
                      <a:pt x="203" y="151"/>
                    </a:lnTo>
                    <a:lnTo>
                      <a:pt x="204" y="151"/>
                    </a:lnTo>
                    <a:lnTo>
                      <a:pt x="204" y="153"/>
                    </a:lnTo>
                    <a:lnTo>
                      <a:pt x="203" y="153"/>
                    </a:lnTo>
                    <a:lnTo>
                      <a:pt x="206" y="153"/>
                    </a:lnTo>
                    <a:lnTo>
                      <a:pt x="208" y="153"/>
                    </a:lnTo>
                    <a:lnTo>
                      <a:pt x="208" y="150"/>
                    </a:lnTo>
                    <a:lnTo>
                      <a:pt x="209" y="151"/>
                    </a:lnTo>
                    <a:lnTo>
                      <a:pt x="209" y="153"/>
                    </a:lnTo>
                    <a:lnTo>
                      <a:pt x="209" y="155"/>
                    </a:lnTo>
                    <a:lnTo>
                      <a:pt x="213" y="153"/>
                    </a:lnTo>
                    <a:lnTo>
                      <a:pt x="213" y="155"/>
                    </a:lnTo>
                    <a:lnTo>
                      <a:pt x="211" y="156"/>
                    </a:lnTo>
                    <a:lnTo>
                      <a:pt x="214" y="156"/>
                    </a:lnTo>
                    <a:lnTo>
                      <a:pt x="216" y="156"/>
                    </a:lnTo>
                    <a:lnTo>
                      <a:pt x="216" y="158"/>
                    </a:lnTo>
                    <a:lnTo>
                      <a:pt x="216" y="156"/>
                    </a:lnTo>
                    <a:lnTo>
                      <a:pt x="214" y="158"/>
                    </a:lnTo>
                    <a:lnTo>
                      <a:pt x="216" y="158"/>
                    </a:lnTo>
                    <a:lnTo>
                      <a:pt x="218" y="158"/>
                    </a:lnTo>
                    <a:lnTo>
                      <a:pt x="216" y="158"/>
                    </a:lnTo>
                    <a:lnTo>
                      <a:pt x="218" y="160"/>
                    </a:lnTo>
                    <a:lnTo>
                      <a:pt x="218" y="162"/>
                    </a:lnTo>
                    <a:lnTo>
                      <a:pt x="220" y="162"/>
                    </a:lnTo>
                    <a:lnTo>
                      <a:pt x="218" y="163"/>
                    </a:lnTo>
                    <a:lnTo>
                      <a:pt x="218" y="165"/>
                    </a:lnTo>
                    <a:lnTo>
                      <a:pt x="220" y="165"/>
                    </a:lnTo>
                    <a:lnTo>
                      <a:pt x="221" y="165"/>
                    </a:lnTo>
                    <a:lnTo>
                      <a:pt x="220" y="165"/>
                    </a:lnTo>
                    <a:lnTo>
                      <a:pt x="220" y="167"/>
                    </a:lnTo>
                    <a:lnTo>
                      <a:pt x="221" y="165"/>
                    </a:lnTo>
                    <a:lnTo>
                      <a:pt x="221" y="167"/>
                    </a:lnTo>
                    <a:lnTo>
                      <a:pt x="223" y="165"/>
                    </a:lnTo>
                    <a:lnTo>
                      <a:pt x="226" y="165"/>
                    </a:lnTo>
                    <a:lnTo>
                      <a:pt x="228" y="167"/>
                    </a:lnTo>
                    <a:lnTo>
                      <a:pt x="230" y="167"/>
                    </a:lnTo>
                    <a:lnTo>
                      <a:pt x="230" y="168"/>
                    </a:lnTo>
                    <a:lnTo>
                      <a:pt x="233" y="168"/>
                    </a:lnTo>
                    <a:lnTo>
                      <a:pt x="240" y="170"/>
                    </a:lnTo>
                    <a:lnTo>
                      <a:pt x="242" y="173"/>
                    </a:lnTo>
                    <a:lnTo>
                      <a:pt x="247" y="177"/>
                    </a:lnTo>
                    <a:lnTo>
                      <a:pt x="248" y="182"/>
                    </a:lnTo>
                    <a:lnTo>
                      <a:pt x="252" y="184"/>
                    </a:lnTo>
                    <a:lnTo>
                      <a:pt x="252" y="187"/>
                    </a:lnTo>
                    <a:lnTo>
                      <a:pt x="257" y="190"/>
                    </a:lnTo>
                    <a:lnTo>
                      <a:pt x="259" y="196"/>
                    </a:lnTo>
                    <a:lnTo>
                      <a:pt x="264" y="201"/>
                    </a:lnTo>
                    <a:lnTo>
                      <a:pt x="265" y="206"/>
                    </a:lnTo>
                    <a:lnTo>
                      <a:pt x="267" y="206"/>
                    </a:lnTo>
                    <a:lnTo>
                      <a:pt x="269" y="206"/>
                    </a:lnTo>
                    <a:lnTo>
                      <a:pt x="272" y="206"/>
                    </a:lnTo>
                    <a:lnTo>
                      <a:pt x="274" y="209"/>
                    </a:lnTo>
                    <a:lnTo>
                      <a:pt x="277" y="209"/>
                    </a:lnTo>
                    <a:lnTo>
                      <a:pt x="279" y="209"/>
                    </a:lnTo>
                    <a:lnTo>
                      <a:pt x="281" y="209"/>
                    </a:lnTo>
                    <a:lnTo>
                      <a:pt x="281" y="211"/>
                    </a:lnTo>
                    <a:lnTo>
                      <a:pt x="282" y="211"/>
                    </a:lnTo>
                    <a:lnTo>
                      <a:pt x="282" y="214"/>
                    </a:lnTo>
                    <a:lnTo>
                      <a:pt x="284" y="214"/>
                    </a:lnTo>
                    <a:lnTo>
                      <a:pt x="284" y="216"/>
                    </a:lnTo>
                    <a:lnTo>
                      <a:pt x="286" y="216"/>
                    </a:lnTo>
                    <a:lnTo>
                      <a:pt x="288" y="221"/>
                    </a:lnTo>
                    <a:lnTo>
                      <a:pt x="289" y="219"/>
                    </a:lnTo>
                    <a:lnTo>
                      <a:pt x="289" y="221"/>
                    </a:lnTo>
                    <a:lnTo>
                      <a:pt x="293" y="224"/>
                    </a:lnTo>
                    <a:lnTo>
                      <a:pt x="294" y="224"/>
                    </a:lnTo>
                    <a:lnTo>
                      <a:pt x="293" y="223"/>
                    </a:lnTo>
                    <a:lnTo>
                      <a:pt x="293" y="221"/>
                    </a:lnTo>
                    <a:lnTo>
                      <a:pt x="291" y="221"/>
                    </a:lnTo>
                    <a:lnTo>
                      <a:pt x="293" y="221"/>
                    </a:lnTo>
                    <a:lnTo>
                      <a:pt x="289" y="219"/>
                    </a:lnTo>
                    <a:lnTo>
                      <a:pt x="291" y="219"/>
                    </a:lnTo>
                    <a:lnTo>
                      <a:pt x="293" y="219"/>
                    </a:lnTo>
                    <a:lnTo>
                      <a:pt x="294" y="221"/>
                    </a:lnTo>
                    <a:lnTo>
                      <a:pt x="296" y="224"/>
                    </a:lnTo>
                    <a:lnTo>
                      <a:pt x="298" y="228"/>
                    </a:lnTo>
                    <a:lnTo>
                      <a:pt x="299" y="231"/>
                    </a:lnTo>
                    <a:lnTo>
                      <a:pt x="301" y="241"/>
                    </a:lnTo>
                    <a:lnTo>
                      <a:pt x="306" y="243"/>
                    </a:lnTo>
                    <a:lnTo>
                      <a:pt x="308" y="243"/>
                    </a:lnTo>
                    <a:lnTo>
                      <a:pt x="308" y="241"/>
                    </a:lnTo>
                    <a:lnTo>
                      <a:pt x="310" y="241"/>
                    </a:lnTo>
                    <a:lnTo>
                      <a:pt x="310" y="243"/>
                    </a:lnTo>
                    <a:lnTo>
                      <a:pt x="311" y="245"/>
                    </a:lnTo>
                    <a:lnTo>
                      <a:pt x="313" y="247"/>
                    </a:lnTo>
                    <a:lnTo>
                      <a:pt x="316" y="250"/>
                    </a:lnTo>
                    <a:lnTo>
                      <a:pt x="320" y="252"/>
                    </a:lnTo>
                    <a:lnTo>
                      <a:pt x="320" y="253"/>
                    </a:lnTo>
                    <a:lnTo>
                      <a:pt x="318" y="255"/>
                    </a:lnTo>
                    <a:lnTo>
                      <a:pt x="320" y="257"/>
                    </a:lnTo>
                    <a:lnTo>
                      <a:pt x="320" y="258"/>
                    </a:lnTo>
                    <a:lnTo>
                      <a:pt x="322" y="260"/>
                    </a:lnTo>
                    <a:lnTo>
                      <a:pt x="325" y="260"/>
                    </a:lnTo>
                    <a:lnTo>
                      <a:pt x="327" y="262"/>
                    </a:lnTo>
                    <a:lnTo>
                      <a:pt x="328" y="262"/>
                    </a:lnTo>
                    <a:lnTo>
                      <a:pt x="328" y="264"/>
                    </a:lnTo>
                    <a:lnTo>
                      <a:pt x="332" y="262"/>
                    </a:lnTo>
                    <a:lnTo>
                      <a:pt x="332" y="260"/>
                    </a:lnTo>
                    <a:lnTo>
                      <a:pt x="332" y="258"/>
                    </a:lnTo>
                    <a:lnTo>
                      <a:pt x="330" y="257"/>
                    </a:lnTo>
                    <a:lnTo>
                      <a:pt x="332" y="255"/>
                    </a:lnTo>
                    <a:lnTo>
                      <a:pt x="330" y="255"/>
                    </a:lnTo>
                    <a:lnTo>
                      <a:pt x="332" y="255"/>
                    </a:lnTo>
                    <a:lnTo>
                      <a:pt x="333" y="258"/>
                    </a:lnTo>
                    <a:lnTo>
                      <a:pt x="337" y="260"/>
                    </a:lnTo>
                    <a:lnTo>
                      <a:pt x="337" y="265"/>
                    </a:lnTo>
                    <a:lnTo>
                      <a:pt x="339" y="267"/>
                    </a:lnTo>
                    <a:close/>
                    <a:moveTo>
                      <a:pt x="182" y="107"/>
                    </a:moveTo>
                    <a:lnTo>
                      <a:pt x="184" y="109"/>
                    </a:lnTo>
                    <a:lnTo>
                      <a:pt x="186" y="110"/>
                    </a:lnTo>
                    <a:lnTo>
                      <a:pt x="186" y="112"/>
                    </a:lnTo>
                    <a:lnTo>
                      <a:pt x="187" y="112"/>
                    </a:lnTo>
                    <a:lnTo>
                      <a:pt x="186" y="110"/>
                    </a:lnTo>
                    <a:lnTo>
                      <a:pt x="187" y="110"/>
                    </a:lnTo>
                    <a:lnTo>
                      <a:pt x="187" y="116"/>
                    </a:lnTo>
                    <a:lnTo>
                      <a:pt x="189" y="119"/>
                    </a:lnTo>
                    <a:lnTo>
                      <a:pt x="192" y="121"/>
                    </a:lnTo>
                    <a:lnTo>
                      <a:pt x="194" y="119"/>
                    </a:lnTo>
                    <a:lnTo>
                      <a:pt x="196" y="119"/>
                    </a:lnTo>
                    <a:lnTo>
                      <a:pt x="191" y="117"/>
                    </a:lnTo>
                    <a:lnTo>
                      <a:pt x="192" y="117"/>
                    </a:lnTo>
                    <a:lnTo>
                      <a:pt x="194" y="116"/>
                    </a:lnTo>
                    <a:lnTo>
                      <a:pt x="196" y="116"/>
                    </a:lnTo>
                    <a:lnTo>
                      <a:pt x="197" y="119"/>
                    </a:lnTo>
                    <a:lnTo>
                      <a:pt x="199" y="119"/>
                    </a:lnTo>
                    <a:lnTo>
                      <a:pt x="199" y="121"/>
                    </a:lnTo>
                    <a:lnTo>
                      <a:pt x="201" y="119"/>
                    </a:lnTo>
                    <a:lnTo>
                      <a:pt x="203" y="122"/>
                    </a:lnTo>
                    <a:lnTo>
                      <a:pt x="199" y="122"/>
                    </a:lnTo>
                    <a:lnTo>
                      <a:pt x="196" y="122"/>
                    </a:lnTo>
                    <a:lnTo>
                      <a:pt x="192" y="122"/>
                    </a:lnTo>
                    <a:lnTo>
                      <a:pt x="189" y="122"/>
                    </a:lnTo>
                    <a:lnTo>
                      <a:pt x="187" y="121"/>
                    </a:lnTo>
                    <a:lnTo>
                      <a:pt x="186" y="122"/>
                    </a:lnTo>
                    <a:lnTo>
                      <a:pt x="184" y="122"/>
                    </a:lnTo>
                    <a:lnTo>
                      <a:pt x="182" y="121"/>
                    </a:lnTo>
                    <a:lnTo>
                      <a:pt x="179" y="121"/>
                    </a:lnTo>
                    <a:lnTo>
                      <a:pt x="179" y="119"/>
                    </a:lnTo>
                    <a:lnTo>
                      <a:pt x="177" y="116"/>
                    </a:lnTo>
                    <a:lnTo>
                      <a:pt x="179" y="117"/>
                    </a:lnTo>
                    <a:lnTo>
                      <a:pt x="180" y="119"/>
                    </a:lnTo>
                    <a:lnTo>
                      <a:pt x="180" y="117"/>
                    </a:lnTo>
                    <a:lnTo>
                      <a:pt x="180" y="119"/>
                    </a:lnTo>
                    <a:lnTo>
                      <a:pt x="182" y="119"/>
                    </a:lnTo>
                    <a:lnTo>
                      <a:pt x="184" y="119"/>
                    </a:lnTo>
                    <a:lnTo>
                      <a:pt x="184" y="117"/>
                    </a:lnTo>
                    <a:lnTo>
                      <a:pt x="180" y="114"/>
                    </a:lnTo>
                    <a:lnTo>
                      <a:pt x="179" y="114"/>
                    </a:lnTo>
                    <a:lnTo>
                      <a:pt x="179" y="116"/>
                    </a:lnTo>
                    <a:lnTo>
                      <a:pt x="177" y="114"/>
                    </a:lnTo>
                    <a:lnTo>
                      <a:pt x="177" y="112"/>
                    </a:lnTo>
                    <a:lnTo>
                      <a:pt x="180" y="112"/>
                    </a:lnTo>
                    <a:lnTo>
                      <a:pt x="180" y="110"/>
                    </a:lnTo>
                    <a:lnTo>
                      <a:pt x="180" y="109"/>
                    </a:lnTo>
                    <a:lnTo>
                      <a:pt x="182" y="110"/>
                    </a:lnTo>
                    <a:lnTo>
                      <a:pt x="182" y="109"/>
                    </a:lnTo>
                    <a:lnTo>
                      <a:pt x="180" y="109"/>
                    </a:lnTo>
                    <a:lnTo>
                      <a:pt x="180" y="107"/>
                    </a:lnTo>
                    <a:lnTo>
                      <a:pt x="179" y="107"/>
                    </a:lnTo>
                    <a:lnTo>
                      <a:pt x="182" y="107"/>
                    </a:lnTo>
                    <a:close/>
                    <a:moveTo>
                      <a:pt x="184" y="97"/>
                    </a:moveTo>
                    <a:lnTo>
                      <a:pt x="187" y="97"/>
                    </a:lnTo>
                    <a:lnTo>
                      <a:pt x="187" y="99"/>
                    </a:lnTo>
                    <a:lnTo>
                      <a:pt x="186" y="99"/>
                    </a:lnTo>
                    <a:lnTo>
                      <a:pt x="184" y="99"/>
                    </a:lnTo>
                    <a:lnTo>
                      <a:pt x="184" y="100"/>
                    </a:lnTo>
                    <a:lnTo>
                      <a:pt x="187" y="102"/>
                    </a:lnTo>
                    <a:lnTo>
                      <a:pt x="184" y="102"/>
                    </a:lnTo>
                    <a:lnTo>
                      <a:pt x="182" y="100"/>
                    </a:lnTo>
                    <a:lnTo>
                      <a:pt x="180" y="100"/>
                    </a:lnTo>
                    <a:lnTo>
                      <a:pt x="180" y="99"/>
                    </a:lnTo>
                    <a:lnTo>
                      <a:pt x="182" y="99"/>
                    </a:lnTo>
                    <a:lnTo>
                      <a:pt x="182" y="95"/>
                    </a:lnTo>
                    <a:lnTo>
                      <a:pt x="184" y="97"/>
                    </a:lnTo>
                    <a:close/>
                    <a:moveTo>
                      <a:pt x="197" y="148"/>
                    </a:moveTo>
                    <a:lnTo>
                      <a:pt x="197" y="151"/>
                    </a:lnTo>
                    <a:lnTo>
                      <a:pt x="196" y="153"/>
                    </a:lnTo>
                    <a:lnTo>
                      <a:pt x="194" y="153"/>
                    </a:lnTo>
                    <a:lnTo>
                      <a:pt x="194" y="151"/>
                    </a:lnTo>
                    <a:lnTo>
                      <a:pt x="196" y="148"/>
                    </a:lnTo>
                    <a:lnTo>
                      <a:pt x="197" y="148"/>
                    </a:lnTo>
                    <a:close/>
                    <a:moveTo>
                      <a:pt x="194" y="143"/>
                    </a:moveTo>
                    <a:lnTo>
                      <a:pt x="194" y="145"/>
                    </a:lnTo>
                    <a:lnTo>
                      <a:pt x="194" y="146"/>
                    </a:lnTo>
                    <a:lnTo>
                      <a:pt x="192" y="145"/>
                    </a:lnTo>
                    <a:lnTo>
                      <a:pt x="192" y="143"/>
                    </a:lnTo>
                    <a:lnTo>
                      <a:pt x="196" y="141"/>
                    </a:lnTo>
                    <a:lnTo>
                      <a:pt x="194" y="143"/>
                    </a:lnTo>
                    <a:close/>
                    <a:moveTo>
                      <a:pt x="189" y="93"/>
                    </a:moveTo>
                    <a:lnTo>
                      <a:pt x="189" y="95"/>
                    </a:lnTo>
                    <a:lnTo>
                      <a:pt x="187" y="97"/>
                    </a:lnTo>
                    <a:lnTo>
                      <a:pt x="187" y="95"/>
                    </a:lnTo>
                    <a:lnTo>
                      <a:pt x="189" y="93"/>
                    </a:lnTo>
                    <a:lnTo>
                      <a:pt x="189" y="92"/>
                    </a:lnTo>
                    <a:lnTo>
                      <a:pt x="191" y="93"/>
                    </a:lnTo>
                    <a:lnTo>
                      <a:pt x="189" y="93"/>
                    </a:lnTo>
                    <a:close/>
                    <a:moveTo>
                      <a:pt x="191" y="114"/>
                    </a:moveTo>
                    <a:lnTo>
                      <a:pt x="191" y="117"/>
                    </a:lnTo>
                    <a:lnTo>
                      <a:pt x="189" y="117"/>
                    </a:lnTo>
                    <a:lnTo>
                      <a:pt x="191" y="116"/>
                    </a:lnTo>
                    <a:lnTo>
                      <a:pt x="189" y="114"/>
                    </a:lnTo>
                    <a:lnTo>
                      <a:pt x="191" y="114"/>
                    </a:lnTo>
                    <a:close/>
                    <a:moveTo>
                      <a:pt x="330" y="257"/>
                    </a:moveTo>
                    <a:lnTo>
                      <a:pt x="330" y="260"/>
                    </a:lnTo>
                    <a:lnTo>
                      <a:pt x="328" y="258"/>
                    </a:lnTo>
                    <a:lnTo>
                      <a:pt x="328" y="257"/>
                    </a:lnTo>
                    <a:lnTo>
                      <a:pt x="327" y="255"/>
                    </a:lnTo>
                    <a:lnTo>
                      <a:pt x="328" y="255"/>
                    </a:lnTo>
                    <a:lnTo>
                      <a:pt x="330" y="257"/>
                    </a:lnTo>
                    <a:close/>
                    <a:moveTo>
                      <a:pt x="189" y="73"/>
                    </a:moveTo>
                    <a:lnTo>
                      <a:pt x="191" y="75"/>
                    </a:lnTo>
                    <a:lnTo>
                      <a:pt x="187" y="75"/>
                    </a:lnTo>
                    <a:lnTo>
                      <a:pt x="187" y="76"/>
                    </a:lnTo>
                    <a:lnTo>
                      <a:pt x="187" y="75"/>
                    </a:lnTo>
                    <a:lnTo>
                      <a:pt x="189" y="73"/>
                    </a:lnTo>
                    <a:close/>
                    <a:moveTo>
                      <a:pt x="175" y="83"/>
                    </a:moveTo>
                    <a:lnTo>
                      <a:pt x="177" y="85"/>
                    </a:lnTo>
                    <a:lnTo>
                      <a:pt x="175" y="85"/>
                    </a:lnTo>
                    <a:lnTo>
                      <a:pt x="175" y="87"/>
                    </a:lnTo>
                    <a:lnTo>
                      <a:pt x="175" y="85"/>
                    </a:lnTo>
                    <a:lnTo>
                      <a:pt x="174" y="83"/>
                    </a:lnTo>
                    <a:lnTo>
                      <a:pt x="175" y="83"/>
                    </a:lnTo>
                    <a:close/>
                    <a:moveTo>
                      <a:pt x="153" y="93"/>
                    </a:moveTo>
                    <a:lnTo>
                      <a:pt x="155" y="97"/>
                    </a:lnTo>
                    <a:lnTo>
                      <a:pt x="155" y="99"/>
                    </a:lnTo>
                    <a:lnTo>
                      <a:pt x="153" y="99"/>
                    </a:lnTo>
                    <a:lnTo>
                      <a:pt x="153" y="95"/>
                    </a:lnTo>
                    <a:lnTo>
                      <a:pt x="152" y="93"/>
                    </a:lnTo>
                    <a:lnTo>
                      <a:pt x="153" y="93"/>
                    </a:lnTo>
                    <a:close/>
                    <a:moveTo>
                      <a:pt x="187" y="97"/>
                    </a:moveTo>
                    <a:lnTo>
                      <a:pt x="191" y="97"/>
                    </a:lnTo>
                    <a:lnTo>
                      <a:pt x="191" y="100"/>
                    </a:lnTo>
                    <a:lnTo>
                      <a:pt x="187" y="100"/>
                    </a:lnTo>
                    <a:lnTo>
                      <a:pt x="187" y="97"/>
                    </a:lnTo>
                    <a:close/>
                    <a:moveTo>
                      <a:pt x="192" y="139"/>
                    </a:moveTo>
                    <a:lnTo>
                      <a:pt x="194" y="139"/>
                    </a:lnTo>
                    <a:lnTo>
                      <a:pt x="194" y="141"/>
                    </a:lnTo>
                    <a:lnTo>
                      <a:pt x="192" y="141"/>
                    </a:lnTo>
                    <a:lnTo>
                      <a:pt x="192" y="139"/>
                    </a:lnTo>
                    <a:close/>
                    <a:moveTo>
                      <a:pt x="220" y="124"/>
                    </a:moveTo>
                    <a:lnTo>
                      <a:pt x="223" y="124"/>
                    </a:lnTo>
                    <a:lnTo>
                      <a:pt x="223" y="128"/>
                    </a:lnTo>
                    <a:lnTo>
                      <a:pt x="220" y="128"/>
                    </a:lnTo>
                    <a:lnTo>
                      <a:pt x="220" y="124"/>
                    </a:lnTo>
                    <a:close/>
                    <a:moveTo>
                      <a:pt x="160" y="104"/>
                    </a:moveTo>
                    <a:lnTo>
                      <a:pt x="163" y="104"/>
                    </a:lnTo>
                    <a:lnTo>
                      <a:pt x="163" y="105"/>
                    </a:lnTo>
                    <a:lnTo>
                      <a:pt x="160" y="105"/>
                    </a:lnTo>
                    <a:lnTo>
                      <a:pt x="160" y="104"/>
                    </a:lnTo>
                    <a:close/>
                    <a:moveTo>
                      <a:pt x="191" y="87"/>
                    </a:moveTo>
                    <a:lnTo>
                      <a:pt x="192" y="87"/>
                    </a:lnTo>
                    <a:lnTo>
                      <a:pt x="192" y="88"/>
                    </a:lnTo>
                    <a:lnTo>
                      <a:pt x="191" y="88"/>
                    </a:lnTo>
                    <a:lnTo>
                      <a:pt x="191" y="87"/>
                    </a:lnTo>
                    <a:close/>
                    <a:moveTo>
                      <a:pt x="325" y="250"/>
                    </a:moveTo>
                    <a:lnTo>
                      <a:pt x="327" y="250"/>
                    </a:lnTo>
                    <a:lnTo>
                      <a:pt x="327" y="252"/>
                    </a:lnTo>
                    <a:lnTo>
                      <a:pt x="325" y="252"/>
                    </a:lnTo>
                    <a:lnTo>
                      <a:pt x="325" y="250"/>
                    </a:lnTo>
                    <a:close/>
                    <a:moveTo>
                      <a:pt x="182" y="102"/>
                    </a:moveTo>
                    <a:lnTo>
                      <a:pt x="184" y="102"/>
                    </a:lnTo>
                    <a:lnTo>
                      <a:pt x="184" y="104"/>
                    </a:lnTo>
                    <a:lnTo>
                      <a:pt x="182" y="104"/>
                    </a:lnTo>
                    <a:lnTo>
                      <a:pt x="182" y="102"/>
                    </a:lnTo>
                    <a:close/>
                    <a:moveTo>
                      <a:pt x="323" y="253"/>
                    </a:moveTo>
                    <a:lnTo>
                      <a:pt x="325" y="253"/>
                    </a:lnTo>
                    <a:lnTo>
                      <a:pt x="325" y="255"/>
                    </a:lnTo>
                    <a:lnTo>
                      <a:pt x="323" y="255"/>
                    </a:lnTo>
                    <a:lnTo>
                      <a:pt x="323" y="253"/>
                    </a:lnTo>
                    <a:close/>
                    <a:moveTo>
                      <a:pt x="186" y="107"/>
                    </a:moveTo>
                    <a:lnTo>
                      <a:pt x="187" y="107"/>
                    </a:lnTo>
                    <a:lnTo>
                      <a:pt x="187" y="109"/>
                    </a:lnTo>
                    <a:lnTo>
                      <a:pt x="186" y="109"/>
                    </a:lnTo>
                    <a:lnTo>
                      <a:pt x="186" y="107"/>
                    </a:lnTo>
                    <a:close/>
                    <a:moveTo>
                      <a:pt x="169" y="129"/>
                    </a:moveTo>
                    <a:lnTo>
                      <a:pt x="167" y="128"/>
                    </a:lnTo>
                    <a:lnTo>
                      <a:pt x="167" y="126"/>
                    </a:lnTo>
                    <a:lnTo>
                      <a:pt x="169" y="129"/>
                    </a:lnTo>
                    <a:close/>
                    <a:moveTo>
                      <a:pt x="196" y="145"/>
                    </a:moveTo>
                    <a:lnTo>
                      <a:pt x="197" y="145"/>
                    </a:lnTo>
                    <a:lnTo>
                      <a:pt x="197" y="146"/>
                    </a:lnTo>
                    <a:lnTo>
                      <a:pt x="196" y="146"/>
                    </a:lnTo>
                    <a:lnTo>
                      <a:pt x="196" y="145"/>
                    </a:lnTo>
                    <a:close/>
                    <a:moveTo>
                      <a:pt x="197" y="126"/>
                    </a:moveTo>
                    <a:lnTo>
                      <a:pt x="201" y="126"/>
                    </a:lnTo>
                    <a:lnTo>
                      <a:pt x="201" y="128"/>
                    </a:lnTo>
                    <a:lnTo>
                      <a:pt x="197" y="128"/>
                    </a:lnTo>
                    <a:lnTo>
                      <a:pt x="197" y="126"/>
                    </a:lnTo>
                    <a:close/>
                    <a:moveTo>
                      <a:pt x="220" y="122"/>
                    </a:moveTo>
                    <a:lnTo>
                      <a:pt x="221" y="122"/>
                    </a:lnTo>
                    <a:lnTo>
                      <a:pt x="220" y="122"/>
                    </a:lnTo>
                    <a:close/>
                    <a:moveTo>
                      <a:pt x="177" y="114"/>
                    </a:moveTo>
                    <a:lnTo>
                      <a:pt x="179" y="114"/>
                    </a:lnTo>
                    <a:lnTo>
                      <a:pt x="179" y="116"/>
                    </a:lnTo>
                    <a:lnTo>
                      <a:pt x="177" y="116"/>
                    </a:lnTo>
                    <a:lnTo>
                      <a:pt x="177" y="114"/>
                    </a:lnTo>
                    <a:close/>
                    <a:moveTo>
                      <a:pt x="209" y="105"/>
                    </a:moveTo>
                    <a:lnTo>
                      <a:pt x="211" y="105"/>
                    </a:lnTo>
                    <a:lnTo>
                      <a:pt x="211" y="107"/>
                    </a:lnTo>
                    <a:lnTo>
                      <a:pt x="209" y="107"/>
                    </a:lnTo>
                    <a:lnTo>
                      <a:pt x="209" y="105"/>
                    </a:lnTo>
                    <a:close/>
                    <a:moveTo>
                      <a:pt x="179" y="124"/>
                    </a:moveTo>
                    <a:lnTo>
                      <a:pt x="180" y="124"/>
                    </a:lnTo>
                    <a:lnTo>
                      <a:pt x="179" y="124"/>
                    </a:lnTo>
                    <a:close/>
                    <a:moveTo>
                      <a:pt x="218" y="126"/>
                    </a:moveTo>
                    <a:lnTo>
                      <a:pt x="220" y="126"/>
                    </a:lnTo>
                    <a:lnTo>
                      <a:pt x="220" y="128"/>
                    </a:lnTo>
                    <a:lnTo>
                      <a:pt x="218" y="128"/>
                    </a:lnTo>
                    <a:lnTo>
                      <a:pt x="218" y="126"/>
                    </a:lnTo>
                    <a:close/>
                    <a:moveTo>
                      <a:pt x="184" y="90"/>
                    </a:moveTo>
                    <a:lnTo>
                      <a:pt x="184" y="92"/>
                    </a:lnTo>
                    <a:lnTo>
                      <a:pt x="184" y="90"/>
                    </a:lnTo>
                    <a:close/>
                    <a:moveTo>
                      <a:pt x="204" y="148"/>
                    </a:moveTo>
                    <a:lnTo>
                      <a:pt x="206" y="148"/>
                    </a:lnTo>
                    <a:lnTo>
                      <a:pt x="204" y="148"/>
                    </a:lnTo>
                    <a:close/>
                    <a:moveTo>
                      <a:pt x="194" y="100"/>
                    </a:moveTo>
                    <a:lnTo>
                      <a:pt x="196" y="100"/>
                    </a:lnTo>
                    <a:lnTo>
                      <a:pt x="196" y="102"/>
                    </a:lnTo>
                    <a:lnTo>
                      <a:pt x="194" y="102"/>
                    </a:lnTo>
                    <a:lnTo>
                      <a:pt x="194" y="100"/>
                    </a:lnTo>
                    <a:close/>
                    <a:moveTo>
                      <a:pt x="328" y="260"/>
                    </a:moveTo>
                    <a:lnTo>
                      <a:pt x="330" y="260"/>
                    </a:lnTo>
                    <a:lnTo>
                      <a:pt x="330" y="262"/>
                    </a:lnTo>
                    <a:lnTo>
                      <a:pt x="328" y="262"/>
                    </a:lnTo>
                    <a:lnTo>
                      <a:pt x="328" y="260"/>
                    </a:lnTo>
                    <a:close/>
                    <a:moveTo>
                      <a:pt x="201" y="150"/>
                    </a:moveTo>
                    <a:lnTo>
                      <a:pt x="203" y="150"/>
                    </a:lnTo>
                    <a:lnTo>
                      <a:pt x="201" y="150"/>
                    </a:lnTo>
                    <a:close/>
                    <a:moveTo>
                      <a:pt x="218" y="114"/>
                    </a:moveTo>
                    <a:lnTo>
                      <a:pt x="220" y="114"/>
                    </a:lnTo>
                    <a:lnTo>
                      <a:pt x="218" y="114"/>
                    </a:lnTo>
                    <a:close/>
                    <a:moveTo>
                      <a:pt x="218" y="158"/>
                    </a:moveTo>
                    <a:lnTo>
                      <a:pt x="220" y="158"/>
                    </a:lnTo>
                    <a:lnTo>
                      <a:pt x="220" y="160"/>
                    </a:lnTo>
                    <a:lnTo>
                      <a:pt x="218" y="160"/>
                    </a:lnTo>
                    <a:lnTo>
                      <a:pt x="218" y="158"/>
                    </a:lnTo>
                    <a:close/>
                    <a:moveTo>
                      <a:pt x="187" y="102"/>
                    </a:moveTo>
                    <a:lnTo>
                      <a:pt x="189" y="102"/>
                    </a:lnTo>
                    <a:lnTo>
                      <a:pt x="189" y="104"/>
                    </a:lnTo>
                    <a:lnTo>
                      <a:pt x="187" y="104"/>
                    </a:lnTo>
                    <a:lnTo>
                      <a:pt x="187" y="102"/>
                    </a:lnTo>
                    <a:close/>
                    <a:moveTo>
                      <a:pt x="157" y="83"/>
                    </a:moveTo>
                    <a:lnTo>
                      <a:pt x="160" y="83"/>
                    </a:lnTo>
                    <a:lnTo>
                      <a:pt x="157" y="83"/>
                    </a:lnTo>
                    <a:close/>
                    <a:moveTo>
                      <a:pt x="194" y="110"/>
                    </a:moveTo>
                    <a:lnTo>
                      <a:pt x="196" y="110"/>
                    </a:lnTo>
                    <a:lnTo>
                      <a:pt x="194" y="110"/>
                    </a:lnTo>
                    <a:close/>
                    <a:moveTo>
                      <a:pt x="223" y="126"/>
                    </a:moveTo>
                    <a:lnTo>
                      <a:pt x="225" y="126"/>
                    </a:lnTo>
                    <a:lnTo>
                      <a:pt x="225" y="128"/>
                    </a:lnTo>
                    <a:lnTo>
                      <a:pt x="223" y="128"/>
                    </a:lnTo>
                    <a:lnTo>
                      <a:pt x="223" y="126"/>
                    </a:lnTo>
                    <a:close/>
                    <a:moveTo>
                      <a:pt x="322" y="258"/>
                    </a:moveTo>
                    <a:lnTo>
                      <a:pt x="323" y="258"/>
                    </a:lnTo>
                    <a:lnTo>
                      <a:pt x="323" y="260"/>
                    </a:lnTo>
                    <a:lnTo>
                      <a:pt x="322" y="260"/>
                    </a:lnTo>
                    <a:lnTo>
                      <a:pt x="322" y="258"/>
                    </a:lnTo>
                    <a:close/>
                    <a:moveTo>
                      <a:pt x="206" y="107"/>
                    </a:moveTo>
                    <a:lnTo>
                      <a:pt x="206" y="109"/>
                    </a:lnTo>
                    <a:lnTo>
                      <a:pt x="206" y="107"/>
                    </a:lnTo>
                    <a:close/>
                    <a:moveTo>
                      <a:pt x="180" y="90"/>
                    </a:moveTo>
                    <a:lnTo>
                      <a:pt x="182" y="90"/>
                    </a:lnTo>
                    <a:lnTo>
                      <a:pt x="180" y="90"/>
                    </a:lnTo>
                    <a:close/>
                    <a:moveTo>
                      <a:pt x="175" y="126"/>
                    </a:moveTo>
                    <a:lnTo>
                      <a:pt x="175" y="128"/>
                    </a:lnTo>
                    <a:lnTo>
                      <a:pt x="175" y="126"/>
                    </a:lnTo>
                    <a:close/>
                    <a:moveTo>
                      <a:pt x="214" y="110"/>
                    </a:moveTo>
                    <a:lnTo>
                      <a:pt x="216" y="110"/>
                    </a:lnTo>
                    <a:lnTo>
                      <a:pt x="216" y="112"/>
                    </a:lnTo>
                    <a:lnTo>
                      <a:pt x="214" y="112"/>
                    </a:lnTo>
                    <a:lnTo>
                      <a:pt x="214" y="110"/>
                    </a:lnTo>
                    <a:close/>
                    <a:moveTo>
                      <a:pt x="189" y="105"/>
                    </a:moveTo>
                    <a:lnTo>
                      <a:pt x="191" y="105"/>
                    </a:lnTo>
                    <a:lnTo>
                      <a:pt x="189" y="105"/>
                    </a:lnTo>
                    <a:close/>
                    <a:moveTo>
                      <a:pt x="220" y="119"/>
                    </a:moveTo>
                    <a:lnTo>
                      <a:pt x="221" y="119"/>
                    </a:lnTo>
                    <a:lnTo>
                      <a:pt x="220" y="119"/>
                    </a:lnTo>
                    <a:close/>
                    <a:moveTo>
                      <a:pt x="327" y="258"/>
                    </a:moveTo>
                    <a:lnTo>
                      <a:pt x="327" y="260"/>
                    </a:lnTo>
                    <a:lnTo>
                      <a:pt x="327" y="258"/>
                    </a:lnTo>
                    <a:close/>
                    <a:moveTo>
                      <a:pt x="197" y="105"/>
                    </a:moveTo>
                    <a:lnTo>
                      <a:pt x="199" y="105"/>
                    </a:lnTo>
                    <a:lnTo>
                      <a:pt x="199" y="107"/>
                    </a:lnTo>
                    <a:lnTo>
                      <a:pt x="197" y="107"/>
                    </a:lnTo>
                    <a:lnTo>
                      <a:pt x="197" y="105"/>
                    </a:lnTo>
                    <a:close/>
                    <a:moveTo>
                      <a:pt x="322" y="255"/>
                    </a:moveTo>
                    <a:lnTo>
                      <a:pt x="323" y="255"/>
                    </a:lnTo>
                    <a:lnTo>
                      <a:pt x="322" y="255"/>
                    </a:lnTo>
                    <a:close/>
                    <a:moveTo>
                      <a:pt x="170" y="83"/>
                    </a:moveTo>
                    <a:lnTo>
                      <a:pt x="172" y="83"/>
                    </a:lnTo>
                    <a:lnTo>
                      <a:pt x="172" y="85"/>
                    </a:lnTo>
                    <a:lnTo>
                      <a:pt x="170" y="85"/>
                    </a:lnTo>
                    <a:lnTo>
                      <a:pt x="170" y="83"/>
                    </a:lnTo>
                    <a:close/>
                    <a:moveTo>
                      <a:pt x="160" y="102"/>
                    </a:moveTo>
                    <a:lnTo>
                      <a:pt x="160" y="104"/>
                    </a:lnTo>
                    <a:lnTo>
                      <a:pt x="160" y="102"/>
                    </a:lnTo>
                    <a:close/>
                    <a:moveTo>
                      <a:pt x="213" y="114"/>
                    </a:moveTo>
                    <a:lnTo>
                      <a:pt x="213" y="116"/>
                    </a:lnTo>
                    <a:lnTo>
                      <a:pt x="213" y="114"/>
                    </a:lnTo>
                    <a:close/>
                    <a:moveTo>
                      <a:pt x="209" y="109"/>
                    </a:moveTo>
                    <a:lnTo>
                      <a:pt x="209" y="110"/>
                    </a:lnTo>
                    <a:lnTo>
                      <a:pt x="209" y="109"/>
                    </a:lnTo>
                    <a:close/>
                    <a:moveTo>
                      <a:pt x="330" y="257"/>
                    </a:moveTo>
                    <a:lnTo>
                      <a:pt x="332" y="257"/>
                    </a:lnTo>
                    <a:lnTo>
                      <a:pt x="332" y="258"/>
                    </a:lnTo>
                    <a:lnTo>
                      <a:pt x="330" y="258"/>
                    </a:lnTo>
                    <a:lnTo>
                      <a:pt x="330" y="257"/>
                    </a:lnTo>
                    <a:close/>
                    <a:moveTo>
                      <a:pt x="194" y="146"/>
                    </a:moveTo>
                    <a:lnTo>
                      <a:pt x="194" y="148"/>
                    </a:lnTo>
                    <a:lnTo>
                      <a:pt x="194" y="146"/>
                    </a:lnTo>
                    <a:close/>
                    <a:moveTo>
                      <a:pt x="325" y="258"/>
                    </a:moveTo>
                    <a:lnTo>
                      <a:pt x="325" y="260"/>
                    </a:lnTo>
                    <a:lnTo>
                      <a:pt x="325" y="258"/>
                    </a:lnTo>
                    <a:close/>
                    <a:moveTo>
                      <a:pt x="196" y="146"/>
                    </a:moveTo>
                    <a:lnTo>
                      <a:pt x="197" y="146"/>
                    </a:lnTo>
                    <a:lnTo>
                      <a:pt x="197" y="148"/>
                    </a:lnTo>
                    <a:lnTo>
                      <a:pt x="196" y="148"/>
                    </a:lnTo>
                    <a:lnTo>
                      <a:pt x="196" y="146"/>
                    </a:lnTo>
                    <a:close/>
                    <a:moveTo>
                      <a:pt x="184" y="139"/>
                    </a:moveTo>
                    <a:lnTo>
                      <a:pt x="186" y="139"/>
                    </a:lnTo>
                    <a:lnTo>
                      <a:pt x="184" y="139"/>
                    </a:lnTo>
                    <a:close/>
                    <a:moveTo>
                      <a:pt x="327" y="253"/>
                    </a:moveTo>
                    <a:lnTo>
                      <a:pt x="327" y="255"/>
                    </a:lnTo>
                    <a:lnTo>
                      <a:pt x="327" y="253"/>
                    </a:lnTo>
                    <a:close/>
                    <a:moveTo>
                      <a:pt x="199" y="109"/>
                    </a:moveTo>
                    <a:lnTo>
                      <a:pt x="199" y="110"/>
                    </a:lnTo>
                    <a:lnTo>
                      <a:pt x="199" y="109"/>
                    </a:lnTo>
                    <a:close/>
                    <a:moveTo>
                      <a:pt x="204" y="114"/>
                    </a:moveTo>
                    <a:lnTo>
                      <a:pt x="206" y="114"/>
                    </a:lnTo>
                    <a:lnTo>
                      <a:pt x="204" y="114"/>
                    </a:lnTo>
                    <a:close/>
                    <a:moveTo>
                      <a:pt x="281" y="207"/>
                    </a:moveTo>
                    <a:lnTo>
                      <a:pt x="281" y="209"/>
                    </a:lnTo>
                    <a:lnTo>
                      <a:pt x="281" y="207"/>
                    </a:lnTo>
                    <a:close/>
                    <a:moveTo>
                      <a:pt x="216" y="117"/>
                    </a:moveTo>
                    <a:lnTo>
                      <a:pt x="218" y="117"/>
                    </a:lnTo>
                    <a:lnTo>
                      <a:pt x="218" y="119"/>
                    </a:lnTo>
                    <a:lnTo>
                      <a:pt x="216" y="119"/>
                    </a:lnTo>
                    <a:lnTo>
                      <a:pt x="216" y="117"/>
                    </a:lnTo>
                    <a:close/>
                    <a:moveTo>
                      <a:pt x="192" y="104"/>
                    </a:moveTo>
                    <a:lnTo>
                      <a:pt x="194" y="104"/>
                    </a:lnTo>
                    <a:lnTo>
                      <a:pt x="194" y="105"/>
                    </a:lnTo>
                    <a:lnTo>
                      <a:pt x="192" y="105"/>
                    </a:lnTo>
                    <a:lnTo>
                      <a:pt x="192" y="104"/>
                    </a:lnTo>
                    <a:close/>
                    <a:moveTo>
                      <a:pt x="327" y="260"/>
                    </a:moveTo>
                    <a:lnTo>
                      <a:pt x="328" y="260"/>
                    </a:lnTo>
                    <a:lnTo>
                      <a:pt x="327" y="260"/>
                    </a:lnTo>
                    <a:close/>
                    <a:moveTo>
                      <a:pt x="225" y="163"/>
                    </a:moveTo>
                    <a:lnTo>
                      <a:pt x="226" y="163"/>
                    </a:lnTo>
                    <a:lnTo>
                      <a:pt x="226" y="165"/>
                    </a:lnTo>
                    <a:lnTo>
                      <a:pt x="225" y="165"/>
                    </a:lnTo>
                    <a:lnTo>
                      <a:pt x="225" y="163"/>
                    </a:lnTo>
                    <a:close/>
                    <a:moveTo>
                      <a:pt x="328" y="253"/>
                    </a:moveTo>
                    <a:lnTo>
                      <a:pt x="330" y="253"/>
                    </a:lnTo>
                    <a:lnTo>
                      <a:pt x="328" y="253"/>
                    </a:lnTo>
                    <a:close/>
                    <a:moveTo>
                      <a:pt x="187" y="143"/>
                    </a:moveTo>
                    <a:lnTo>
                      <a:pt x="187" y="145"/>
                    </a:lnTo>
                    <a:lnTo>
                      <a:pt x="187" y="143"/>
                    </a:lnTo>
                    <a:close/>
                    <a:moveTo>
                      <a:pt x="175" y="116"/>
                    </a:moveTo>
                    <a:lnTo>
                      <a:pt x="177" y="116"/>
                    </a:lnTo>
                    <a:lnTo>
                      <a:pt x="175" y="116"/>
                    </a:lnTo>
                    <a:close/>
                    <a:moveTo>
                      <a:pt x="189" y="141"/>
                    </a:moveTo>
                    <a:lnTo>
                      <a:pt x="189" y="143"/>
                    </a:lnTo>
                    <a:lnTo>
                      <a:pt x="189" y="141"/>
                    </a:lnTo>
                    <a:close/>
                    <a:moveTo>
                      <a:pt x="186" y="139"/>
                    </a:moveTo>
                    <a:lnTo>
                      <a:pt x="187" y="139"/>
                    </a:lnTo>
                    <a:lnTo>
                      <a:pt x="186" y="139"/>
                    </a:lnTo>
                    <a:close/>
                    <a:moveTo>
                      <a:pt x="279" y="207"/>
                    </a:moveTo>
                    <a:lnTo>
                      <a:pt x="279" y="209"/>
                    </a:lnTo>
                    <a:lnTo>
                      <a:pt x="279" y="207"/>
                    </a:lnTo>
                    <a:close/>
                    <a:moveTo>
                      <a:pt x="184" y="105"/>
                    </a:moveTo>
                    <a:lnTo>
                      <a:pt x="186" y="105"/>
                    </a:lnTo>
                    <a:lnTo>
                      <a:pt x="186" y="107"/>
                    </a:lnTo>
                    <a:lnTo>
                      <a:pt x="184" y="107"/>
                    </a:lnTo>
                    <a:lnTo>
                      <a:pt x="184" y="105"/>
                    </a:lnTo>
                    <a:close/>
                    <a:moveTo>
                      <a:pt x="170" y="126"/>
                    </a:moveTo>
                    <a:lnTo>
                      <a:pt x="172" y="126"/>
                    </a:lnTo>
                    <a:lnTo>
                      <a:pt x="172" y="128"/>
                    </a:lnTo>
                    <a:lnTo>
                      <a:pt x="170" y="128"/>
                    </a:lnTo>
                    <a:lnTo>
                      <a:pt x="170" y="126"/>
                    </a:lnTo>
                    <a:close/>
                    <a:moveTo>
                      <a:pt x="191" y="83"/>
                    </a:moveTo>
                    <a:lnTo>
                      <a:pt x="192" y="83"/>
                    </a:lnTo>
                    <a:lnTo>
                      <a:pt x="192" y="85"/>
                    </a:lnTo>
                    <a:lnTo>
                      <a:pt x="191" y="85"/>
                    </a:lnTo>
                    <a:lnTo>
                      <a:pt x="191" y="83"/>
                    </a:lnTo>
                    <a:close/>
                    <a:moveTo>
                      <a:pt x="179" y="97"/>
                    </a:moveTo>
                    <a:lnTo>
                      <a:pt x="179" y="99"/>
                    </a:lnTo>
                    <a:lnTo>
                      <a:pt x="179" y="97"/>
                    </a:lnTo>
                    <a:close/>
                    <a:moveTo>
                      <a:pt x="310" y="241"/>
                    </a:moveTo>
                    <a:lnTo>
                      <a:pt x="311" y="241"/>
                    </a:lnTo>
                    <a:lnTo>
                      <a:pt x="311" y="243"/>
                    </a:lnTo>
                    <a:lnTo>
                      <a:pt x="310" y="243"/>
                    </a:lnTo>
                    <a:lnTo>
                      <a:pt x="310" y="241"/>
                    </a:lnTo>
                    <a:close/>
                    <a:moveTo>
                      <a:pt x="209" y="153"/>
                    </a:moveTo>
                    <a:lnTo>
                      <a:pt x="211" y="153"/>
                    </a:lnTo>
                    <a:lnTo>
                      <a:pt x="209" y="15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7" name="Freeform 27">
                <a:extLst>
                  <a:ext uri="{FF2B5EF4-FFF2-40B4-BE49-F238E27FC236}">
                    <a16:creationId xmlns:a16="http://schemas.microsoft.com/office/drawing/2014/main" id="{FA48AEF6-DB72-4B1D-BEFA-5EFFE8AA5BF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27682" y="2254156"/>
                <a:ext cx="1206465" cy="927062"/>
              </a:xfrm>
              <a:custGeom>
                <a:avLst/>
                <a:gdLst>
                  <a:gd name="T0" fmla="*/ 451 w 760"/>
                  <a:gd name="T1" fmla="*/ 160 h 584"/>
                  <a:gd name="T2" fmla="*/ 459 w 760"/>
                  <a:gd name="T3" fmla="*/ 201 h 584"/>
                  <a:gd name="T4" fmla="*/ 488 w 760"/>
                  <a:gd name="T5" fmla="*/ 193 h 584"/>
                  <a:gd name="T6" fmla="*/ 491 w 760"/>
                  <a:gd name="T7" fmla="*/ 218 h 584"/>
                  <a:gd name="T8" fmla="*/ 520 w 760"/>
                  <a:gd name="T9" fmla="*/ 257 h 584"/>
                  <a:gd name="T10" fmla="*/ 556 w 760"/>
                  <a:gd name="T11" fmla="*/ 298 h 584"/>
                  <a:gd name="T12" fmla="*/ 619 w 760"/>
                  <a:gd name="T13" fmla="*/ 320 h 584"/>
                  <a:gd name="T14" fmla="*/ 760 w 760"/>
                  <a:gd name="T15" fmla="*/ 351 h 584"/>
                  <a:gd name="T16" fmla="*/ 665 w 760"/>
                  <a:gd name="T17" fmla="*/ 448 h 584"/>
                  <a:gd name="T18" fmla="*/ 558 w 760"/>
                  <a:gd name="T19" fmla="*/ 504 h 584"/>
                  <a:gd name="T20" fmla="*/ 493 w 760"/>
                  <a:gd name="T21" fmla="*/ 540 h 584"/>
                  <a:gd name="T22" fmla="*/ 457 w 760"/>
                  <a:gd name="T23" fmla="*/ 546 h 584"/>
                  <a:gd name="T24" fmla="*/ 444 w 760"/>
                  <a:gd name="T25" fmla="*/ 555 h 584"/>
                  <a:gd name="T26" fmla="*/ 425 w 760"/>
                  <a:gd name="T27" fmla="*/ 555 h 584"/>
                  <a:gd name="T28" fmla="*/ 401 w 760"/>
                  <a:gd name="T29" fmla="*/ 545 h 584"/>
                  <a:gd name="T30" fmla="*/ 349 w 760"/>
                  <a:gd name="T31" fmla="*/ 560 h 584"/>
                  <a:gd name="T32" fmla="*/ 321 w 760"/>
                  <a:gd name="T33" fmla="*/ 579 h 584"/>
                  <a:gd name="T34" fmla="*/ 291 w 760"/>
                  <a:gd name="T35" fmla="*/ 575 h 584"/>
                  <a:gd name="T36" fmla="*/ 277 w 760"/>
                  <a:gd name="T37" fmla="*/ 574 h 584"/>
                  <a:gd name="T38" fmla="*/ 208 w 760"/>
                  <a:gd name="T39" fmla="*/ 535 h 584"/>
                  <a:gd name="T40" fmla="*/ 151 w 760"/>
                  <a:gd name="T41" fmla="*/ 529 h 584"/>
                  <a:gd name="T42" fmla="*/ 146 w 760"/>
                  <a:gd name="T43" fmla="*/ 494 h 584"/>
                  <a:gd name="T44" fmla="*/ 128 w 760"/>
                  <a:gd name="T45" fmla="*/ 482 h 584"/>
                  <a:gd name="T46" fmla="*/ 109 w 760"/>
                  <a:gd name="T47" fmla="*/ 467 h 584"/>
                  <a:gd name="T48" fmla="*/ 102 w 760"/>
                  <a:gd name="T49" fmla="*/ 434 h 584"/>
                  <a:gd name="T50" fmla="*/ 97 w 760"/>
                  <a:gd name="T51" fmla="*/ 422 h 584"/>
                  <a:gd name="T52" fmla="*/ 83 w 760"/>
                  <a:gd name="T53" fmla="*/ 414 h 584"/>
                  <a:gd name="T54" fmla="*/ 73 w 760"/>
                  <a:gd name="T55" fmla="*/ 405 h 584"/>
                  <a:gd name="T56" fmla="*/ 61 w 760"/>
                  <a:gd name="T57" fmla="*/ 400 h 584"/>
                  <a:gd name="T58" fmla="*/ 51 w 760"/>
                  <a:gd name="T59" fmla="*/ 381 h 584"/>
                  <a:gd name="T60" fmla="*/ 39 w 760"/>
                  <a:gd name="T61" fmla="*/ 370 h 584"/>
                  <a:gd name="T62" fmla="*/ 26 w 760"/>
                  <a:gd name="T63" fmla="*/ 364 h 584"/>
                  <a:gd name="T64" fmla="*/ 15 w 760"/>
                  <a:gd name="T65" fmla="*/ 364 h 584"/>
                  <a:gd name="T66" fmla="*/ 4 w 760"/>
                  <a:gd name="T67" fmla="*/ 361 h 584"/>
                  <a:gd name="T68" fmla="*/ 5 w 760"/>
                  <a:gd name="T69" fmla="*/ 346 h 584"/>
                  <a:gd name="T70" fmla="*/ 12 w 760"/>
                  <a:gd name="T71" fmla="*/ 339 h 584"/>
                  <a:gd name="T72" fmla="*/ 12 w 760"/>
                  <a:gd name="T73" fmla="*/ 329 h 584"/>
                  <a:gd name="T74" fmla="*/ 26 w 760"/>
                  <a:gd name="T75" fmla="*/ 325 h 584"/>
                  <a:gd name="T76" fmla="*/ 39 w 760"/>
                  <a:gd name="T77" fmla="*/ 332 h 584"/>
                  <a:gd name="T78" fmla="*/ 56 w 760"/>
                  <a:gd name="T79" fmla="*/ 322 h 584"/>
                  <a:gd name="T80" fmla="*/ 70 w 760"/>
                  <a:gd name="T81" fmla="*/ 240 h 584"/>
                  <a:gd name="T82" fmla="*/ 82 w 760"/>
                  <a:gd name="T83" fmla="*/ 203 h 584"/>
                  <a:gd name="T84" fmla="*/ 100 w 760"/>
                  <a:gd name="T85" fmla="*/ 199 h 584"/>
                  <a:gd name="T86" fmla="*/ 107 w 760"/>
                  <a:gd name="T87" fmla="*/ 165 h 584"/>
                  <a:gd name="T88" fmla="*/ 123 w 760"/>
                  <a:gd name="T89" fmla="*/ 138 h 584"/>
                  <a:gd name="T90" fmla="*/ 141 w 760"/>
                  <a:gd name="T91" fmla="*/ 113 h 584"/>
                  <a:gd name="T92" fmla="*/ 160 w 760"/>
                  <a:gd name="T93" fmla="*/ 99 h 584"/>
                  <a:gd name="T94" fmla="*/ 179 w 760"/>
                  <a:gd name="T95" fmla="*/ 43 h 584"/>
                  <a:gd name="T96" fmla="*/ 196 w 760"/>
                  <a:gd name="T97" fmla="*/ 29 h 584"/>
                  <a:gd name="T98" fmla="*/ 214 w 760"/>
                  <a:gd name="T99" fmla="*/ 24 h 584"/>
                  <a:gd name="T100" fmla="*/ 226 w 760"/>
                  <a:gd name="T101" fmla="*/ 33 h 584"/>
                  <a:gd name="T102" fmla="*/ 252 w 760"/>
                  <a:gd name="T103" fmla="*/ 6 h 584"/>
                  <a:gd name="T104" fmla="*/ 264 w 760"/>
                  <a:gd name="T105" fmla="*/ 12 h 584"/>
                  <a:gd name="T106" fmla="*/ 274 w 760"/>
                  <a:gd name="T107" fmla="*/ 23 h 584"/>
                  <a:gd name="T108" fmla="*/ 294 w 760"/>
                  <a:gd name="T109" fmla="*/ 23 h 584"/>
                  <a:gd name="T110" fmla="*/ 313 w 760"/>
                  <a:gd name="T111" fmla="*/ 12 h 584"/>
                  <a:gd name="T112" fmla="*/ 320 w 760"/>
                  <a:gd name="T113" fmla="*/ 23 h 584"/>
                  <a:gd name="T114" fmla="*/ 330 w 760"/>
                  <a:gd name="T115" fmla="*/ 17 h 584"/>
                  <a:gd name="T116" fmla="*/ 349 w 760"/>
                  <a:gd name="T117" fmla="*/ 23 h 584"/>
                  <a:gd name="T118" fmla="*/ 369 w 760"/>
                  <a:gd name="T119" fmla="*/ 26 h 584"/>
                  <a:gd name="T120" fmla="*/ 429 w 760"/>
                  <a:gd name="T121" fmla="*/ 74 h 584"/>
                  <a:gd name="T122" fmla="*/ 468 w 760"/>
                  <a:gd name="T123" fmla="*/ 109 h 5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60" h="584">
                    <a:moveTo>
                      <a:pt x="478" y="123"/>
                    </a:moveTo>
                    <a:lnTo>
                      <a:pt x="474" y="128"/>
                    </a:lnTo>
                    <a:lnTo>
                      <a:pt x="473" y="131"/>
                    </a:lnTo>
                    <a:lnTo>
                      <a:pt x="468" y="137"/>
                    </a:lnTo>
                    <a:lnTo>
                      <a:pt x="464" y="143"/>
                    </a:lnTo>
                    <a:lnTo>
                      <a:pt x="456" y="155"/>
                    </a:lnTo>
                    <a:lnTo>
                      <a:pt x="452" y="159"/>
                    </a:lnTo>
                    <a:lnTo>
                      <a:pt x="451" y="160"/>
                    </a:lnTo>
                    <a:lnTo>
                      <a:pt x="449" y="160"/>
                    </a:lnTo>
                    <a:lnTo>
                      <a:pt x="446" y="174"/>
                    </a:lnTo>
                    <a:lnTo>
                      <a:pt x="447" y="186"/>
                    </a:lnTo>
                    <a:lnTo>
                      <a:pt x="446" y="199"/>
                    </a:lnTo>
                    <a:lnTo>
                      <a:pt x="454" y="201"/>
                    </a:lnTo>
                    <a:lnTo>
                      <a:pt x="456" y="203"/>
                    </a:lnTo>
                    <a:lnTo>
                      <a:pt x="456" y="201"/>
                    </a:lnTo>
                    <a:lnTo>
                      <a:pt x="459" y="201"/>
                    </a:lnTo>
                    <a:lnTo>
                      <a:pt x="461" y="201"/>
                    </a:lnTo>
                    <a:lnTo>
                      <a:pt x="464" y="199"/>
                    </a:lnTo>
                    <a:lnTo>
                      <a:pt x="468" y="199"/>
                    </a:lnTo>
                    <a:lnTo>
                      <a:pt x="476" y="198"/>
                    </a:lnTo>
                    <a:lnTo>
                      <a:pt x="478" y="199"/>
                    </a:lnTo>
                    <a:lnTo>
                      <a:pt x="481" y="196"/>
                    </a:lnTo>
                    <a:lnTo>
                      <a:pt x="486" y="194"/>
                    </a:lnTo>
                    <a:lnTo>
                      <a:pt x="488" y="193"/>
                    </a:lnTo>
                    <a:lnTo>
                      <a:pt x="491" y="196"/>
                    </a:lnTo>
                    <a:lnTo>
                      <a:pt x="495" y="194"/>
                    </a:lnTo>
                    <a:lnTo>
                      <a:pt x="497" y="199"/>
                    </a:lnTo>
                    <a:lnTo>
                      <a:pt x="500" y="199"/>
                    </a:lnTo>
                    <a:lnTo>
                      <a:pt x="502" y="199"/>
                    </a:lnTo>
                    <a:lnTo>
                      <a:pt x="505" y="199"/>
                    </a:lnTo>
                    <a:lnTo>
                      <a:pt x="493" y="216"/>
                    </a:lnTo>
                    <a:lnTo>
                      <a:pt x="491" y="218"/>
                    </a:lnTo>
                    <a:lnTo>
                      <a:pt x="491" y="222"/>
                    </a:lnTo>
                    <a:lnTo>
                      <a:pt x="495" y="223"/>
                    </a:lnTo>
                    <a:lnTo>
                      <a:pt x="500" y="237"/>
                    </a:lnTo>
                    <a:lnTo>
                      <a:pt x="508" y="244"/>
                    </a:lnTo>
                    <a:lnTo>
                      <a:pt x="512" y="254"/>
                    </a:lnTo>
                    <a:lnTo>
                      <a:pt x="514" y="254"/>
                    </a:lnTo>
                    <a:lnTo>
                      <a:pt x="515" y="254"/>
                    </a:lnTo>
                    <a:lnTo>
                      <a:pt x="520" y="257"/>
                    </a:lnTo>
                    <a:lnTo>
                      <a:pt x="522" y="269"/>
                    </a:lnTo>
                    <a:lnTo>
                      <a:pt x="524" y="269"/>
                    </a:lnTo>
                    <a:lnTo>
                      <a:pt x="527" y="271"/>
                    </a:lnTo>
                    <a:lnTo>
                      <a:pt x="531" y="278"/>
                    </a:lnTo>
                    <a:lnTo>
                      <a:pt x="534" y="279"/>
                    </a:lnTo>
                    <a:lnTo>
                      <a:pt x="541" y="281"/>
                    </a:lnTo>
                    <a:lnTo>
                      <a:pt x="549" y="290"/>
                    </a:lnTo>
                    <a:lnTo>
                      <a:pt x="556" y="298"/>
                    </a:lnTo>
                    <a:lnTo>
                      <a:pt x="559" y="300"/>
                    </a:lnTo>
                    <a:lnTo>
                      <a:pt x="570" y="303"/>
                    </a:lnTo>
                    <a:lnTo>
                      <a:pt x="578" y="307"/>
                    </a:lnTo>
                    <a:lnTo>
                      <a:pt x="593" y="312"/>
                    </a:lnTo>
                    <a:lnTo>
                      <a:pt x="599" y="313"/>
                    </a:lnTo>
                    <a:lnTo>
                      <a:pt x="604" y="315"/>
                    </a:lnTo>
                    <a:lnTo>
                      <a:pt x="610" y="317"/>
                    </a:lnTo>
                    <a:lnTo>
                      <a:pt x="619" y="320"/>
                    </a:lnTo>
                    <a:lnTo>
                      <a:pt x="633" y="325"/>
                    </a:lnTo>
                    <a:lnTo>
                      <a:pt x="641" y="327"/>
                    </a:lnTo>
                    <a:lnTo>
                      <a:pt x="672" y="337"/>
                    </a:lnTo>
                    <a:lnTo>
                      <a:pt x="673" y="337"/>
                    </a:lnTo>
                    <a:lnTo>
                      <a:pt x="709" y="351"/>
                    </a:lnTo>
                    <a:lnTo>
                      <a:pt x="711" y="351"/>
                    </a:lnTo>
                    <a:lnTo>
                      <a:pt x="757" y="351"/>
                    </a:lnTo>
                    <a:lnTo>
                      <a:pt x="760" y="351"/>
                    </a:lnTo>
                    <a:lnTo>
                      <a:pt x="738" y="373"/>
                    </a:lnTo>
                    <a:lnTo>
                      <a:pt x="735" y="376"/>
                    </a:lnTo>
                    <a:lnTo>
                      <a:pt x="728" y="383"/>
                    </a:lnTo>
                    <a:lnTo>
                      <a:pt x="706" y="407"/>
                    </a:lnTo>
                    <a:lnTo>
                      <a:pt x="701" y="410"/>
                    </a:lnTo>
                    <a:lnTo>
                      <a:pt x="685" y="426"/>
                    </a:lnTo>
                    <a:lnTo>
                      <a:pt x="675" y="438"/>
                    </a:lnTo>
                    <a:lnTo>
                      <a:pt x="665" y="448"/>
                    </a:lnTo>
                    <a:lnTo>
                      <a:pt x="656" y="456"/>
                    </a:lnTo>
                    <a:lnTo>
                      <a:pt x="643" y="470"/>
                    </a:lnTo>
                    <a:lnTo>
                      <a:pt x="636" y="478"/>
                    </a:lnTo>
                    <a:lnTo>
                      <a:pt x="616" y="499"/>
                    </a:lnTo>
                    <a:lnTo>
                      <a:pt x="607" y="506"/>
                    </a:lnTo>
                    <a:lnTo>
                      <a:pt x="604" y="506"/>
                    </a:lnTo>
                    <a:lnTo>
                      <a:pt x="588" y="506"/>
                    </a:lnTo>
                    <a:lnTo>
                      <a:pt x="558" y="504"/>
                    </a:lnTo>
                    <a:lnTo>
                      <a:pt x="541" y="509"/>
                    </a:lnTo>
                    <a:lnTo>
                      <a:pt x="531" y="512"/>
                    </a:lnTo>
                    <a:lnTo>
                      <a:pt x="512" y="521"/>
                    </a:lnTo>
                    <a:lnTo>
                      <a:pt x="508" y="526"/>
                    </a:lnTo>
                    <a:lnTo>
                      <a:pt x="508" y="529"/>
                    </a:lnTo>
                    <a:lnTo>
                      <a:pt x="505" y="535"/>
                    </a:lnTo>
                    <a:lnTo>
                      <a:pt x="498" y="540"/>
                    </a:lnTo>
                    <a:lnTo>
                      <a:pt x="493" y="540"/>
                    </a:lnTo>
                    <a:lnTo>
                      <a:pt x="485" y="543"/>
                    </a:lnTo>
                    <a:lnTo>
                      <a:pt x="466" y="543"/>
                    </a:lnTo>
                    <a:lnTo>
                      <a:pt x="466" y="545"/>
                    </a:lnTo>
                    <a:lnTo>
                      <a:pt x="464" y="545"/>
                    </a:lnTo>
                    <a:lnTo>
                      <a:pt x="463" y="543"/>
                    </a:lnTo>
                    <a:lnTo>
                      <a:pt x="461" y="545"/>
                    </a:lnTo>
                    <a:lnTo>
                      <a:pt x="461" y="543"/>
                    </a:lnTo>
                    <a:lnTo>
                      <a:pt x="457" y="546"/>
                    </a:lnTo>
                    <a:lnTo>
                      <a:pt x="456" y="548"/>
                    </a:lnTo>
                    <a:lnTo>
                      <a:pt x="454" y="550"/>
                    </a:lnTo>
                    <a:lnTo>
                      <a:pt x="454" y="552"/>
                    </a:lnTo>
                    <a:lnTo>
                      <a:pt x="452" y="553"/>
                    </a:lnTo>
                    <a:lnTo>
                      <a:pt x="449" y="555"/>
                    </a:lnTo>
                    <a:lnTo>
                      <a:pt x="447" y="555"/>
                    </a:lnTo>
                    <a:lnTo>
                      <a:pt x="446" y="553"/>
                    </a:lnTo>
                    <a:lnTo>
                      <a:pt x="444" y="555"/>
                    </a:lnTo>
                    <a:lnTo>
                      <a:pt x="442" y="553"/>
                    </a:lnTo>
                    <a:lnTo>
                      <a:pt x="440" y="555"/>
                    </a:lnTo>
                    <a:lnTo>
                      <a:pt x="439" y="553"/>
                    </a:lnTo>
                    <a:lnTo>
                      <a:pt x="435" y="555"/>
                    </a:lnTo>
                    <a:lnTo>
                      <a:pt x="434" y="553"/>
                    </a:lnTo>
                    <a:lnTo>
                      <a:pt x="432" y="555"/>
                    </a:lnTo>
                    <a:lnTo>
                      <a:pt x="427" y="555"/>
                    </a:lnTo>
                    <a:lnTo>
                      <a:pt x="425" y="555"/>
                    </a:lnTo>
                    <a:lnTo>
                      <a:pt x="423" y="555"/>
                    </a:lnTo>
                    <a:lnTo>
                      <a:pt x="423" y="557"/>
                    </a:lnTo>
                    <a:lnTo>
                      <a:pt x="418" y="555"/>
                    </a:lnTo>
                    <a:lnTo>
                      <a:pt x="417" y="557"/>
                    </a:lnTo>
                    <a:lnTo>
                      <a:pt x="413" y="555"/>
                    </a:lnTo>
                    <a:lnTo>
                      <a:pt x="406" y="546"/>
                    </a:lnTo>
                    <a:lnTo>
                      <a:pt x="403" y="545"/>
                    </a:lnTo>
                    <a:lnTo>
                      <a:pt x="401" y="545"/>
                    </a:lnTo>
                    <a:lnTo>
                      <a:pt x="400" y="541"/>
                    </a:lnTo>
                    <a:lnTo>
                      <a:pt x="396" y="540"/>
                    </a:lnTo>
                    <a:lnTo>
                      <a:pt x="395" y="540"/>
                    </a:lnTo>
                    <a:lnTo>
                      <a:pt x="393" y="541"/>
                    </a:lnTo>
                    <a:lnTo>
                      <a:pt x="391" y="541"/>
                    </a:lnTo>
                    <a:lnTo>
                      <a:pt x="378" y="546"/>
                    </a:lnTo>
                    <a:lnTo>
                      <a:pt x="364" y="553"/>
                    </a:lnTo>
                    <a:lnTo>
                      <a:pt x="349" y="560"/>
                    </a:lnTo>
                    <a:lnTo>
                      <a:pt x="344" y="570"/>
                    </a:lnTo>
                    <a:lnTo>
                      <a:pt x="335" y="579"/>
                    </a:lnTo>
                    <a:lnTo>
                      <a:pt x="333" y="584"/>
                    </a:lnTo>
                    <a:lnTo>
                      <a:pt x="332" y="582"/>
                    </a:lnTo>
                    <a:lnTo>
                      <a:pt x="330" y="580"/>
                    </a:lnTo>
                    <a:lnTo>
                      <a:pt x="328" y="580"/>
                    </a:lnTo>
                    <a:lnTo>
                      <a:pt x="321" y="580"/>
                    </a:lnTo>
                    <a:lnTo>
                      <a:pt x="321" y="579"/>
                    </a:lnTo>
                    <a:lnTo>
                      <a:pt x="320" y="579"/>
                    </a:lnTo>
                    <a:lnTo>
                      <a:pt x="318" y="580"/>
                    </a:lnTo>
                    <a:lnTo>
                      <a:pt x="315" y="579"/>
                    </a:lnTo>
                    <a:lnTo>
                      <a:pt x="310" y="577"/>
                    </a:lnTo>
                    <a:lnTo>
                      <a:pt x="306" y="577"/>
                    </a:lnTo>
                    <a:lnTo>
                      <a:pt x="303" y="577"/>
                    </a:lnTo>
                    <a:lnTo>
                      <a:pt x="301" y="577"/>
                    </a:lnTo>
                    <a:lnTo>
                      <a:pt x="291" y="575"/>
                    </a:lnTo>
                    <a:lnTo>
                      <a:pt x="289" y="572"/>
                    </a:lnTo>
                    <a:lnTo>
                      <a:pt x="287" y="574"/>
                    </a:lnTo>
                    <a:lnTo>
                      <a:pt x="286" y="572"/>
                    </a:lnTo>
                    <a:lnTo>
                      <a:pt x="284" y="574"/>
                    </a:lnTo>
                    <a:lnTo>
                      <a:pt x="282" y="570"/>
                    </a:lnTo>
                    <a:lnTo>
                      <a:pt x="281" y="570"/>
                    </a:lnTo>
                    <a:lnTo>
                      <a:pt x="281" y="572"/>
                    </a:lnTo>
                    <a:lnTo>
                      <a:pt x="277" y="574"/>
                    </a:lnTo>
                    <a:lnTo>
                      <a:pt x="264" y="572"/>
                    </a:lnTo>
                    <a:lnTo>
                      <a:pt x="260" y="572"/>
                    </a:lnTo>
                    <a:lnTo>
                      <a:pt x="253" y="567"/>
                    </a:lnTo>
                    <a:lnTo>
                      <a:pt x="250" y="563"/>
                    </a:lnTo>
                    <a:lnTo>
                      <a:pt x="240" y="558"/>
                    </a:lnTo>
                    <a:lnTo>
                      <a:pt x="226" y="548"/>
                    </a:lnTo>
                    <a:lnTo>
                      <a:pt x="209" y="538"/>
                    </a:lnTo>
                    <a:lnTo>
                      <a:pt x="208" y="535"/>
                    </a:lnTo>
                    <a:lnTo>
                      <a:pt x="206" y="535"/>
                    </a:lnTo>
                    <a:lnTo>
                      <a:pt x="204" y="533"/>
                    </a:lnTo>
                    <a:lnTo>
                      <a:pt x="194" y="529"/>
                    </a:lnTo>
                    <a:lnTo>
                      <a:pt x="185" y="529"/>
                    </a:lnTo>
                    <a:lnTo>
                      <a:pt x="184" y="529"/>
                    </a:lnTo>
                    <a:lnTo>
                      <a:pt x="180" y="529"/>
                    </a:lnTo>
                    <a:lnTo>
                      <a:pt x="165" y="529"/>
                    </a:lnTo>
                    <a:lnTo>
                      <a:pt x="151" y="529"/>
                    </a:lnTo>
                    <a:lnTo>
                      <a:pt x="150" y="528"/>
                    </a:lnTo>
                    <a:lnTo>
                      <a:pt x="151" y="524"/>
                    </a:lnTo>
                    <a:lnTo>
                      <a:pt x="150" y="523"/>
                    </a:lnTo>
                    <a:lnTo>
                      <a:pt x="150" y="521"/>
                    </a:lnTo>
                    <a:lnTo>
                      <a:pt x="143" y="512"/>
                    </a:lnTo>
                    <a:lnTo>
                      <a:pt x="143" y="504"/>
                    </a:lnTo>
                    <a:lnTo>
                      <a:pt x="143" y="497"/>
                    </a:lnTo>
                    <a:lnTo>
                      <a:pt x="146" y="494"/>
                    </a:lnTo>
                    <a:lnTo>
                      <a:pt x="145" y="489"/>
                    </a:lnTo>
                    <a:lnTo>
                      <a:pt x="146" y="485"/>
                    </a:lnTo>
                    <a:lnTo>
                      <a:pt x="141" y="485"/>
                    </a:lnTo>
                    <a:lnTo>
                      <a:pt x="138" y="482"/>
                    </a:lnTo>
                    <a:lnTo>
                      <a:pt x="134" y="484"/>
                    </a:lnTo>
                    <a:lnTo>
                      <a:pt x="133" y="482"/>
                    </a:lnTo>
                    <a:lnTo>
                      <a:pt x="129" y="480"/>
                    </a:lnTo>
                    <a:lnTo>
                      <a:pt x="128" y="482"/>
                    </a:lnTo>
                    <a:lnTo>
                      <a:pt x="123" y="484"/>
                    </a:lnTo>
                    <a:lnTo>
                      <a:pt x="119" y="485"/>
                    </a:lnTo>
                    <a:lnTo>
                      <a:pt x="117" y="484"/>
                    </a:lnTo>
                    <a:lnTo>
                      <a:pt x="117" y="480"/>
                    </a:lnTo>
                    <a:lnTo>
                      <a:pt x="119" y="480"/>
                    </a:lnTo>
                    <a:lnTo>
                      <a:pt x="117" y="477"/>
                    </a:lnTo>
                    <a:lnTo>
                      <a:pt x="109" y="470"/>
                    </a:lnTo>
                    <a:lnTo>
                      <a:pt x="109" y="467"/>
                    </a:lnTo>
                    <a:lnTo>
                      <a:pt x="102" y="456"/>
                    </a:lnTo>
                    <a:lnTo>
                      <a:pt x="102" y="448"/>
                    </a:lnTo>
                    <a:lnTo>
                      <a:pt x="100" y="446"/>
                    </a:lnTo>
                    <a:lnTo>
                      <a:pt x="100" y="443"/>
                    </a:lnTo>
                    <a:lnTo>
                      <a:pt x="100" y="439"/>
                    </a:lnTo>
                    <a:lnTo>
                      <a:pt x="100" y="438"/>
                    </a:lnTo>
                    <a:lnTo>
                      <a:pt x="102" y="436"/>
                    </a:lnTo>
                    <a:lnTo>
                      <a:pt x="102" y="434"/>
                    </a:lnTo>
                    <a:lnTo>
                      <a:pt x="102" y="433"/>
                    </a:lnTo>
                    <a:lnTo>
                      <a:pt x="102" y="431"/>
                    </a:lnTo>
                    <a:lnTo>
                      <a:pt x="104" y="429"/>
                    </a:lnTo>
                    <a:lnTo>
                      <a:pt x="102" y="427"/>
                    </a:lnTo>
                    <a:lnTo>
                      <a:pt x="100" y="426"/>
                    </a:lnTo>
                    <a:lnTo>
                      <a:pt x="99" y="424"/>
                    </a:lnTo>
                    <a:lnTo>
                      <a:pt x="99" y="422"/>
                    </a:lnTo>
                    <a:lnTo>
                      <a:pt x="97" y="422"/>
                    </a:lnTo>
                    <a:lnTo>
                      <a:pt x="97" y="421"/>
                    </a:lnTo>
                    <a:lnTo>
                      <a:pt x="95" y="421"/>
                    </a:lnTo>
                    <a:lnTo>
                      <a:pt x="94" y="421"/>
                    </a:lnTo>
                    <a:lnTo>
                      <a:pt x="92" y="422"/>
                    </a:lnTo>
                    <a:lnTo>
                      <a:pt x="90" y="421"/>
                    </a:lnTo>
                    <a:lnTo>
                      <a:pt x="89" y="419"/>
                    </a:lnTo>
                    <a:lnTo>
                      <a:pt x="87" y="417"/>
                    </a:lnTo>
                    <a:lnTo>
                      <a:pt x="83" y="414"/>
                    </a:lnTo>
                    <a:lnTo>
                      <a:pt x="83" y="415"/>
                    </a:lnTo>
                    <a:lnTo>
                      <a:pt x="78" y="414"/>
                    </a:lnTo>
                    <a:lnTo>
                      <a:pt x="78" y="410"/>
                    </a:lnTo>
                    <a:lnTo>
                      <a:pt x="78" y="409"/>
                    </a:lnTo>
                    <a:lnTo>
                      <a:pt x="77" y="409"/>
                    </a:lnTo>
                    <a:lnTo>
                      <a:pt x="77" y="407"/>
                    </a:lnTo>
                    <a:lnTo>
                      <a:pt x="75" y="405"/>
                    </a:lnTo>
                    <a:lnTo>
                      <a:pt x="73" y="405"/>
                    </a:lnTo>
                    <a:lnTo>
                      <a:pt x="72" y="405"/>
                    </a:lnTo>
                    <a:lnTo>
                      <a:pt x="68" y="405"/>
                    </a:lnTo>
                    <a:lnTo>
                      <a:pt x="68" y="404"/>
                    </a:lnTo>
                    <a:lnTo>
                      <a:pt x="66" y="404"/>
                    </a:lnTo>
                    <a:lnTo>
                      <a:pt x="66" y="402"/>
                    </a:lnTo>
                    <a:lnTo>
                      <a:pt x="65" y="400"/>
                    </a:lnTo>
                    <a:lnTo>
                      <a:pt x="63" y="402"/>
                    </a:lnTo>
                    <a:lnTo>
                      <a:pt x="61" y="400"/>
                    </a:lnTo>
                    <a:lnTo>
                      <a:pt x="61" y="395"/>
                    </a:lnTo>
                    <a:lnTo>
                      <a:pt x="56" y="392"/>
                    </a:lnTo>
                    <a:lnTo>
                      <a:pt x="55" y="390"/>
                    </a:lnTo>
                    <a:lnTo>
                      <a:pt x="53" y="390"/>
                    </a:lnTo>
                    <a:lnTo>
                      <a:pt x="53" y="388"/>
                    </a:lnTo>
                    <a:lnTo>
                      <a:pt x="53" y="387"/>
                    </a:lnTo>
                    <a:lnTo>
                      <a:pt x="53" y="383"/>
                    </a:lnTo>
                    <a:lnTo>
                      <a:pt x="51" y="381"/>
                    </a:lnTo>
                    <a:lnTo>
                      <a:pt x="51" y="380"/>
                    </a:lnTo>
                    <a:lnTo>
                      <a:pt x="49" y="376"/>
                    </a:lnTo>
                    <a:lnTo>
                      <a:pt x="49" y="375"/>
                    </a:lnTo>
                    <a:lnTo>
                      <a:pt x="44" y="375"/>
                    </a:lnTo>
                    <a:lnTo>
                      <a:pt x="44" y="371"/>
                    </a:lnTo>
                    <a:lnTo>
                      <a:pt x="41" y="371"/>
                    </a:lnTo>
                    <a:lnTo>
                      <a:pt x="41" y="370"/>
                    </a:lnTo>
                    <a:lnTo>
                      <a:pt x="39" y="370"/>
                    </a:lnTo>
                    <a:lnTo>
                      <a:pt x="36" y="366"/>
                    </a:lnTo>
                    <a:lnTo>
                      <a:pt x="32" y="366"/>
                    </a:lnTo>
                    <a:lnTo>
                      <a:pt x="32" y="364"/>
                    </a:lnTo>
                    <a:lnTo>
                      <a:pt x="31" y="364"/>
                    </a:lnTo>
                    <a:lnTo>
                      <a:pt x="31" y="366"/>
                    </a:lnTo>
                    <a:lnTo>
                      <a:pt x="27" y="364"/>
                    </a:lnTo>
                    <a:lnTo>
                      <a:pt x="27" y="363"/>
                    </a:lnTo>
                    <a:lnTo>
                      <a:pt x="26" y="364"/>
                    </a:lnTo>
                    <a:lnTo>
                      <a:pt x="26" y="363"/>
                    </a:lnTo>
                    <a:lnTo>
                      <a:pt x="24" y="363"/>
                    </a:lnTo>
                    <a:lnTo>
                      <a:pt x="22" y="363"/>
                    </a:lnTo>
                    <a:lnTo>
                      <a:pt x="21" y="364"/>
                    </a:lnTo>
                    <a:lnTo>
                      <a:pt x="21" y="363"/>
                    </a:lnTo>
                    <a:lnTo>
                      <a:pt x="19" y="364"/>
                    </a:lnTo>
                    <a:lnTo>
                      <a:pt x="17" y="364"/>
                    </a:lnTo>
                    <a:lnTo>
                      <a:pt x="15" y="364"/>
                    </a:lnTo>
                    <a:lnTo>
                      <a:pt x="15" y="363"/>
                    </a:lnTo>
                    <a:lnTo>
                      <a:pt x="14" y="361"/>
                    </a:lnTo>
                    <a:lnTo>
                      <a:pt x="12" y="361"/>
                    </a:lnTo>
                    <a:lnTo>
                      <a:pt x="9" y="359"/>
                    </a:lnTo>
                    <a:lnTo>
                      <a:pt x="9" y="361"/>
                    </a:lnTo>
                    <a:lnTo>
                      <a:pt x="7" y="361"/>
                    </a:lnTo>
                    <a:lnTo>
                      <a:pt x="5" y="359"/>
                    </a:lnTo>
                    <a:lnTo>
                      <a:pt x="4" y="361"/>
                    </a:lnTo>
                    <a:lnTo>
                      <a:pt x="4" y="359"/>
                    </a:lnTo>
                    <a:lnTo>
                      <a:pt x="0" y="356"/>
                    </a:lnTo>
                    <a:lnTo>
                      <a:pt x="2" y="356"/>
                    </a:lnTo>
                    <a:lnTo>
                      <a:pt x="0" y="353"/>
                    </a:lnTo>
                    <a:lnTo>
                      <a:pt x="4" y="353"/>
                    </a:lnTo>
                    <a:lnTo>
                      <a:pt x="4" y="349"/>
                    </a:lnTo>
                    <a:lnTo>
                      <a:pt x="5" y="349"/>
                    </a:lnTo>
                    <a:lnTo>
                      <a:pt x="5" y="346"/>
                    </a:lnTo>
                    <a:lnTo>
                      <a:pt x="7" y="346"/>
                    </a:lnTo>
                    <a:lnTo>
                      <a:pt x="7" y="347"/>
                    </a:lnTo>
                    <a:lnTo>
                      <a:pt x="7" y="344"/>
                    </a:lnTo>
                    <a:lnTo>
                      <a:pt x="10" y="344"/>
                    </a:lnTo>
                    <a:lnTo>
                      <a:pt x="10" y="342"/>
                    </a:lnTo>
                    <a:lnTo>
                      <a:pt x="9" y="341"/>
                    </a:lnTo>
                    <a:lnTo>
                      <a:pt x="10" y="339"/>
                    </a:lnTo>
                    <a:lnTo>
                      <a:pt x="12" y="339"/>
                    </a:lnTo>
                    <a:lnTo>
                      <a:pt x="10" y="337"/>
                    </a:lnTo>
                    <a:lnTo>
                      <a:pt x="10" y="336"/>
                    </a:lnTo>
                    <a:lnTo>
                      <a:pt x="10" y="334"/>
                    </a:lnTo>
                    <a:lnTo>
                      <a:pt x="12" y="332"/>
                    </a:lnTo>
                    <a:lnTo>
                      <a:pt x="10" y="332"/>
                    </a:lnTo>
                    <a:lnTo>
                      <a:pt x="10" y="330"/>
                    </a:lnTo>
                    <a:lnTo>
                      <a:pt x="10" y="329"/>
                    </a:lnTo>
                    <a:lnTo>
                      <a:pt x="12" y="329"/>
                    </a:lnTo>
                    <a:lnTo>
                      <a:pt x="14" y="327"/>
                    </a:lnTo>
                    <a:lnTo>
                      <a:pt x="15" y="327"/>
                    </a:lnTo>
                    <a:lnTo>
                      <a:pt x="17" y="327"/>
                    </a:lnTo>
                    <a:lnTo>
                      <a:pt x="21" y="329"/>
                    </a:lnTo>
                    <a:lnTo>
                      <a:pt x="22" y="327"/>
                    </a:lnTo>
                    <a:lnTo>
                      <a:pt x="24" y="327"/>
                    </a:lnTo>
                    <a:lnTo>
                      <a:pt x="26" y="327"/>
                    </a:lnTo>
                    <a:lnTo>
                      <a:pt x="26" y="325"/>
                    </a:lnTo>
                    <a:lnTo>
                      <a:pt x="27" y="327"/>
                    </a:lnTo>
                    <a:lnTo>
                      <a:pt x="29" y="325"/>
                    </a:lnTo>
                    <a:lnTo>
                      <a:pt x="29" y="327"/>
                    </a:lnTo>
                    <a:lnTo>
                      <a:pt x="31" y="327"/>
                    </a:lnTo>
                    <a:lnTo>
                      <a:pt x="32" y="327"/>
                    </a:lnTo>
                    <a:lnTo>
                      <a:pt x="36" y="327"/>
                    </a:lnTo>
                    <a:lnTo>
                      <a:pt x="36" y="330"/>
                    </a:lnTo>
                    <a:lnTo>
                      <a:pt x="39" y="332"/>
                    </a:lnTo>
                    <a:lnTo>
                      <a:pt x="43" y="329"/>
                    </a:lnTo>
                    <a:lnTo>
                      <a:pt x="46" y="329"/>
                    </a:lnTo>
                    <a:lnTo>
                      <a:pt x="46" y="325"/>
                    </a:lnTo>
                    <a:lnTo>
                      <a:pt x="49" y="325"/>
                    </a:lnTo>
                    <a:lnTo>
                      <a:pt x="51" y="325"/>
                    </a:lnTo>
                    <a:lnTo>
                      <a:pt x="53" y="325"/>
                    </a:lnTo>
                    <a:lnTo>
                      <a:pt x="55" y="324"/>
                    </a:lnTo>
                    <a:lnTo>
                      <a:pt x="56" y="322"/>
                    </a:lnTo>
                    <a:lnTo>
                      <a:pt x="58" y="320"/>
                    </a:lnTo>
                    <a:lnTo>
                      <a:pt x="60" y="298"/>
                    </a:lnTo>
                    <a:lnTo>
                      <a:pt x="58" y="274"/>
                    </a:lnTo>
                    <a:lnTo>
                      <a:pt x="58" y="269"/>
                    </a:lnTo>
                    <a:lnTo>
                      <a:pt x="63" y="254"/>
                    </a:lnTo>
                    <a:lnTo>
                      <a:pt x="63" y="247"/>
                    </a:lnTo>
                    <a:lnTo>
                      <a:pt x="68" y="242"/>
                    </a:lnTo>
                    <a:lnTo>
                      <a:pt x="70" y="240"/>
                    </a:lnTo>
                    <a:lnTo>
                      <a:pt x="70" y="239"/>
                    </a:lnTo>
                    <a:lnTo>
                      <a:pt x="66" y="228"/>
                    </a:lnTo>
                    <a:lnTo>
                      <a:pt x="68" y="225"/>
                    </a:lnTo>
                    <a:lnTo>
                      <a:pt x="66" y="223"/>
                    </a:lnTo>
                    <a:lnTo>
                      <a:pt x="66" y="218"/>
                    </a:lnTo>
                    <a:lnTo>
                      <a:pt x="72" y="215"/>
                    </a:lnTo>
                    <a:lnTo>
                      <a:pt x="75" y="208"/>
                    </a:lnTo>
                    <a:lnTo>
                      <a:pt x="82" y="203"/>
                    </a:lnTo>
                    <a:lnTo>
                      <a:pt x="87" y="206"/>
                    </a:lnTo>
                    <a:lnTo>
                      <a:pt x="90" y="210"/>
                    </a:lnTo>
                    <a:lnTo>
                      <a:pt x="90" y="213"/>
                    </a:lnTo>
                    <a:lnTo>
                      <a:pt x="92" y="213"/>
                    </a:lnTo>
                    <a:lnTo>
                      <a:pt x="94" y="211"/>
                    </a:lnTo>
                    <a:lnTo>
                      <a:pt x="95" y="211"/>
                    </a:lnTo>
                    <a:lnTo>
                      <a:pt x="100" y="203"/>
                    </a:lnTo>
                    <a:lnTo>
                      <a:pt x="100" y="199"/>
                    </a:lnTo>
                    <a:lnTo>
                      <a:pt x="102" y="189"/>
                    </a:lnTo>
                    <a:lnTo>
                      <a:pt x="100" y="186"/>
                    </a:lnTo>
                    <a:lnTo>
                      <a:pt x="102" y="182"/>
                    </a:lnTo>
                    <a:lnTo>
                      <a:pt x="102" y="181"/>
                    </a:lnTo>
                    <a:lnTo>
                      <a:pt x="106" y="176"/>
                    </a:lnTo>
                    <a:lnTo>
                      <a:pt x="106" y="174"/>
                    </a:lnTo>
                    <a:lnTo>
                      <a:pt x="107" y="171"/>
                    </a:lnTo>
                    <a:lnTo>
                      <a:pt x="107" y="165"/>
                    </a:lnTo>
                    <a:lnTo>
                      <a:pt x="106" y="160"/>
                    </a:lnTo>
                    <a:lnTo>
                      <a:pt x="107" y="157"/>
                    </a:lnTo>
                    <a:lnTo>
                      <a:pt x="116" y="150"/>
                    </a:lnTo>
                    <a:lnTo>
                      <a:pt x="117" y="147"/>
                    </a:lnTo>
                    <a:lnTo>
                      <a:pt x="119" y="145"/>
                    </a:lnTo>
                    <a:lnTo>
                      <a:pt x="119" y="143"/>
                    </a:lnTo>
                    <a:lnTo>
                      <a:pt x="121" y="142"/>
                    </a:lnTo>
                    <a:lnTo>
                      <a:pt x="123" y="138"/>
                    </a:lnTo>
                    <a:lnTo>
                      <a:pt x="124" y="137"/>
                    </a:lnTo>
                    <a:lnTo>
                      <a:pt x="124" y="135"/>
                    </a:lnTo>
                    <a:lnTo>
                      <a:pt x="134" y="116"/>
                    </a:lnTo>
                    <a:lnTo>
                      <a:pt x="138" y="116"/>
                    </a:lnTo>
                    <a:lnTo>
                      <a:pt x="138" y="114"/>
                    </a:lnTo>
                    <a:lnTo>
                      <a:pt x="138" y="113"/>
                    </a:lnTo>
                    <a:lnTo>
                      <a:pt x="140" y="114"/>
                    </a:lnTo>
                    <a:lnTo>
                      <a:pt x="141" y="113"/>
                    </a:lnTo>
                    <a:lnTo>
                      <a:pt x="141" y="114"/>
                    </a:lnTo>
                    <a:lnTo>
                      <a:pt x="153" y="111"/>
                    </a:lnTo>
                    <a:lnTo>
                      <a:pt x="158" y="111"/>
                    </a:lnTo>
                    <a:lnTo>
                      <a:pt x="158" y="113"/>
                    </a:lnTo>
                    <a:lnTo>
                      <a:pt x="162" y="113"/>
                    </a:lnTo>
                    <a:lnTo>
                      <a:pt x="162" y="109"/>
                    </a:lnTo>
                    <a:lnTo>
                      <a:pt x="162" y="102"/>
                    </a:lnTo>
                    <a:lnTo>
                      <a:pt x="160" y="99"/>
                    </a:lnTo>
                    <a:lnTo>
                      <a:pt x="165" y="82"/>
                    </a:lnTo>
                    <a:lnTo>
                      <a:pt x="167" y="80"/>
                    </a:lnTo>
                    <a:lnTo>
                      <a:pt x="172" y="70"/>
                    </a:lnTo>
                    <a:lnTo>
                      <a:pt x="172" y="67"/>
                    </a:lnTo>
                    <a:lnTo>
                      <a:pt x="174" y="60"/>
                    </a:lnTo>
                    <a:lnTo>
                      <a:pt x="179" y="55"/>
                    </a:lnTo>
                    <a:lnTo>
                      <a:pt x="175" y="48"/>
                    </a:lnTo>
                    <a:lnTo>
                      <a:pt x="179" y="43"/>
                    </a:lnTo>
                    <a:lnTo>
                      <a:pt x="180" y="33"/>
                    </a:lnTo>
                    <a:lnTo>
                      <a:pt x="180" y="31"/>
                    </a:lnTo>
                    <a:lnTo>
                      <a:pt x="182" y="31"/>
                    </a:lnTo>
                    <a:lnTo>
                      <a:pt x="185" y="29"/>
                    </a:lnTo>
                    <a:lnTo>
                      <a:pt x="187" y="31"/>
                    </a:lnTo>
                    <a:lnTo>
                      <a:pt x="191" y="29"/>
                    </a:lnTo>
                    <a:lnTo>
                      <a:pt x="196" y="31"/>
                    </a:lnTo>
                    <a:lnTo>
                      <a:pt x="196" y="29"/>
                    </a:lnTo>
                    <a:lnTo>
                      <a:pt x="202" y="31"/>
                    </a:lnTo>
                    <a:lnTo>
                      <a:pt x="204" y="33"/>
                    </a:lnTo>
                    <a:lnTo>
                      <a:pt x="206" y="33"/>
                    </a:lnTo>
                    <a:lnTo>
                      <a:pt x="208" y="33"/>
                    </a:lnTo>
                    <a:lnTo>
                      <a:pt x="209" y="29"/>
                    </a:lnTo>
                    <a:lnTo>
                      <a:pt x="211" y="26"/>
                    </a:lnTo>
                    <a:lnTo>
                      <a:pt x="213" y="24"/>
                    </a:lnTo>
                    <a:lnTo>
                      <a:pt x="214" y="24"/>
                    </a:lnTo>
                    <a:lnTo>
                      <a:pt x="216" y="24"/>
                    </a:lnTo>
                    <a:lnTo>
                      <a:pt x="219" y="24"/>
                    </a:lnTo>
                    <a:lnTo>
                      <a:pt x="221" y="24"/>
                    </a:lnTo>
                    <a:lnTo>
                      <a:pt x="223" y="28"/>
                    </a:lnTo>
                    <a:lnTo>
                      <a:pt x="223" y="29"/>
                    </a:lnTo>
                    <a:lnTo>
                      <a:pt x="225" y="29"/>
                    </a:lnTo>
                    <a:lnTo>
                      <a:pt x="223" y="31"/>
                    </a:lnTo>
                    <a:lnTo>
                      <a:pt x="226" y="33"/>
                    </a:lnTo>
                    <a:lnTo>
                      <a:pt x="228" y="33"/>
                    </a:lnTo>
                    <a:lnTo>
                      <a:pt x="228" y="34"/>
                    </a:lnTo>
                    <a:lnTo>
                      <a:pt x="228" y="36"/>
                    </a:lnTo>
                    <a:lnTo>
                      <a:pt x="230" y="36"/>
                    </a:lnTo>
                    <a:lnTo>
                      <a:pt x="243" y="12"/>
                    </a:lnTo>
                    <a:lnTo>
                      <a:pt x="250" y="0"/>
                    </a:lnTo>
                    <a:lnTo>
                      <a:pt x="252" y="4"/>
                    </a:lnTo>
                    <a:lnTo>
                      <a:pt x="252" y="6"/>
                    </a:lnTo>
                    <a:lnTo>
                      <a:pt x="253" y="6"/>
                    </a:lnTo>
                    <a:lnTo>
                      <a:pt x="253" y="7"/>
                    </a:lnTo>
                    <a:lnTo>
                      <a:pt x="255" y="7"/>
                    </a:lnTo>
                    <a:lnTo>
                      <a:pt x="255" y="9"/>
                    </a:lnTo>
                    <a:lnTo>
                      <a:pt x="257" y="9"/>
                    </a:lnTo>
                    <a:lnTo>
                      <a:pt x="259" y="11"/>
                    </a:lnTo>
                    <a:lnTo>
                      <a:pt x="262" y="12"/>
                    </a:lnTo>
                    <a:lnTo>
                      <a:pt x="264" y="12"/>
                    </a:lnTo>
                    <a:lnTo>
                      <a:pt x="264" y="11"/>
                    </a:lnTo>
                    <a:lnTo>
                      <a:pt x="267" y="12"/>
                    </a:lnTo>
                    <a:lnTo>
                      <a:pt x="267" y="14"/>
                    </a:lnTo>
                    <a:lnTo>
                      <a:pt x="269" y="16"/>
                    </a:lnTo>
                    <a:lnTo>
                      <a:pt x="270" y="16"/>
                    </a:lnTo>
                    <a:lnTo>
                      <a:pt x="272" y="21"/>
                    </a:lnTo>
                    <a:lnTo>
                      <a:pt x="274" y="21"/>
                    </a:lnTo>
                    <a:lnTo>
                      <a:pt x="274" y="23"/>
                    </a:lnTo>
                    <a:lnTo>
                      <a:pt x="276" y="23"/>
                    </a:lnTo>
                    <a:lnTo>
                      <a:pt x="277" y="26"/>
                    </a:lnTo>
                    <a:lnTo>
                      <a:pt x="279" y="24"/>
                    </a:lnTo>
                    <a:lnTo>
                      <a:pt x="281" y="26"/>
                    </a:lnTo>
                    <a:lnTo>
                      <a:pt x="282" y="24"/>
                    </a:lnTo>
                    <a:lnTo>
                      <a:pt x="287" y="24"/>
                    </a:lnTo>
                    <a:lnTo>
                      <a:pt x="289" y="23"/>
                    </a:lnTo>
                    <a:lnTo>
                      <a:pt x="294" y="23"/>
                    </a:lnTo>
                    <a:lnTo>
                      <a:pt x="298" y="21"/>
                    </a:lnTo>
                    <a:lnTo>
                      <a:pt x="299" y="21"/>
                    </a:lnTo>
                    <a:lnTo>
                      <a:pt x="301" y="19"/>
                    </a:lnTo>
                    <a:lnTo>
                      <a:pt x="303" y="19"/>
                    </a:lnTo>
                    <a:lnTo>
                      <a:pt x="306" y="16"/>
                    </a:lnTo>
                    <a:lnTo>
                      <a:pt x="306" y="14"/>
                    </a:lnTo>
                    <a:lnTo>
                      <a:pt x="310" y="14"/>
                    </a:lnTo>
                    <a:lnTo>
                      <a:pt x="313" y="12"/>
                    </a:lnTo>
                    <a:lnTo>
                      <a:pt x="315" y="14"/>
                    </a:lnTo>
                    <a:lnTo>
                      <a:pt x="315" y="16"/>
                    </a:lnTo>
                    <a:lnTo>
                      <a:pt x="315" y="14"/>
                    </a:lnTo>
                    <a:lnTo>
                      <a:pt x="316" y="17"/>
                    </a:lnTo>
                    <a:lnTo>
                      <a:pt x="318" y="21"/>
                    </a:lnTo>
                    <a:lnTo>
                      <a:pt x="316" y="23"/>
                    </a:lnTo>
                    <a:lnTo>
                      <a:pt x="318" y="26"/>
                    </a:lnTo>
                    <a:lnTo>
                      <a:pt x="320" y="23"/>
                    </a:lnTo>
                    <a:lnTo>
                      <a:pt x="323" y="23"/>
                    </a:lnTo>
                    <a:lnTo>
                      <a:pt x="323" y="19"/>
                    </a:lnTo>
                    <a:lnTo>
                      <a:pt x="325" y="19"/>
                    </a:lnTo>
                    <a:lnTo>
                      <a:pt x="325" y="21"/>
                    </a:lnTo>
                    <a:lnTo>
                      <a:pt x="330" y="23"/>
                    </a:lnTo>
                    <a:lnTo>
                      <a:pt x="332" y="21"/>
                    </a:lnTo>
                    <a:lnTo>
                      <a:pt x="330" y="19"/>
                    </a:lnTo>
                    <a:lnTo>
                      <a:pt x="330" y="17"/>
                    </a:lnTo>
                    <a:lnTo>
                      <a:pt x="332" y="17"/>
                    </a:lnTo>
                    <a:lnTo>
                      <a:pt x="332" y="16"/>
                    </a:lnTo>
                    <a:lnTo>
                      <a:pt x="335" y="16"/>
                    </a:lnTo>
                    <a:lnTo>
                      <a:pt x="340" y="16"/>
                    </a:lnTo>
                    <a:lnTo>
                      <a:pt x="340" y="17"/>
                    </a:lnTo>
                    <a:lnTo>
                      <a:pt x="344" y="19"/>
                    </a:lnTo>
                    <a:lnTo>
                      <a:pt x="345" y="21"/>
                    </a:lnTo>
                    <a:lnTo>
                      <a:pt x="349" y="23"/>
                    </a:lnTo>
                    <a:lnTo>
                      <a:pt x="352" y="26"/>
                    </a:lnTo>
                    <a:lnTo>
                      <a:pt x="354" y="24"/>
                    </a:lnTo>
                    <a:lnTo>
                      <a:pt x="355" y="23"/>
                    </a:lnTo>
                    <a:lnTo>
                      <a:pt x="359" y="19"/>
                    </a:lnTo>
                    <a:lnTo>
                      <a:pt x="361" y="19"/>
                    </a:lnTo>
                    <a:lnTo>
                      <a:pt x="362" y="19"/>
                    </a:lnTo>
                    <a:lnTo>
                      <a:pt x="366" y="26"/>
                    </a:lnTo>
                    <a:lnTo>
                      <a:pt x="369" y="26"/>
                    </a:lnTo>
                    <a:lnTo>
                      <a:pt x="378" y="29"/>
                    </a:lnTo>
                    <a:lnTo>
                      <a:pt x="396" y="38"/>
                    </a:lnTo>
                    <a:lnTo>
                      <a:pt x="400" y="40"/>
                    </a:lnTo>
                    <a:lnTo>
                      <a:pt x="403" y="41"/>
                    </a:lnTo>
                    <a:lnTo>
                      <a:pt x="406" y="45"/>
                    </a:lnTo>
                    <a:lnTo>
                      <a:pt x="415" y="60"/>
                    </a:lnTo>
                    <a:lnTo>
                      <a:pt x="422" y="68"/>
                    </a:lnTo>
                    <a:lnTo>
                      <a:pt x="429" y="74"/>
                    </a:lnTo>
                    <a:lnTo>
                      <a:pt x="437" y="77"/>
                    </a:lnTo>
                    <a:lnTo>
                      <a:pt x="442" y="82"/>
                    </a:lnTo>
                    <a:lnTo>
                      <a:pt x="444" y="84"/>
                    </a:lnTo>
                    <a:lnTo>
                      <a:pt x="451" y="94"/>
                    </a:lnTo>
                    <a:lnTo>
                      <a:pt x="456" y="101"/>
                    </a:lnTo>
                    <a:lnTo>
                      <a:pt x="457" y="104"/>
                    </a:lnTo>
                    <a:lnTo>
                      <a:pt x="459" y="106"/>
                    </a:lnTo>
                    <a:lnTo>
                      <a:pt x="468" y="109"/>
                    </a:lnTo>
                    <a:lnTo>
                      <a:pt x="471" y="114"/>
                    </a:lnTo>
                    <a:lnTo>
                      <a:pt x="478" y="123"/>
                    </a:lnTo>
                    <a:close/>
                  </a:path>
                </a:pathLst>
              </a:custGeom>
              <a:solidFill>
                <a:schemeClr val="accent2"/>
              </a:solidFill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8" name="Freeform 28">
                <a:extLst>
                  <a:ext uri="{FF2B5EF4-FFF2-40B4-BE49-F238E27FC236}">
                    <a16:creationId xmlns:a16="http://schemas.microsoft.com/office/drawing/2014/main" id="{81A82051-EF5E-440F-B2C2-9BC594E0731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276699" y="3266939"/>
                <a:ext cx="466712" cy="504805"/>
              </a:xfrm>
              <a:custGeom>
                <a:avLst/>
                <a:gdLst>
                  <a:gd name="T0" fmla="*/ 228 w 294"/>
                  <a:gd name="T1" fmla="*/ 17 h 318"/>
                  <a:gd name="T2" fmla="*/ 224 w 294"/>
                  <a:gd name="T3" fmla="*/ 31 h 318"/>
                  <a:gd name="T4" fmla="*/ 226 w 294"/>
                  <a:gd name="T5" fmla="*/ 43 h 318"/>
                  <a:gd name="T6" fmla="*/ 224 w 294"/>
                  <a:gd name="T7" fmla="*/ 55 h 318"/>
                  <a:gd name="T8" fmla="*/ 238 w 294"/>
                  <a:gd name="T9" fmla="*/ 51 h 318"/>
                  <a:gd name="T10" fmla="*/ 250 w 294"/>
                  <a:gd name="T11" fmla="*/ 50 h 318"/>
                  <a:gd name="T12" fmla="*/ 269 w 294"/>
                  <a:gd name="T13" fmla="*/ 45 h 318"/>
                  <a:gd name="T14" fmla="*/ 286 w 294"/>
                  <a:gd name="T15" fmla="*/ 60 h 318"/>
                  <a:gd name="T16" fmla="*/ 287 w 294"/>
                  <a:gd name="T17" fmla="*/ 85 h 318"/>
                  <a:gd name="T18" fmla="*/ 272 w 294"/>
                  <a:gd name="T19" fmla="*/ 92 h 318"/>
                  <a:gd name="T20" fmla="*/ 264 w 294"/>
                  <a:gd name="T21" fmla="*/ 114 h 318"/>
                  <a:gd name="T22" fmla="*/ 267 w 294"/>
                  <a:gd name="T23" fmla="*/ 131 h 318"/>
                  <a:gd name="T24" fmla="*/ 277 w 294"/>
                  <a:gd name="T25" fmla="*/ 140 h 318"/>
                  <a:gd name="T26" fmla="*/ 292 w 294"/>
                  <a:gd name="T27" fmla="*/ 147 h 318"/>
                  <a:gd name="T28" fmla="*/ 292 w 294"/>
                  <a:gd name="T29" fmla="*/ 162 h 318"/>
                  <a:gd name="T30" fmla="*/ 294 w 294"/>
                  <a:gd name="T31" fmla="*/ 181 h 318"/>
                  <a:gd name="T32" fmla="*/ 289 w 294"/>
                  <a:gd name="T33" fmla="*/ 198 h 318"/>
                  <a:gd name="T34" fmla="*/ 289 w 294"/>
                  <a:gd name="T35" fmla="*/ 211 h 318"/>
                  <a:gd name="T36" fmla="*/ 282 w 294"/>
                  <a:gd name="T37" fmla="*/ 225 h 318"/>
                  <a:gd name="T38" fmla="*/ 275 w 294"/>
                  <a:gd name="T39" fmla="*/ 240 h 318"/>
                  <a:gd name="T40" fmla="*/ 264 w 294"/>
                  <a:gd name="T41" fmla="*/ 244 h 318"/>
                  <a:gd name="T42" fmla="*/ 257 w 294"/>
                  <a:gd name="T43" fmla="*/ 223 h 318"/>
                  <a:gd name="T44" fmla="*/ 230 w 294"/>
                  <a:gd name="T45" fmla="*/ 238 h 318"/>
                  <a:gd name="T46" fmla="*/ 214 w 294"/>
                  <a:gd name="T47" fmla="*/ 230 h 318"/>
                  <a:gd name="T48" fmla="*/ 207 w 294"/>
                  <a:gd name="T49" fmla="*/ 215 h 318"/>
                  <a:gd name="T50" fmla="*/ 196 w 294"/>
                  <a:gd name="T51" fmla="*/ 210 h 318"/>
                  <a:gd name="T52" fmla="*/ 189 w 294"/>
                  <a:gd name="T53" fmla="*/ 218 h 318"/>
                  <a:gd name="T54" fmla="*/ 190 w 294"/>
                  <a:gd name="T55" fmla="*/ 233 h 318"/>
                  <a:gd name="T56" fmla="*/ 167 w 294"/>
                  <a:gd name="T57" fmla="*/ 237 h 318"/>
                  <a:gd name="T58" fmla="*/ 148 w 294"/>
                  <a:gd name="T59" fmla="*/ 235 h 318"/>
                  <a:gd name="T60" fmla="*/ 145 w 294"/>
                  <a:gd name="T61" fmla="*/ 262 h 318"/>
                  <a:gd name="T62" fmla="*/ 165 w 294"/>
                  <a:gd name="T63" fmla="*/ 283 h 318"/>
                  <a:gd name="T64" fmla="*/ 145 w 294"/>
                  <a:gd name="T65" fmla="*/ 291 h 318"/>
                  <a:gd name="T66" fmla="*/ 117 w 294"/>
                  <a:gd name="T67" fmla="*/ 313 h 318"/>
                  <a:gd name="T68" fmla="*/ 85 w 294"/>
                  <a:gd name="T69" fmla="*/ 273 h 318"/>
                  <a:gd name="T70" fmla="*/ 27 w 294"/>
                  <a:gd name="T71" fmla="*/ 213 h 318"/>
                  <a:gd name="T72" fmla="*/ 9 w 294"/>
                  <a:gd name="T73" fmla="*/ 170 h 318"/>
                  <a:gd name="T74" fmla="*/ 5 w 294"/>
                  <a:gd name="T75" fmla="*/ 157 h 318"/>
                  <a:gd name="T76" fmla="*/ 12 w 294"/>
                  <a:gd name="T77" fmla="*/ 155 h 318"/>
                  <a:gd name="T78" fmla="*/ 22 w 294"/>
                  <a:gd name="T79" fmla="*/ 147 h 318"/>
                  <a:gd name="T80" fmla="*/ 34 w 294"/>
                  <a:gd name="T81" fmla="*/ 102 h 318"/>
                  <a:gd name="T82" fmla="*/ 41 w 294"/>
                  <a:gd name="T83" fmla="*/ 109 h 318"/>
                  <a:gd name="T84" fmla="*/ 56 w 294"/>
                  <a:gd name="T85" fmla="*/ 118 h 318"/>
                  <a:gd name="T86" fmla="*/ 63 w 294"/>
                  <a:gd name="T87" fmla="*/ 109 h 318"/>
                  <a:gd name="T88" fmla="*/ 54 w 294"/>
                  <a:gd name="T89" fmla="*/ 109 h 318"/>
                  <a:gd name="T90" fmla="*/ 41 w 294"/>
                  <a:gd name="T91" fmla="*/ 102 h 318"/>
                  <a:gd name="T92" fmla="*/ 38 w 294"/>
                  <a:gd name="T93" fmla="*/ 85 h 318"/>
                  <a:gd name="T94" fmla="*/ 43 w 294"/>
                  <a:gd name="T95" fmla="*/ 89 h 318"/>
                  <a:gd name="T96" fmla="*/ 46 w 294"/>
                  <a:gd name="T97" fmla="*/ 90 h 318"/>
                  <a:gd name="T98" fmla="*/ 53 w 294"/>
                  <a:gd name="T99" fmla="*/ 63 h 318"/>
                  <a:gd name="T100" fmla="*/ 65 w 294"/>
                  <a:gd name="T101" fmla="*/ 67 h 318"/>
                  <a:gd name="T102" fmla="*/ 134 w 294"/>
                  <a:gd name="T103" fmla="*/ 5 h 318"/>
                  <a:gd name="T104" fmla="*/ 158 w 294"/>
                  <a:gd name="T105" fmla="*/ 2 h 318"/>
                  <a:gd name="T106" fmla="*/ 189 w 294"/>
                  <a:gd name="T107" fmla="*/ 4 h 318"/>
                  <a:gd name="T108" fmla="*/ 213 w 294"/>
                  <a:gd name="T109" fmla="*/ 4 h 318"/>
                  <a:gd name="T110" fmla="*/ 231 w 294"/>
                  <a:gd name="T111" fmla="*/ 4 h 318"/>
                  <a:gd name="T112" fmla="*/ 61 w 294"/>
                  <a:gd name="T113" fmla="*/ 107 h 318"/>
                  <a:gd name="T114" fmla="*/ 60 w 294"/>
                  <a:gd name="T115" fmla="*/ 107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94" h="318">
                    <a:moveTo>
                      <a:pt x="233" y="7"/>
                    </a:moveTo>
                    <a:lnTo>
                      <a:pt x="231" y="9"/>
                    </a:lnTo>
                    <a:lnTo>
                      <a:pt x="233" y="9"/>
                    </a:lnTo>
                    <a:lnTo>
                      <a:pt x="231" y="9"/>
                    </a:lnTo>
                    <a:lnTo>
                      <a:pt x="233" y="11"/>
                    </a:lnTo>
                    <a:lnTo>
                      <a:pt x="233" y="12"/>
                    </a:lnTo>
                    <a:lnTo>
                      <a:pt x="231" y="14"/>
                    </a:lnTo>
                    <a:lnTo>
                      <a:pt x="230" y="16"/>
                    </a:lnTo>
                    <a:lnTo>
                      <a:pt x="228" y="17"/>
                    </a:lnTo>
                    <a:lnTo>
                      <a:pt x="228" y="19"/>
                    </a:lnTo>
                    <a:lnTo>
                      <a:pt x="224" y="22"/>
                    </a:lnTo>
                    <a:lnTo>
                      <a:pt x="226" y="22"/>
                    </a:lnTo>
                    <a:lnTo>
                      <a:pt x="228" y="24"/>
                    </a:lnTo>
                    <a:lnTo>
                      <a:pt x="226" y="26"/>
                    </a:lnTo>
                    <a:lnTo>
                      <a:pt x="226" y="28"/>
                    </a:lnTo>
                    <a:lnTo>
                      <a:pt x="226" y="29"/>
                    </a:lnTo>
                    <a:lnTo>
                      <a:pt x="224" y="29"/>
                    </a:lnTo>
                    <a:lnTo>
                      <a:pt x="224" y="31"/>
                    </a:lnTo>
                    <a:lnTo>
                      <a:pt x="224" y="36"/>
                    </a:lnTo>
                    <a:lnTo>
                      <a:pt x="224" y="38"/>
                    </a:lnTo>
                    <a:lnTo>
                      <a:pt x="223" y="38"/>
                    </a:lnTo>
                    <a:lnTo>
                      <a:pt x="224" y="38"/>
                    </a:lnTo>
                    <a:lnTo>
                      <a:pt x="224" y="39"/>
                    </a:lnTo>
                    <a:lnTo>
                      <a:pt x="224" y="41"/>
                    </a:lnTo>
                    <a:lnTo>
                      <a:pt x="226" y="39"/>
                    </a:lnTo>
                    <a:lnTo>
                      <a:pt x="226" y="41"/>
                    </a:lnTo>
                    <a:lnTo>
                      <a:pt x="226" y="43"/>
                    </a:lnTo>
                    <a:lnTo>
                      <a:pt x="228" y="43"/>
                    </a:lnTo>
                    <a:lnTo>
                      <a:pt x="230" y="46"/>
                    </a:lnTo>
                    <a:lnTo>
                      <a:pt x="230" y="48"/>
                    </a:lnTo>
                    <a:lnTo>
                      <a:pt x="230" y="50"/>
                    </a:lnTo>
                    <a:lnTo>
                      <a:pt x="231" y="50"/>
                    </a:lnTo>
                    <a:lnTo>
                      <a:pt x="228" y="53"/>
                    </a:lnTo>
                    <a:lnTo>
                      <a:pt x="226" y="51"/>
                    </a:lnTo>
                    <a:lnTo>
                      <a:pt x="226" y="55"/>
                    </a:lnTo>
                    <a:lnTo>
                      <a:pt x="224" y="55"/>
                    </a:lnTo>
                    <a:lnTo>
                      <a:pt x="226" y="56"/>
                    </a:lnTo>
                    <a:lnTo>
                      <a:pt x="231" y="55"/>
                    </a:lnTo>
                    <a:lnTo>
                      <a:pt x="233" y="56"/>
                    </a:lnTo>
                    <a:lnTo>
                      <a:pt x="233" y="55"/>
                    </a:lnTo>
                    <a:lnTo>
                      <a:pt x="233" y="53"/>
                    </a:lnTo>
                    <a:lnTo>
                      <a:pt x="235" y="55"/>
                    </a:lnTo>
                    <a:lnTo>
                      <a:pt x="236" y="53"/>
                    </a:lnTo>
                    <a:lnTo>
                      <a:pt x="238" y="53"/>
                    </a:lnTo>
                    <a:lnTo>
                      <a:pt x="238" y="51"/>
                    </a:lnTo>
                    <a:lnTo>
                      <a:pt x="240" y="51"/>
                    </a:lnTo>
                    <a:lnTo>
                      <a:pt x="240" y="53"/>
                    </a:lnTo>
                    <a:lnTo>
                      <a:pt x="240" y="51"/>
                    </a:lnTo>
                    <a:lnTo>
                      <a:pt x="241" y="53"/>
                    </a:lnTo>
                    <a:lnTo>
                      <a:pt x="243" y="53"/>
                    </a:lnTo>
                    <a:lnTo>
                      <a:pt x="245" y="53"/>
                    </a:lnTo>
                    <a:lnTo>
                      <a:pt x="247" y="51"/>
                    </a:lnTo>
                    <a:lnTo>
                      <a:pt x="248" y="50"/>
                    </a:lnTo>
                    <a:lnTo>
                      <a:pt x="250" y="50"/>
                    </a:lnTo>
                    <a:lnTo>
                      <a:pt x="253" y="50"/>
                    </a:lnTo>
                    <a:lnTo>
                      <a:pt x="255" y="48"/>
                    </a:lnTo>
                    <a:lnTo>
                      <a:pt x="255" y="50"/>
                    </a:lnTo>
                    <a:lnTo>
                      <a:pt x="257" y="48"/>
                    </a:lnTo>
                    <a:lnTo>
                      <a:pt x="257" y="46"/>
                    </a:lnTo>
                    <a:lnTo>
                      <a:pt x="258" y="46"/>
                    </a:lnTo>
                    <a:lnTo>
                      <a:pt x="258" y="45"/>
                    </a:lnTo>
                    <a:lnTo>
                      <a:pt x="267" y="46"/>
                    </a:lnTo>
                    <a:lnTo>
                      <a:pt x="269" y="45"/>
                    </a:lnTo>
                    <a:lnTo>
                      <a:pt x="272" y="48"/>
                    </a:lnTo>
                    <a:lnTo>
                      <a:pt x="274" y="46"/>
                    </a:lnTo>
                    <a:lnTo>
                      <a:pt x="277" y="46"/>
                    </a:lnTo>
                    <a:lnTo>
                      <a:pt x="277" y="48"/>
                    </a:lnTo>
                    <a:lnTo>
                      <a:pt x="282" y="50"/>
                    </a:lnTo>
                    <a:lnTo>
                      <a:pt x="284" y="51"/>
                    </a:lnTo>
                    <a:lnTo>
                      <a:pt x="282" y="55"/>
                    </a:lnTo>
                    <a:lnTo>
                      <a:pt x="284" y="56"/>
                    </a:lnTo>
                    <a:lnTo>
                      <a:pt x="286" y="60"/>
                    </a:lnTo>
                    <a:lnTo>
                      <a:pt x="287" y="62"/>
                    </a:lnTo>
                    <a:lnTo>
                      <a:pt x="289" y="68"/>
                    </a:lnTo>
                    <a:lnTo>
                      <a:pt x="292" y="70"/>
                    </a:lnTo>
                    <a:lnTo>
                      <a:pt x="292" y="73"/>
                    </a:lnTo>
                    <a:lnTo>
                      <a:pt x="291" y="73"/>
                    </a:lnTo>
                    <a:lnTo>
                      <a:pt x="292" y="75"/>
                    </a:lnTo>
                    <a:lnTo>
                      <a:pt x="286" y="82"/>
                    </a:lnTo>
                    <a:lnTo>
                      <a:pt x="286" y="84"/>
                    </a:lnTo>
                    <a:lnTo>
                      <a:pt x="287" y="85"/>
                    </a:lnTo>
                    <a:lnTo>
                      <a:pt x="282" y="87"/>
                    </a:lnTo>
                    <a:lnTo>
                      <a:pt x="282" y="89"/>
                    </a:lnTo>
                    <a:lnTo>
                      <a:pt x="282" y="90"/>
                    </a:lnTo>
                    <a:lnTo>
                      <a:pt x="279" y="90"/>
                    </a:lnTo>
                    <a:lnTo>
                      <a:pt x="279" y="89"/>
                    </a:lnTo>
                    <a:lnTo>
                      <a:pt x="277" y="90"/>
                    </a:lnTo>
                    <a:lnTo>
                      <a:pt x="275" y="89"/>
                    </a:lnTo>
                    <a:lnTo>
                      <a:pt x="272" y="90"/>
                    </a:lnTo>
                    <a:lnTo>
                      <a:pt x="272" y="92"/>
                    </a:lnTo>
                    <a:lnTo>
                      <a:pt x="272" y="94"/>
                    </a:lnTo>
                    <a:lnTo>
                      <a:pt x="270" y="96"/>
                    </a:lnTo>
                    <a:lnTo>
                      <a:pt x="267" y="99"/>
                    </a:lnTo>
                    <a:lnTo>
                      <a:pt x="265" y="101"/>
                    </a:lnTo>
                    <a:lnTo>
                      <a:pt x="265" y="104"/>
                    </a:lnTo>
                    <a:lnTo>
                      <a:pt x="262" y="106"/>
                    </a:lnTo>
                    <a:lnTo>
                      <a:pt x="262" y="107"/>
                    </a:lnTo>
                    <a:lnTo>
                      <a:pt x="264" y="111"/>
                    </a:lnTo>
                    <a:lnTo>
                      <a:pt x="264" y="114"/>
                    </a:lnTo>
                    <a:lnTo>
                      <a:pt x="265" y="116"/>
                    </a:lnTo>
                    <a:lnTo>
                      <a:pt x="265" y="118"/>
                    </a:lnTo>
                    <a:lnTo>
                      <a:pt x="267" y="118"/>
                    </a:lnTo>
                    <a:lnTo>
                      <a:pt x="269" y="119"/>
                    </a:lnTo>
                    <a:lnTo>
                      <a:pt x="269" y="123"/>
                    </a:lnTo>
                    <a:lnTo>
                      <a:pt x="264" y="125"/>
                    </a:lnTo>
                    <a:lnTo>
                      <a:pt x="264" y="126"/>
                    </a:lnTo>
                    <a:lnTo>
                      <a:pt x="265" y="130"/>
                    </a:lnTo>
                    <a:lnTo>
                      <a:pt x="267" y="131"/>
                    </a:lnTo>
                    <a:lnTo>
                      <a:pt x="267" y="130"/>
                    </a:lnTo>
                    <a:lnTo>
                      <a:pt x="269" y="131"/>
                    </a:lnTo>
                    <a:lnTo>
                      <a:pt x="270" y="130"/>
                    </a:lnTo>
                    <a:lnTo>
                      <a:pt x="270" y="131"/>
                    </a:lnTo>
                    <a:lnTo>
                      <a:pt x="272" y="130"/>
                    </a:lnTo>
                    <a:lnTo>
                      <a:pt x="274" y="131"/>
                    </a:lnTo>
                    <a:lnTo>
                      <a:pt x="275" y="131"/>
                    </a:lnTo>
                    <a:lnTo>
                      <a:pt x="277" y="136"/>
                    </a:lnTo>
                    <a:lnTo>
                      <a:pt x="277" y="140"/>
                    </a:lnTo>
                    <a:lnTo>
                      <a:pt x="279" y="140"/>
                    </a:lnTo>
                    <a:lnTo>
                      <a:pt x="282" y="142"/>
                    </a:lnTo>
                    <a:lnTo>
                      <a:pt x="284" y="140"/>
                    </a:lnTo>
                    <a:lnTo>
                      <a:pt x="287" y="142"/>
                    </a:lnTo>
                    <a:lnTo>
                      <a:pt x="289" y="142"/>
                    </a:lnTo>
                    <a:lnTo>
                      <a:pt x="291" y="143"/>
                    </a:lnTo>
                    <a:lnTo>
                      <a:pt x="289" y="145"/>
                    </a:lnTo>
                    <a:lnTo>
                      <a:pt x="291" y="145"/>
                    </a:lnTo>
                    <a:lnTo>
                      <a:pt x="292" y="147"/>
                    </a:lnTo>
                    <a:lnTo>
                      <a:pt x="292" y="148"/>
                    </a:lnTo>
                    <a:lnTo>
                      <a:pt x="294" y="148"/>
                    </a:lnTo>
                    <a:lnTo>
                      <a:pt x="294" y="150"/>
                    </a:lnTo>
                    <a:lnTo>
                      <a:pt x="294" y="152"/>
                    </a:lnTo>
                    <a:lnTo>
                      <a:pt x="291" y="155"/>
                    </a:lnTo>
                    <a:lnTo>
                      <a:pt x="292" y="157"/>
                    </a:lnTo>
                    <a:lnTo>
                      <a:pt x="291" y="159"/>
                    </a:lnTo>
                    <a:lnTo>
                      <a:pt x="292" y="160"/>
                    </a:lnTo>
                    <a:lnTo>
                      <a:pt x="292" y="162"/>
                    </a:lnTo>
                    <a:lnTo>
                      <a:pt x="289" y="165"/>
                    </a:lnTo>
                    <a:lnTo>
                      <a:pt x="291" y="165"/>
                    </a:lnTo>
                    <a:lnTo>
                      <a:pt x="291" y="167"/>
                    </a:lnTo>
                    <a:lnTo>
                      <a:pt x="289" y="170"/>
                    </a:lnTo>
                    <a:lnTo>
                      <a:pt x="291" y="170"/>
                    </a:lnTo>
                    <a:lnTo>
                      <a:pt x="292" y="174"/>
                    </a:lnTo>
                    <a:lnTo>
                      <a:pt x="291" y="177"/>
                    </a:lnTo>
                    <a:lnTo>
                      <a:pt x="292" y="179"/>
                    </a:lnTo>
                    <a:lnTo>
                      <a:pt x="294" y="181"/>
                    </a:lnTo>
                    <a:lnTo>
                      <a:pt x="292" y="184"/>
                    </a:lnTo>
                    <a:lnTo>
                      <a:pt x="291" y="186"/>
                    </a:lnTo>
                    <a:lnTo>
                      <a:pt x="294" y="189"/>
                    </a:lnTo>
                    <a:lnTo>
                      <a:pt x="292" y="193"/>
                    </a:lnTo>
                    <a:lnTo>
                      <a:pt x="292" y="194"/>
                    </a:lnTo>
                    <a:lnTo>
                      <a:pt x="291" y="194"/>
                    </a:lnTo>
                    <a:lnTo>
                      <a:pt x="292" y="196"/>
                    </a:lnTo>
                    <a:lnTo>
                      <a:pt x="291" y="196"/>
                    </a:lnTo>
                    <a:lnTo>
                      <a:pt x="289" y="198"/>
                    </a:lnTo>
                    <a:lnTo>
                      <a:pt x="287" y="199"/>
                    </a:lnTo>
                    <a:lnTo>
                      <a:pt x="289" y="201"/>
                    </a:lnTo>
                    <a:lnTo>
                      <a:pt x="289" y="203"/>
                    </a:lnTo>
                    <a:lnTo>
                      <a:pt x="291" y="203"/>
                    </a:lnTo>
                    <a:lnTo>
                      <a:pt x="292" y="203"/>
                    </a:lnTo>
                    <a:lnTo>
                      <a:pt x="289" y="206"/>
                    </a:lnTo>
                    <a:lnTo>
                      <a:pt x="289" y="208"/>
                    </a:lnTo>
                    <a:lnTo>
                      <a:pt x="291" y="208"/>
                    </a:lnTo>
                    <a:lnTo>
                      <a:pt x="289" y="211"/>
                    </a:lnTo>
                    <a:lnTo>
                      <a:pt x="289" y="213"/>
                    </a:lnTo>
                    <a:lnTo>
                      <a:pt x="287" y="215"/>
                    </a:lnTo>
                    <a:lnTo>
                      <a:pt x="284" y="216"/>
                    </a:lnTo>
                    <a:lnTo>
                      <a:pt x="282" y="218"/>
                    </a:lnTo>
                    <a:lnTo>
                      <a:pt x="281" y="218"/>
                    </a:lnTo>
                    <a:lnTo>
                      <a:pt x="281" y="220"/>
                    </a:lnTo>
                    <a:lnTo>
                      <a:pt x="282" y="221"/>
                    </a:lnTo>
                    <a:lnTo>
                      <a:pt x="281" y="223"/>
                    </a:lnTo>
                    <a:lnTo>
                      <a:pt x="282" y="225"/>
                    </a:lnTo>
                    <a:lnTo>
                      <a:pt x="279" y="227"/>
                    </a:lnTo>
                    <a:lnTo>
                      <a:pt x="279" y="228"/>
                    </a:lnTo>
                    <a:lnTo>
                      <a:pt x="275" y="230"/>
                    </a:lnTo>
                    <a:lnTo>
                      <a:pt x="277" y="232"/>
                    </a:lnTo>
                    <a:lnTo>
                      <a:pt x="277" y="233"/>
                    </a:lnTo>
                    <a:lnTo>
                      <a:pt x="281" y="237"/>
                    </a:lnTo>
                    <a:lnTo>
                      <a:pt x="279" y="237"/>
                    </a:lnTo>
                    <a:lnTo>
                      <a:pt x="275" y="238"/>
                    </a:lnTo>
                    <a:lnTo>
                      <a:pt x="275" y="240"/>
                    </a:lnTo>
                    <a:lnTo>
                      <a:pt x="275" y="242"/>
                    </a:lnTo>
                    <a:lnTo>
                      <a:pt x="274" y="244"/>
                    </a:lnTo>
                    <a:lnTo>
                      <a:pt x="274" y="245"/>
                    </a:lnTo>
                    <a:lnTo>
                      <a:pt x="272" y="244"/>
                    </a:lnTo>
                    <a:lnTo>
                      <a:pt x="270" y="244"/>
                    </a:lnTo>
                    <a:lnTo>
                      <a:pt x="269" y="244"/>
                    </a:lnTo>
                    <a:lnTo>
                      <a:pt x="267" y="242"/>
                    </a:lnTo>
                    <a:lnTo>
                      <a:pt x="265" y="242"/>
                    </a:lnTo>
                    <a:lnTo>
                      <a:pt x="264" y="244"/>
                    </a:lnTo>
                    <a:lnTo>
                      <a:pt x="262" y="244"/>
                    </a:lnTo>
                    <a:lnTo>
                      <a:pt x="262" y="240"/>
                    </a:lnTo>
                    <a:lnTo>
                      <a:pt x="265" y="237"/>
                    </a:lnTo>
                    <a:lnTo>
                      <a:pt x="262" y="235"/>
                    </a:lnTo>
                    <a:lnTo>
                      <a:pt x="262" y="233"/>
                    </a:lnTo>
                    <a:lnTo>
                      <a:pt x="260" y="232"/>
                    </a:lnTo>
                    <a:lnTo>
                      <a:pt x="258" y="227"/>
                    </a:lnTo>
                    <a:lnTo>
                      <a:pt x="257" y="225"/>
                    </a:lnTo>
                    <a:lnTo>
                      <a:pt x="257" y="223"/>
                    </a:lnTo>
                    <a:lnTo>
                      <a:pt x="255" y="225"/>
                    </a:lnTo>
                    <a:lnTo>
                      <a:pt x="253" y="230"/>
                    </a:lnTo>
                    <a:lnTo>
                      <a:pt x="248" y="235"/>
                    </a:lnTo>
                    <a:lnTo>
                      <a:pt x="247" y="237"/>
                    </a:lnTo>
                    <a:lnTo>
                      <a:pt x="241" y="240"/>
                    </a:lnTo>
                    <a:lnTo>
                      <a:pt x="240" y="240"/>
                    </a:lnTo>
                    <a:lnTo>
                      <a:pt x="236" y="240"/>
                    </a:lnTo>
                    <a:lnTo>
                      <a:pt x="235" y="238"/>
                    </a:lnTo>
                    <a:lnTo>
                      <a:pt x="230" y="238"/>
                    </a:lnTo>
                    <a:lnTo>
                      <a:pt x="228" y="237"/>
                    </a:lnTo>
                    <a:lnTo>
                      <a:pt x="224" y="238"/>
                    </a:lnTo>
                    <a:lnTo>
                      <a:pt x="219" y="235"/>
                    </a:lnTo>
                    <a:lnTo>
                      <a:pt x="218" y="238"/>
                    </a:lnTo>
                    <a:lnTo>
                      <a:pt x="218" y="235"/>
                    </a:lnTo>
                    <a:lnTo>
                      <a:pt x="219" y="233"/>
                    </a:lnTo>
                    <a:lnTo>
                      <a:pt x="218" y="233"/>
                    </a:lnTo>
                    <a:lnTo>
                      <a:pt x="216" y="228"/>
                    </a:lnTo>
                    <a:lnTo>
                      <a:pt x="214" y="230"/>
                    </a:lnTo>
                    <a:lnTo>
                      <a:pt x="214" y="228"/>
                    </a:lnTo>
                    <a:lnTo>
                      <a:pt x="213" y="227"/>
                    </a:lnTo>
                    <a:lnTo>
                      <a:pt x="213" y="225"/>
                    </a:lnTo>
                    <a:lnTo>
                      <a:pt x="211" y="223"/>
                    </a:lnTo>
                    <a:lnTo>
                      <a:pt x="213" y="223"/>
                    </a:lnTo>
                    <a:lnTo>
                      <a:pt x="211" y="221"/>
                    </a:lnTo>
                    <a:lnTo>
                      <a:pt x="209" y="218"/>
                    </a:lnTo>
                    <a:lnTo>
                      <a:pt x="209" y="216"/>
                    </a:lnTo>
                    <a:lnTo>
                      <a:pt x="207" y="215"/>
                    </a:lnTo>
                    <a:lnTo>
                      <a:pt x="209" y="215"/>
                    </a:lnTo>
                    <a:lnTo>
                      <a:pt x="207" y="215"/>
                    </a:lnTo>
                    <a:lnTo>
                      <a:pt x="206" y="213"/>
                    </a:lnTo>
                    <a:lnTo>
                      <a:pt x="204" y="215"/>
                    </a:lnTo>
                    <a:lnTo>
                      <a:pt x="202" y="211"/>
                    </a:lnTo>
                    <a:lnTo>
                      <a:pt x="201" y="211"/>
                    </a:lnTo>
                    <a:lnTo>
                      <a:pt x="199" y="210"/>
                    </a:lnTo>
                    <a:lnTo>
                      <a:pt x="197" y="210"/>
                    </a:lnTo>
                    <a:lnTo>
                      <a:pt x="196" y="210"/>
                    </a:lnTo>
                    <a:lnTo>
                      <a:pt x="196" y="211"/>
                    </a:lnTo>
                    <a:lnTo>
                      <a:pt x="194" y="213"/>
                    </a:lnTo>
                    <a:lnTo>
                      <a:pt x="194" y="215"/>
                    </a:lnTo>
                    <a:lnTo>
                      <a:pt x="192" y="215"/>
                    </a:lnTo>
                    <a:lnTo>
                      <a:pt x="190" y="213"/>
                    </a:lnTo>
                    <a:lnTo>
                      <a:pt x="189" y="213"/>
                    </a:lnTo>
                    <a:lnTo>
                      <a:pt x="189" y="215"/>
                    </a:lnTo>
                    <a:lnTo>
                      <a:pt x="190" y="216"/>
                    </a:lnTo>
                    <a:lnTo>
                      <a:pt x="189" y="218"/>
                    </a:lnTo>
                    <a:lnTo>
                      <a:pt x="190" y="220"/>
                    </a:lnTo>
                    <a:lnTo>
                      <a:pt x="189" y="221"/>
                    </a:lnTo>
                    <a:lnTo>
                      <a:pt x="192" y="225"/>
                    </a:lnTo>
                    <a:lnTo>
                      <a:pt x="190" y="227"/>
                    </a:lnTo>
                    <a:lnTo>
                      <a:pt x="192" y="228"/>
                    </a:lnTo>
                    <a:lnTo>
                      <a:pt x="190" y="230"/>
                    </a:lnTo>
                    <a:lnTo>
                      <a:pt x="192" y="230"/>
                    </a:lnTo>
                    <a:lnTo>
                      <a:pt x="190" y="232"/>
                    </a:lnTo>
                    <a:lnTo>
                      <a:pt x="190" y="233"/>
                    </a:lnTo>
                    <a:lnTo>
                      <a:pt x="190" y="235"/>
                    </a:lnTo>
                    <a:lnTo>
                      <a:pt x="190" y="237"/>
                    </a:lnTo>
                    <a:lnTo>
                      <a:pt x="192" y="235"/>
                    </a:lnTo>
                    <a:lnTo>
                      <a:pt x="192" y="237"/>
                    </a:lnTo>
                    <a:lnTo>
                      <a:pt x="192" y="238"/>
                    </a:lnTo>
                    <a:lnTo>
                      <a:pt x="192" y="240"/>
                    </a:lnTo>
                    <a:lnTo>
                      <a:pt x="173" y="240"/>
                    </a:lnTo>
                    <a:lnTo>
                      <a:pt x="168" y="240"/>
                    </a:lnTo>
                    <a:lnTo>
                      <a:pt x="167" y="237"/>
                    </a:lnTo>
                    <a:lnTo>
                      <a:pt x="165" y="235"/>
                    </a:lnTo>
                    <a:lnTo>
                      <a:pt x="162" y="237"/>
                    </a:lnTo>
                    <a:lnTo>
                      <a:pt x="156" y="238"/>
                    </a:lnTo>
                    <a:lnTo>
                      <a:pt x="153" y="242"/>
                    </a:lnTo>
                    <a:lnTo>
                      <a:pt x="153" y="240"/>
                    </a:lnTo>
                    <a:lnTo>
                      <a:pt x="151" y="240"/>
                    </a:lnTo>
                    <a:lnTo>
                      <a:pt x="150" y="237"/>
                    </a:lnTo>
                    <a:lnTo>
                      <a:pt x="148" y="237"/>
                    </a:lnTo>
                    <a:lnTo>
                      <a:pt x="148" y="235"/>
                    </a:lnTo>
                    <a:lnTo>
                      <a:pt x="146" y="237"/>
                    </a:lnTo>
                    <a:lnTo>
                      <a:pt x="145" y="237"/>
                    </a:lnTo>
                    <a:lnTo>
                      <a:pt x="146" y="238"/>
                    </a:lnTo>
                    <a:lnTo>
                      <a:pt x="146" y="245"/>
                    </a:lnTo>
                    <a:lnTo>
                      <a:pt x="150" y="250"/>
                    </a:lnTo>
                    <a:lnTo>
                      <a:pt x="148" y="255"/>
                    </a:lnTo>
                    <a:lnTo>
                      <a:pt x="145" y="261"/>
                    </a:lnTo>
                    <a:lnTo>
                      <a:pt x="143" y="262"/>
                    </a:lnTo>
                    <a:lnTo>
                      <a:pt x="145" y="262"/>
                    </a:lnTo>
                    <a:lnTo>
                      <a:pt x="146" y="264"/>
                    </a:lnTo>
                    <a:lnTo>
                      <a:pt x="148" y="259"/>
                    </a:lnTo>
                    <a:lnTo>
                      <a:pt x="150" y="261"/>
                    </a:lnTo>
                    <a:lnTo>
                      <a:pt x="153" y="266"/>
                    </a:lnTo>
                    <a:lnTo>
                      <a:pt x="156" y="271"/>
                    </a:lnTo>
                    <a:lnTo>
                      <a:pt x="153" y="273"/>
                    </a:lnTo>
                    <a:lnTo>
                      <a:pt x="153" y="276"/>
                    </a:lnTo>
                    <a:lnTo>
                      <a:pt x="160" y="281"/>
                    </a:lnTo>
                    <a:lnTo>
                      <a:pt x="165" y="283"/>
                    </a:lnTo>
                    <a:lnTo>
                      <a:pt x="165" y="291"/>
                    </a:lnTo>
                    <a:lnTo>
                      <a:pt x="163" y="295"/>
                    </a:lnTo>
                    <a:lnTo>
                      <a:pt x="160" y="295"/>
                    </a:lnTo>
                    <a:lnTo>
                      <a:pt x="160" y="298"/>
                    </a:lnTo>
                    <a:lnTo>
                      <a:pt x="163" y="303"/>
                    </a:lnTo>
                    <a:lnTo>
                      <a:pt x="158" y="307"/>
                    </a:lnTo>
                    <a:lnTo>
                      <a:pt x="153" y="303"/>
                    </a:lnTo>
                    <a:lnTo>
                      <a:pt x="150" y="296"/>
                    </a:lnTo>
                    <a:lnTo>
                      <a:pt x="145" y="291"/>
                    </a:lnTo>
                    <a:lnTo>
                      <a:pt x="141" y="291"/>
                    </a:lnTo>
                    <a:lnTo>
                      <a:pt x="139" y="298"/>
                    </a:lnTo>
                    <a:lnTo>
                      <a:pt x="138" y="300"/>
                    </a:lnTo>
                    <a:lnTo>
                      <a:pt x="133" y="300"/>
                    </a:lnTo>
                    <a:lnTo>
                      <a:pt x="128" y="305"/>
                    </a:lnTo>
                    <a:lnTo>
                      <a:pt x="126" y="308"/>
                    </a:lnTo>
                    <a:lnTo>
                      <a:pt x="128" y="312"/>
                    </a:lnTo>
                    <a:lnTo>
                      <a:pt x="122" y="318"/>
                    </a:lnTo>
                    <a:lnTo>
                      <a:pt x="117" y="313"/>
                    </a:lnTo>
                    <a:lnTo>
                      <a:pt x="116" y="312"/>
                    </a:lnTo>
                    <a:lnTo>
                      <a:pt x="117" y="310"/>
                    </a:lnTo>
                    <a:lnTo>
                      <a:pt x="112" y="303"/>
                    </a:lnTo>
                    <a:lnTo>
                      <a:pt x="97" y="291"/>
                    </a:lnTo>
                    <a:lnTo>
                      <a:pt x="99" y="290"/>
                    </a:lnTo>
                    <a:lnTo>
                      <a:pt x="99" y="286"/>
                    </a:lnTo>
                    <a:lnTo>
                      <a:pt x="94" y="283"/>
                    </a:lnTo>
                    <a:lnTo>
                      <a:pt x="92" y="281"/>
                    </a:lnTo>
                    <a:lnTo>
                      <a:pt x="85" y="273"/>
                    </a:lnTo>
                    <a:lnTo>
                      <a:pt x="78" y="267"/>
                    </a:lnTo>
                    <a:lnTo>
                      <a:pt x="73" y="264"/>
                    </a:lnTo>
                    <a:lnTo>
                      <a:pt x="60" y="254"/>
                    </a:lnTo>
                    <a:lnTo>
                      <a:pt x="58" y="252"/>
                    </a:lnTo>
                    <a:lnTo>
                      <a:pt x="46" y="240"/>
                    </a:lnTo>
                    <a:lnTo>
                      <a:pt x="44" y="237"/>
                    </a:lnTo>
                    <a:lnTo>
                      <a:pt x="44" y="230"/>
                    </a:lnTo>
                    <a:lnTo>
                      <a:pt x="29" y="215"/>
                    </a:lnTo>
                    <a:lnTo>
                      <a:pt x="27" y="213"/>
                    </a:lnTo>
                    <a:lnTo>
                      <a:pt x="27" y="210"/>
                    </a:lnTo>
                    <a:lnTo>
                      <a:pt x="29" y="208"/>
                    </a:lnTo>
                    <a:lnTo>
                      <a:pt x="26" y="199"/>
                    </a:lnTo>
                    <a:lnTo>
                      <a:pt x="15" y="186"/>
                    </a:lnTo>
                    <a:lnTo>
                      <a:pt x="14" y="182"/>
                    </a:lnTo>
                    <a:lnTo>
                      <a:pt x="14" y="181"/>
                    </a:lnTo>
                    <a:lnTo>
                      <a:pt x="14" y="179"/>
                    </a:lnTo>
                    <a:lnTo>
                      <a:pt x="7" y="169"/>
                    </a:lnTo>
                    <a:lnTo>
                      <a:pt x="9" y="170"/>
                    </a:lnTo>
                    <a:lnTo>
                      <a:pt x="9" y="169"/>
                    </a:lnTo>
                    <a:lnTo>
                      <a:pt x="0" y="152"/>
                    </a:lnTo>
                    <a:lnTo>
                      <a:pt x="0" y="148"/>
                    </a:lnTo>
                    <a:lnTo>
                      <a:pt x="0" y="150"/>
                    </a:lnTo>
                    <a:lnTo>
                      <a:pt x="2" y="150"/>
                    </a:lnTo>
                    <a:lnTo>
                      <a:pt x="2" y="152"/>
                    </a:lnTo>
                    <a:lnTo>
                      <a:pt x="4" y="152"/>
                    </a:lnTo>
                    <a:lnTo>
                      <a:pt x="4" y="153"/>
                    </a:lnTo>
                    <a:lnTo>
                      <a:pt x="5" y="157"/>
                    </a:lnTo>
                    <a:lnTo>
                      <a:pt x="7" y="160"/>
                    </a:lnTo>
                    <a:lnTo>
                      <a:pt x="9" y="160"/>
                    </a:lnTo>
                    <a:lnTo>
                      <a:pt x="7" y="160"/>
                    </a:lnTo>
                    <a:lnTo>
                      <a:pt x="9" y="155"/>
                    </a:lnTo>
                    <a:lnTo>
                      <a:pt x="10" y="157"/>
                    </a:lnTo>
                    <a:lnTo>
                      <a:pt x="9" y="155"/>
                    </a:lnTo>
                    <a:lnTo>
                      <a:pt x="9" y="153"/>
                    </a:lnTo>
                    <a:lnTo>
                      <a:pt x="10" y="155"/>
                    </a:lnTo>
                    <a:lnTo>
                      <a:pt x="12" y="155"/>
                    </a:lnTo>
                    <a:lnTo>
                      <a:pt x="12" y="152"/>
                    </a:lnTo>
                    <a:lnTo>
                      <a:pt x="15" y="150"/>
                    </a:lnTo>
                    <a:lnTo>
                      <a:pt x="17" y="153"/>
                    </a:lnTo>
                    <a:lnTo>
                      <a:pt x="19" y="153"/>
                    </a:lnTo>
                    <a:lnTo>
                      <a:pt x="19" y="157"/>
                    </a:lnTo>
                    <a:lnTo>
                      <a:pt x="21" y="153"/>
                    </a:lnTo>
                    <a:lnTo>
                      <a:pt x="21" y="150"/>
                    </a:lnTo>
                    <a:lnTo>
                      <a:pt x="22" y="148"/>
                    </a:lnTo>
                    <a:lnTo>
                      <a:pt x="22" y="147"/>
                    </a:lnTo>
                    <a:lnTo>
                      <a:pt x="27" y="142"/>
                    </a:lnTo>
                    <a:lnTo>
                      <a:pt x="29" y="136"/>
                    </a:lnTo>
                    <a:lnTo>
                      <a:pt x="31" y="128"/>
                    </a:lnTo>
                    <a:lnTo>
                      <a:pt x="31" y="125"/>
                    </a:lnTo>
                    <a:lnTo>
                      <a:pt x="31" y="119"/>
                    </a:lnTo>
                    <a:lnTo>
                      <a:pt x="32" y="118"/>
                    </a:lnTo>
                    <a:lnTo>
                      <a:pt x="29" y="102"/>
                    </a:lnTo>
                    <a:lnTo>
                      <a:pt x="32" y="99"/>
                    </a:lnTo>
                    <a:lnTo>
                      <a:pt x="34" y="102"/>
                    </a:lnTo>
                    <a:lnTo>
                      <a:pt x="32" y="102"/>
                    </a:lnTo>
                    <a:lnTo>
                      <a:pt x="34" y="106"/>
                    </a:lnTo>
                    <a:lnTo>
                      <a:pt x="34" y="107"/>
                    </a:lnTo>
                    <a:lnTo>
                      <a:pt x="36" y="107"/>
                    </a:lnTo>
                    <a:lnTo>
                      <a:pt x="38" y="109"/>
                    </a:lnTo>
                    <a:lnTo>
                      <a:pt x="39" y="111"/>
                    </a:lnTo>
                    <a:lnTo>
                      <a:pt x="39" y="113"/>
                    </a:lnTo>
                    <a:lnTo>
                      <a:pt x="39" y="109"/>
                    </a:lnTo>
                    <a:lnTo>
                      <a:pt x="41" y="109"/>
                    </a:lnTo>
                    <a:lnTo>
                      <a:pt x="44" y="109"/>
                    </a:lnTo>
                    <a:lnTo>
                      <a:pt x="44" y="114"/>
                    </a:lnTo>
                    <a:lnTo>
                      <a:pt x="44" y="111"/>
                    </a:lnTo>
                    <a:lnTo>
                      <a:pt x="46" y="109"/>
                    </a:lnTo>
                    <a:lnTo>
                      <a:pt x="48" y="111"/>
                    </a:lnTo>
                    <a:lnTo>
                      <a:pt x="49" y="111"/>
                    </a:lnTo>
                    <a:lnTo>
                      <a:pt x="53" y="111"/>
                    </a:lnTo>
                    <a:lnTo>
                      <a:pt x="54" y="116"/>
                    </a:lnTo>
                    <a:lnTo>
                      <a:pt x="56" y="118"/>
                    </a:lnTo>
                    <a:lnTo>
                      <a:pt x="58" y="116"/>
                    </a:lnTo>
                    <a:lnTo>
                      <a:pt x="56" y="118"/>
                    </a:lnTo>
                    <a:lnTo>
                      <a:pt x="56" y="116"/>
                    </a:lnTo>
                    <a:lnTo>
                      <a:pt x="54" y="113"/>
                    </a:lnTo>
                    <a:lnTo>
                      <a:pt x="53" y="111"/>
                    </a:lnTo>
                    <a:lnTo>
                      <a:pt x="56" y="111"/>
                    </a:lnTo>
                    <a:lnTo>
                      <a:pt x="60" y="109"/>
                    </a:lnTo>
                    <a:lnTo>
                      <a:pt x="61" y="107"/>
                    </a:lnTo>
                    <a:lnTo>
                      <a:pt x="63" y="109"/>
                    </a:lnTo>
                    <a:lnTo>
                      <a:pt x="65" y="109"/>
                    </a:lnTo>
                    <a:lnTo>
                      <a:pt x="66" y="107"/>
                    </a:lnTo>
                    <a:lnTo>
                      <a:pt x="70" y="109"/>
                    </a:lnTo>
                    <a:lnTo>
                      <a:pt x="66" y="107"/>
                    </a:lnTo>
                    <a:lnTo>
                      <a:pt x="63" y="109"/>
                    </a:lnTo>
                    <a:lnTo>
                      <a:pt x="61" y="107"/>
                    </a:lnTo>
                    <a:lnTo>
                      <a:pt x="60" y="109"/>
                    </a:lnTo>
                    <a:lnTo>
                      <a:pt x="56" y="109"/>
                    </a:lnTo>
                    <a:lnTo>
                      <a:pt x="54" y="109"/>
                    </a:lnTo>
                    <a:lnTo>
                      <a:pt x="51" y="107"/>
                    </a:lnTo>
                    <a:lnTo>
                      <a:pt x="51" y="106"/>
                    </a:lnTo>
                    <a:lnTo>
                      <a:pt x="49" y="107"/>
                    </a:lnTo>
                    <a:lnTo>
                      <a:pt x="43" y="102"/>
                    </a:lnTo>
                    <a:lnTo>
                      <a:pt x="44" y="101"/>
                    </a:lnTo>
                    <a:lnTo>
                      <a:pt x="44" y="99"/>
                    </a:lnTo>
                    <a:lnTo>
                      <a:pt x="44" y="101"/>
                    </a:lnTo>
                    <a:lnTo>
                      <a:pt x="43" y="102"/>
                    </a:lnTo>
                    <a:lnTo>
                      <a:pt x="41" y="102"/>
                    </a:lnTo>
                    <a:lnTo>
                      <a:pt x="39" y="102"/>
                    </a:lnTo>
                    <a:lnTo>
                      <a:pt x="39" y="99"/>
                    </a:lnTo>
                    <a:lnTo>
                      <a:pt x="34" y="92"/>
                    </a:lnTo>
                    <a:lnTo>
                      <a:pt x="32" y="90"/>
                    </a:lnTo>
                    <a:lnTo>
                      <a:pt x="31" y="92"/>
                    </a:lnTo>
                    <a:lnTo>
                      <a:pt x="31" y="87"/>
                    </a:lnTo>
                    <a:lnTo>
                      <a:pt x="31" y="85"/>
                    </a:lnTo>
                    <a:lnTo>
                      <a:pt x="34" y="85"/>
                    </a:lnTo>
                    <a:lnTo>
                      <a:pt x="38" y="85"/>
                    </a:lnTo>
                    <a:lnTo>
                      <a:pt x="39" y="84"/>
                    </a:lnTo>
                    <a:lnTo>
                      <a:pt x="41" y="85"/>
                    </a:lnTo>
                    <a:lnTo>
                      <a:pt x="41" y="87"/>
                    </a:lnTo>
                    <a:lnTo>
                      <a:pt x="39" y="87"/>
                    </a:lnTo>
                    <a:lnTo>
                      <a:pt x="38" y="89"/>
                    </a:lnTo>
                    <a:lnTo>
                      <a:pt x="39" y="87"/>
                    </a:lnTo>
                    <a:lnTo>
                      <a:pt x="41" y="89"/>
                    </a:lnTo>
                    <a:lnTo>
                      <a:pt x="43" y="87"/>
                    </a:lnTo>
                    <a:lnTo>
                      <a:pt x="43" y="89"/>
                    </a:lnTo>
                    <a:lnTo>
                      <a:pt x="43" y="90"/>
                    </a:lnTo>
                    <a:lnTo>
                      <a:pt x="44" y="92"/>
                    </a:lnTo>
                    <a:lnTo>
                      <a:pt x="43" y="92"/>
                    </a:lnTo>
                    <a:lnTo>
                      <a:pt x="44" y="92"/>
                    </a:lnTo>
                    <a:lnTo>
                      <a:pt x="44" y="94"/>
                    </a:lnTo>
                    <a:lnTo>
                      <a:pt x="46" y="96"/>
                    </a:lnTo>
                    <a:lnTo>
                      <a:pt x="44" y="92"/>
                    </a:lnTo>
                    <a:lnTo>
                      <a:pt x="49" y="94"/>
                    </a:lnTo>
                    <a:lnTo>
                      <a:pt x="46" y="90"/>
                    </a:lnTo>
                    <a:lnTo>
                      <a:pt x="46" y="89"/>
                    </a:lnTo>
                    <a:lnTo>
                      <a:pt x="46" y="87"/>
                    </a:lnTo>
                    <a:lnTo>
                      <a:pt x="46" y="80"/>
                    </a:lnTo>
                    <a:lnTo>
                      <a:pt x="43" y="70"/>
                    </a:lnTo>
                    <a:lnTo>
                      <a:pt x="44" y="67"/>
                    </a:lnTo>
                    <a:lnTo>
                      <a:pt x="48" y="67"/>
                    </a:lnTo>
                    <a:lnTo>
                      <a:pt x="48" y="63"/>
                    </a:lnTo>
                    <a:lnTo>
                      <a:pt x="51" y="65"/>
                    </a:lnTo>
                    <a:lnTo>
                      <a:pt x="53" y="63"/>
                    </a:lnTo>
                    <a:lnTo>
                      <a:pt x="54" y="65"/>
                    </a:lnTo>
                    <a:lnTo>
                      <a:pt x="54" y="67"/>
                    </a:lnTo>
                    <a:lnTo>
                      <a:pt x="58" y="67"/>
                    </a:lnTo>
                    <a:lnTo>
                      <a:pt x="60" y="67"/>
                    </a:lnTo>
                    <a:lnTo>
                      <a:pt x="60" y="70"/>
                    </a:lnTo>
                    <a:lnTo>
                      <a:pt x="63" y="70"/>
                    </a:lnTo>
                    <a:lnTo>
                      <a:pt x="65" y="70"/>
                    </a:lnTo>
                    <a:lnTo>
                      <a:pt x="65" y="68"/>
                    </a:lnTo>
                    <a:lnTo>
                      <a:pt x="65" y="67"/>
                    </a:lnTo>
                    <a:lnTo>
                      <a:pt x="87" y="67"/>
                    </a:lnTo>
                    <a:lnTo>
                      <a:pt x="104" y="67"/>
                    </a:lnTo>
                    <a:lnTo>
                      <a:pt x="114" y="67"/>
                    </a:lnTo>
                    <a:lnTo>
                      <a:pt x="133" y="67"/>
                    </a:lnTo>
                    <a:lnTo>
                      <a:pt x="133" y="43"/>
                    </a:lnTo>
                    <a:lnTo>
                      <a:pt x="133" y="29"/>
                    </a:lnTo>
                    <a:lnTo>
                      <a:pt x="133" y="11"/>
                    </a:lnTo>
                    <a:lnTo>
                      <a:pt x="134" y="7"/>
                    </a:lnTo>
                    <a:lnTo>
                      <a:pt x="134" y="5"/>
                    </a:lnTo>
                    <a:lnTo>
                      <a:pt x="134" y="4"/>
                    </a:lnTo>
                    <a:lnTo>
                      <a:pt x="134" y="2"/>
                    </a:lnTo>
                    <a:lnTo>
                      <a:pt x="143" y="2"/>
                    </a:lnTo>
                    <a:lnTo>
                      <a:pt x="146" y="0"/>
                    </a:lnTo>
                    <a:lnTo>
                      <a:pt x="146" y="2"/>
                    </a:lnTo>
                    <a:lnTo>
                      <a:pt x="150" y="0"/>
                    </a:lnTo>
                    <a:lnTo>
                      <a:pt x="153" y="2"/>
                    </a:lnTo>
                    <a:lnTo>
                      <a:pt x="155" y="2"/>
                    </a:lnTo>
                    <a:lnTo>
                      <a:pt x="158" y="2"/>
                    </a:lnTo>
                    <a:lnTo>
                      <a:pt x="160" y="2"/>
                    </a:lnTo>
                    <a:lnTo>
                      <a:pt x="165" y="2"/>
                    </a:lnTo>
                    <a:lnTo>
                      <a:pt x="172" y="2"/>
                    </a:lnTo>
                    <a:lnTo>
                      <a:pt x="173" y="2"/>
                    </a:lnTo>
                    <a:lnTo>
                      <a:pt x="177" y="2"/>
                    </a:lnTo>
                    <a:lnTo>
                      <a:pt x="179" y="4"/>
                    </a:lnTo>
                    <a:lnTo>
                      <a:pt x="180" y="4"/>
                    </a:lnTo>
                    <a:lnTo>
                      <a:pt x="182" y="2"/>
                    </a:lnTo>
                    <a:lnTo>
                      <a:pt x="189" y="4"/>
                    </a:lnTo>
                    <a:lnTo>
                      <a:pt x="194" y="4"/>
                    </a:lnTo>
                    <a:lnTo>
                      <a:pt x="196" y="2"/>
                    </a:lnTo>
                    <a:lnTo>
                      <a:pt x="197" y="4"/>
                    </a:lnTo>
                    <a:lnTo>
                      <a:pt x="201" y="4"/>
                    </a:lnTo>
                    <a:lnTo>
                      <a:pt x="204" y="5"/>
                    </a:lnTo>
                    <a:lnTo>
                      <a:pt x="207" y="4"/>
                    </a:lnTo>
                    <a:lnTo>
                      <a:pt x="209" y="5"/>
                    </a:lnTo>
                    <a:lnTo>
                      <a:pt x="211" y="4"/>
                    </a:lnTo>
                    <a:lnTo>
                      <a:pt x="213" y="4"/>
                    </a:lnTo>
                    <a:lnTo>
                      <a:pt x="216" y="4"/>
                    </a:lnTo>
                    <a:lnTo>
                      <a:pt x="219" y="4"/>
                    </a:lnTo>
                    <a:lnTo>
                      <a:pt x="221" y="4"/>
                    </a:lnTo>
                    <a:lnTo>
                      <a:pt x="224" y="2"/>
                    </a:lnTo>
                    <a:lnTo>
                      <a:pt x="226" y="2"/>
                    </a:lnTo>
                    <a:lnTo>
                      <a:pt x="226" y="4"/>
                    </a:lnTo>
                    <a:lnTo>
                      <a:pt x="228" y="4"/>
                    </a:lnTo>
                    <a:lnTo>
                      <a:pt x="230" y="2"/>
                    </a:lnTo>
                    <a:lnTo>
                      <a:pt x="231" y="4"/>
                    </a:lnTo>
                    <a:lnTo>
                      <a:pt x="233" y="5"/>
                    </a:lnTo>
                    <a:lnTo>
                      <a:pt x="231" y="7"/>
                    </a:lnTo>
                    <a:lnTo>
                      <a:pt x="233" y="7"/>
                    </a:lnTo>
                    <a:close/>
                    <a:moveTo>
                      <a:pt x="43" y="90"/>
                    </a:moveTo>
                    <a:lnTo>
                      <a:pt x="44" y="90"/>
                    </a:lnTo>
                    <a:lnTo>
                      <a:pt x="44" y="92"/>
                    </a:lnTo>
                    <a:lnTo>
                      <a:pt x="43" y="92"/>
                    </a:lnTo>
                    <a:lnTo>
                      <a:pt x="43" y="90"/>
                    </a:lnTo>
                    <a:close/>
                    <a:moveTo>
                      <a:pt x="61" y="107"/>
                    </a:moveTo>
                    <a:lnTo>
                      <a:pt x="63" y="107"/>
                    </a:lnTo>
                    <a:lnTo>
                      <a:pt x="63" y="109"/>
                    </a:lnTo>
                    <a:lnTo>
                      <a:pt x="61" y="109"/>
                    </a:lnTo>
                    <a:lnTo>
                      <a:pt x="61" y="107"/>
                    </a:lnTo>
                    <a:close/>
                    <a:moveTo>
                      <a:pt x="60" y="107"/>
                    </a:moveTo>
                    <a:lnTo>
                      <a:pt x="61" y="107"/>
                    </a:lnTo>
                    <a:lnTo>
                      <a:pt x="61" y="109"/>
                    </a:lnTo>
                    <a:lnTo>
                      <a:pt x="60" y="109"/>
                    </a:lnTo>
                    <a:lnTo>
                      <a:pt x="60" y="107"/>
                    </a:lnTo>
                    <a:close/>
                    <a:moveTo>
                      <a:pt x="19" y="152"/>
                    </a:moveTo>
                    <a:lnTo>
                      <a:pt x="19" y="153"/>
                    </a:lnTo>
                    <a:lnTo>
                      <a:pt x="19" y="152"/>
                    </a:lnTo>
                    <a:close/>
                    <a:moveTo>
                      <a:pt x="43" y="87"/>
                    </a:moveTo>
                    <a:lnTo>
                      <a:pt x="43" y="89"/>
                    </a:lnTo>
                    <a:lnTo>
                      <a:pt x="43" y="87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79" name="Freeform 29">
                <a:extLst>
                  <a:ext uri="{FF2B5EF4-FFF2-40B4-BE49-F238E27FC236}">
                    <a16:creationId xmlns:a16="http://schemas.microsoft.com/office/drawing/2014/main" id="{EC61B175-A011-49A5-A73C-B6A3D2260E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25708" y="2341466"/>
                <a:ext cx="242880" cy="61910"/>
              </a:xfrm>
              <a:custGeom>
                <a:avLst/>
                <a:gdLst>
                  <a:gd name="T0" fmla="*/ 2 w 153"/>
                  <a:gd name="T1" fmla="*/ 37 h 39"/>
                  <a:gd name="T2" fmla="*/ 0 w 153"/>
                  <a:gd name="T3" fmla="*/ 34 h 39"/>
                  <a:gd name="T4" fmla="*/ 0 w 153"/>
                  <a:gd name="T5" fmla="*/ 27 h 39"/>
                  <a:gd name="T6" fmla="*/ 0 w 153"/>
                  <a:gd name="T7" fmla="*/ 22 h 39"/>
                  <a:gd name="T8" fmla="*/ 4 w 153"/>
                  <a:gd name="T9" fmla="*/ 19 h 39"/>
                  <a:gd name="T10" fmla="*/ 7 w 153"/>
                  <a:gd name="T11" fmla="*/ 19 h 39"/>
                  <a:gd name="T12" fmla="*/ 12 w 153"/>
                  <a:gd name="T13" fmla="*/ 19 h 39"/>
                  <a:gd name="T14" fmla="*/ 12 w 153"/>
                  <a:gd name="T15" fmla="*/ 17 h 39"/>
                  <a:gd name="T16" fmla="*/ 14 w 153"/>
                  <a:gd name="T17" fmla="*/ 12 h 39"/>
                  <a:gd name="T18" fmla="*/ 19 w 153"/>
                  <a:gd name="T19" fmla="*/ 12 h 39"/>
                  <a:gd name="T20" fmla="*/ 34 w 153"/>
                  <a:gd name="T21" fmla="*/ 12 h 39"/>
                  <a:gd name="T22" fmla="*/ 53 w 153"/>
                  <a:gd name="T23" fmla="*/ 12 h 39"/>
                  <a:gd name="T24" fmla="*/ 68 w 153"/>
                  <a:gd name="T25" fmla="*/ 7 h 39"/>
                  <a:gd name="T26" fmla="*/ 75 w 153"/>
                  <a:gd name="T27" fmla="*/ 2 h 39"/>
                  <a:gd name="T28" fmla="*/ 80 w 153"/>
                  <a:gd name="T29" fmla="*/ 3 h 39"/>
                  <a:gd name="T30" fmla="*/ 89 w 153"/>
                  <a:gd name="T31" fmla="*/ 0 h 39"/>
                  <a:gd name="T32" fmla="*/ 95 w 153"/>
                  <a:gd name="T33" fmla="*/ 2 h 39"/>
                  <a:gd name="T34" fmla="*/ 102 w 153"/>
                  <a:gd name="T35" fmla="*/ 5 h 39"/>
                  <a:gd name="T36" fmla="*/ 106 w 153"/>
                  <a:gd name="T37" fmla="*/ 10 h 39"/>
                  <a:gd name="T38" fmla="*/ 114 w 153"/>
                  <a:gd name="T39" fmla="*/ 8 h 39"/>
                  <a:gd name="T40" fmla="*/ 117 w 153"/>
                  <a:gd name="T41" fmla="*/ 15 h 39"/>
                  <a:gd name="T42" fmla="*/ 126 w 153"/>
                  <a:gd name="T43" fmla="*/ 19 h 39"/>
                  <a:gd name="T44" fmla="*/ 133 w 153"/>
                  <a:gd name="T45" fmla="*/ 15 h 39"/>
                  <a:gd name="T46" fmla="*/ 141 w 153"/>
                  <a:gd name="T47" fmla="*/ 13 h 39"/>
                  <a:gd name="T48" fmla="*/ 146 w 153"/>
                  <a:gd name="T49" fmla="*/ 13 h 39"/>
                  <a:gd name="T50" fmla="*/ 151 w 153"/>
                  <a:gd name="T51" fmla="*/ 22 h 39"/>
                  <a:gd name="T52" fmla="*/ 148 w 153"/>
                  <a:gd name="T53" fmla="*/ 25 h 39"/>
                  <a:gd name="T54" fmla="*/ 141 w 153"/>
                  <a:gd name="T55" fmla="*/ 27 h 39"/>
                  <a:gd name="T56" fmla="*/ 136 w 153"/>
                  <a:gd name="T57" fmla="*/ 29 h 39"/>
                  <a:gd name="T58" fmla="*/ 129 w 153"/>
                  <a:gd name="T59" fmla="*/ 30 h 39"/>
                  <a:gd name="T60" fmla="*/ 124 w 153"/>
                  <a:gd name="T61" fmla="*/ 30 h 39"/>
                  <a:gd name="T62" fmla="*/ 119 w 153"/>
                  <a:gd name="T63" fmla="*/ 27 h 39"/>
                  <a:gd name="T64" fmla="*/ 112 w 153"/>
                  <a:gd name="T65" fmla="*/ 24 h 39"/>
                  <a:gd name="T66" fmla="*/ 107 w 153"/>
                  <a:gd name="T67" fmla="*/ 24 h 39"/>
                  <a:gd name="T68" fmla="*/ 104 w 153"/>
                  <a:gd name="T69" fmla="*/ 20 h 39"/>
                  <a:gd name="T70" fmla="*/ 99 w 153"/>
                  <a:gd name="T71" fmla="*/ 19 h 39"/>
                  <a:gd name="T72" fmla="*/ 92 w 153"/>
                  <a:gd name="T73" fmla="*/ 17 h 39"/>
                  <a:gd name="T74" fmla="*/ 87 w 153"/>
                  <a:gd name="T75" fmla="*/ 12 h 39"/>
                  <a:gd name="T76" fmla="*/ 82 w 153"/>
                  <a:gd name="T77" fmla="*/ 15 h 39"/>
                  <a:gd name="T78" fmla="*/ 77 w 153"/>
                  <a:gd name="T79" fmla="*/ 24 h 39"/>
                  <a:gd name="T80" fmla="*/ 66 w 153"/>
                  <a:gd name="T81" fmla="*/ 22 h 39"/>
                  <a:gd name="T82" fmla="*/ 56 w 153"/>
                  <a:gd name="T83" fmla="*/ 24 h 39"/>
                  <a:gd name="T84" fmla="*/ 51 w 153"/>
                  <a:gd name="T85" fmla="*/ 24 h 39"/>
                  <a:gd name="T86" fmla="*/ 29 w 153"/>
                  <a:gd name="T87" fmla="*/ 34 h 39"/>
                  <a:gd name="T88" fmla="*/ 5 w 153"/>
                  <a:gd name="T89" fmla="*/ 36 h 39"/>
                  <a:gd name="T90" fmla="*/ 4 w 153"/>
                  <a:gd name="T91" fmla="*/ 37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53" h="39">
                    <a:moveTo>
                      <a:pt x="4" y="39"/>
                    </a:moveTo>
                    <a:lnTo>
                      <a:pt x="2" y="37"/>
                    </a:lnTo>
                    <a:lnTo>
                      <a:pt x="2" y="36"/>
                    </a:lnTo>
                    <a:lnTo>
                      <a:pt x="0" y="34"/>
                    </a:lnTo>
                    <a:lnTo>
                      <a:pt x="0" y="29"/>
                    </a:lnTo>
                    <a:lnTo>
                      <a:pt x="0" y="27"/>
                    </a:lnTo>
                    <a:lnTo>
                      <a:pt x="0" y="25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4" y="19"/>
                    </a:lnTo>
                    <a:lnTo>
                      <a:pt x="7" y="17"/>
                    </a:lnTo>
                    <a:lnTo>
                      <a:pt x="7" y="19"/>
                    </a:lnTo>
                    <a:lnTo>
                      <a:pt x="9" y="17"/>
                    </a:lnTo>
                    <a:lnTo>
                      <a:pt x="12" y="19"/>
                    </a:lnTo>
                    <a:lnTo>
                      <a:pt x="14" y="19"/>
                    </a:lnTo>
                    <a:lnTo>
                      <a:pt x="12" y="17"/>
                    </a:lnTo>
                    <a:lnTo>
                      <a:pt x="14" y="15"/>
                    </a:lnTo>
                    <a:lnTo>
                      <a:pt x="14" y="12"/>
                    </a:lnTo>
                    <a:lnTo>
                      <a:pt x="15" y="12"/>
                    </a:lnTo>
                    <a:lnTo>
                      <a:pt x="19" y="12"/>
                    </a:lnTo>
                    <a:lnTo>
                      <a:pt x="24" y="12"/>
                    </a:lnTo>
                    <a:lnTo>
                      <a:pt x="34" y="12"/>
                    </a:lnTo>
                    <a:lnTo>
                      <a:pt x="41" y="12"/>
                    </a:lnTo>
                    <a:lnTo>
                      <a:pt x="53" y="12"/>
                    </a:lnTo>
                    <a:lnTo>
                      <a:pt x="66" y="12"/>
                    </a:lnTo>
                    <a:lnTo>
                      <a:pt x="68" y="7"/>
                    </a:lnTo>
                    <a:lnTo>
                      <a:pt x="72" y="3"/>
                    </a:lnTo>
                    <a:lnTo>
                      <a:pt x="75" y="2"/>
                    </a:lnTo>
                    <a:lnTo>
                      <a:pt x="78" y="3"/>
                    </a:lnTo>
                    <a:lnTo>
                      <a:pt x="80" y="3"/>
                    </a:lnTo>
                    <a:lnTo>
                      <a:pt x="85" y="2"/>
                    </a:lnTo>
                    <a:lnTo>
                      <a:pt x="89" y="0"/>
                    </a:lnTo>
                    <a:lnTo>
                      <a:pt x="92" y="2"/>
                    </a:lnTo>
                    <a:lnTo>
                      <a:pt x="95" y="2"/>
                    </a:lnTo>
                    <a:lnTo>
                      <a:pt x="99" y="3"/>
                    </a:lnTo>
                    <a:lnTo>
                      <a:pt x="102" y="5"/>
                    </a:lnTo>
                    <a:lnTo>
                      <a:pt x="102" y="8"/>
                    </a:lnTo>
                    <a:lnTo>
                      <a:pt x="106" y="10"/>
                    </a:lnTo>
                    <a:lnTo>
                      <a:pt x="111" y="8"/>
                    </a:lnTo>
                    <a:lnTo>
                      <a:pt x="114" y="8"/>
                    </a:lnTo>
                    <a:lnTo>
                      <a:pt x="117" y="12"/>
                    </a:lnTo>
                    <a:lnTo>
                      <a:pt x="117" y="15"/>
                    </a:lnTo>
                    <a:lnTo>
                      <a:pt x="121" y="17"/>
                    </a:lnTo>
                    <a:lnTo>
                      <a:pt x="126" y="19"/>
                    </a:lnTo>
                    <a:lnTo>
                      <a:pt x="129" y="17"/>
                    </a:lnTo>
                    <a:lnTo>
                      <a:pt x="133" y="15"/>
                    </a:lnTo>
                    <a:lnTo>
                      <a:pt x="138" y="13"/>
                    </a:lnTo>
                    <a:lnTo>
                      <a:pt x="141" y="13"/>
                    </a:lnTo>
                    <a:lnTo>
                      <a:pt x="143" y="12"/>
                    </a:lnTo>
                    <a:lnTo>
                      <a:pt x="146" y="13"/>
                    </a:lnTo>
                    <a:lnTo>
                      <a:pt x="153" y="20"/>
                    </a:lnTo>
                    <a:lnTo>
                      <a:pt x="151" y="22"/>
                    </a:lnTo>
                    <a:lnTo>
                      <a:pt x="150" y="24"/>
                    </a:lnTo>
                    <a:lnTo>
                      <a:pt x="148" y="25"/>
                    </a:lnTo>
                    <a:lnTo>
                      <a:pt x="145" y="25"/>
                    </a:lnTo>
                    <a:lnTo>
                      <a:pt x="141" y="27"/>
                    </a:lnTo>
                    <a:lnTo>
                      <a:pt x="136" y="27"/>
                    </a:lnTo>
                    <a:lnTo>
                      <a:pt x="136" y="29"/>
                    </a:lnTo>
                    <a:lnTo>
                      <a:pt x="134" y="30"/>
                    </a:lnTo>
                    <a:lnTo>
                      <a:pt x="129" y="30"/>
                    </a:lnTo>
                    <a:lnTo>
                      <a:pt x="128" y="29"/>
                    </a:lnTo>
                    <a:lnTo>
                      <a:pt x="124" y="30"/>
                    </a:lnTo>
                    <a:lnTo>
                      <a:pt x="121" y="29"/>
                    </a:lnTo>
                    <a:lnTo>
                      <a:pt x="119" y="27"/>
                    </a:lnTo>
                    <a:lnTo>
                      <a:pt x="116" y="25"/>
                    </a:lnTo>
                    <a:lnTo>
                      <a:pt x="112" y="24"/>
                    </a:lnTo>
                    <a:lnTo>
                      <a:pt x="111" y="24"/>
                    </a:lnTo>
                    <a:lnTo>
                      <a:pt x="107" y="24"/>
                    </a:lnTo>
                    <a:lnTo>
                      <a:pt x="106" y="24"/>
                    </a:lnTo>
                    <a:lnTo>
                      <a:pt x="104" y="20"/>
                    </a:lnTo>
                    <a:lnTo>
                      <a:pt x="100" y="20"/>
                    </a:lnTo>
                    <a:lnTo>
                      <a:pt x="99" y="19"/>
                    </a:lnTo>
                    <a:lnTo>
                      <a:pt x="95" y="19"/>
                    </a:lnTo>
                    <a:lnTo>
                      <a:pt x="92" y="17"/>
                    </a:lnTo>
                    <a:lnTo>
                      <a:pt x="89" y="15"/>
                    </a:lnTo>
                    <a:lnTo>
                      <a:pt x="87" y="12"/>
                    </a:lnTo>
                    <a:lnTo>
                      <a:pt x="83" y="12"/>
                    </a:lnTo>
                    <a:lnTo>
                      <a:pt x="82" y="15"/>
                    </a:lnTo>
                    <a:lnTo>
                      <a:pt x="80" y="20"/>
                    </a:lnTo>
                    <a:lnTo>
                      <a:pt x="77" y="24"/>
                    </a:lnTo>
                    <a:lnTo>
                      <a:pt x="72" y="24"/>
                    </a:lnTo>
                    <a:lnTo>
                      <a:pt x="66" y="22"/>
                    </a:lnTo>
                    <a:lnTo>
                      <a:pt x="61" y="24"/>
                    </a:lnTo>
                    <a:lnTo>
                      <a:pt x="56" y="24"/>
                    </a:lnTo>
                    <a:lnTo>
                      <a:pt x="55" y="24"/>
                    </a:lnTo>
                    <a:lnTo>
                      <a:pt x="51" y="24"/>
                    </a:lnTo>
                    <a:lnTo>
                      <a:pt x="51" y="34"/>
                    </a:lnTo>
                    <a:lnTo>
                      <a:pt x="29" y="34"/>
                    </a:lnTo>
                    <a:lnTo>
                      <a:pt x="5" y="34"/>
                    </a:lnTo>
                    <a:lnTo>
                      <a:pt x="5" y="36"/>
                    </a:lnTo>
                    <a:lnTo>
                      <a:pt x="4" y="36"/>
                    </a:lnTo>
                    <a:lnTo>
                      <a:pt x="4" y="37"/>
                    </a:lnTo>
                    <a:lnTo>
                      <a:pt x="4" y="39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80" name="Freeform 30">
                <a:extLst>
                  <a:ext uri="{FF2B5EF4-FFF2-40B4-BE49-F238E27FC236}">
                    <a16:creationId xmlns:a16="http://schemas.microsoft.com/office/drawing/2014/main" id="{3AD2C9F3-AD30-4571-A74F-35EF608BD74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13115" y="2554182"/>
                <a:ext cx="358765" cy="519092"/>
              </a:xfrm>
              <a:custGeom>
                <a:avLst/>
                <a:gdLst>
                  <a:gd name="T0" fmla="*/ 199 w 226"/>
                  <a:gd name="T1" fmla="*/ 274 h 327"/>
                  <a:gd name="T2" fmla="*/ 167 w 226"/>
                  <a:gd name="T3" fmla="*/ 281 h 327"/>
                  <a:gd name="T4" fmla="*/ 143 w 226"/>
                  <a:gd name="T5" fmla="*/ 291 h 327"/>
                  <a:gd name="T6" fmla="*/ 124 w 226"/>
                  <a:gd name="T7" fmla="*/ 303 h 327"/>
                  <a:gd name="T8" fmla="*/ 84 w 226"/>
                  <a:gd name="T9" fmla="*/ 312 h 327"/>
                  <a:gd name="T10" fmla="*/ 78 w 226"/>
                  <a:gd name="T11" fmla="*/ 318 h 327"/>
                  <a:gd name="T12" fmla="*/ 65 w 226"/>
                  <a:gd name="T13" fmla="*/ 325 h 327"/>
                  <a:gd name="T14" fmla="*/ 60 w 226"/>
                  <a:gd name="T15" fmla="*/ 323 h 327"/>
                  <a:gd name="T16" fmla="*/ 29 w 226"/>
                  <a:gd name="T17" fmla="*/ 313 h 327"/>
                  <a:gd name="T18" fmla="*/ 22 w 226"/>
                  <a:gd name="T19" fmla="*/ 308 h 327"/>
                  <a:gd name="T20" fmla="*/ 26 w 226"/>
                  <a:gd name="T21" fmla="*/ 303 h 327"/>
                  <a:gd name="T22" fmla="*/ 27 w 226"/>
                  <a:gd name="T23" fmla="*/ 293 h 327"/>
                  <a:gd name="T24" fmla="*/ 21 w 226"/>
                  <a:gd name="T25" fmla="*/ 281 h 327"/>
                  <a:gd name="T26" fmla="*/ 10 w 226"/>
                  <a:gd name="T27" fmla="*/ 266 h 327"/>
                  <a:gd name="T28" fmla="*/ 2 w 226"/>
                  <a:gd name="T29" fmla="*/ 232 h 327"/>
                  <a:gd name="T30" fmla="*/ 12 w 226"/>
                  <a:gd name="T31" fmla="*/ 208 h 327"/>
                  <a:gd name="T32" fmla="*/ 17 w 226"/>
                  <a:gd name="T33" fmla="*/ 181 h 327"/>
                  <a:gd name="T34" fmla="*/ 34 w 226"/>
                  <a:gd name="T35" fmla="*/ 158 h 327"/>
                  <a:gd name="T36" fmla="*/ 39 w 226"/>
                  <a:gd name="T37" fmla="*/ 145 h 327"/>
                  <a:gd name="T38" fmla="*/ 33 w 226"/>
                  <a:gd name="T39" fmla="*/ 114 h 327"/>
                  <a:gd name="T40" fmla="*/ 26 w 226"/>
                  <a:gd name="T41" fmla="*/ 104 h 327"/>
                  <a:gd name="T42" fmla="*/ 31 w 226"/>
                  <a:gd name="T43" fmla="*/ 92 h 327"/>
                  <a:gd name="T44" fmla="*/ 24 w 226"/>
                  <a:gd name="T45" fmla="*/ 75 h 327"/>
                  <a:gd name="T46" fmla="*/ 24 w 226"/>
                  <a:gd name="T47" fmla="*/ 56 h 327"/>
                  <a:gd name="T48" fmla="*/ 26 w 226"/>
                  <a:gd name="T49" fmla="*/ 38 h 327"/>
                  <a:gd name="T50" fmla="*/ 19 w 226"/>
                  <a:gd name="T51" fmla="*/ 21 h 327"/>
                  <a:gd name="T52" fmla="*/ 51 w 226"/>
                  <a:gd name="T53" fmla="*/ 9 h 327"/>
                  <a:gd name="T54" fmla="*/ 85 w 226"/>
                  <a:gd name="T55" fmla="*/ 9 h 327"/>
                  <a:gd name="T56" fmla="*/ 119 w 226"/>
                  <a:gd name="T57" fmla="*/ 10 h 327"/>
                  <a:gd name="T58" fmla="*/ 133 w 226"/>
                  <a:gd name="T59" fmla="*/ 10 h 327"/>
                  <a:gd name="T60" fmla="*/ 138 w 226"/>
                  <a:gd name="T61" fmla="*/ 10 h 327"/>
                  <a:gd name="T62" fmla="*/ 146 w 226"/>
                  <a:gd name="T63" fmla="*/ 2 h 327"/>
                  <a:gd name="T64" fmla="*/ 158 w 226"/>
                  <a:gd name="T65" fmla="*/ 2 h 327"/>
                  <a:gd name="T66" fmla="*/ 165 w 226"/>
                  <a:gd name="T67" fmla="*/ 10 h 327"/>
                  <a:gd name="T68" fmla="*/ 169 w 226"/>
                  <a:gd name="T69" fmla="*/ 29 h 327"/>
                  <a:gd name="T70" fmla="*/ 180 w 226"/>
                  <a:gd name="T71" fmla="*/ 38 h 327"/>
                  <a:gd name="T72" fmla="*/ 184 w 226"/>
                  <a:gd name="T73" fmla="*/ 46 h 327"/>
                  <a:gd name="T74" fmla="*/ 186 w 226"/>
                  <a:gd name="T75" fmla="*/ 63 h 327"/>
                  <a:gd name="T76" fmla="*/ 184 w 226"/>
                  <a:gd name="T77" fmla="*/ 77 h 327"/>
                  <a:gd name="T78" fmla="*/ 186 w 226"/>
                  <a:gd name="T79" fmla="*/ 80 h 327"/>
                  <a:gd name="T80" fmla="*/ 179 w 226"/>
                  <a:gd name="T81" fmla="*/ 87 h 327"/>
                  <a:gd name="T82" fmla="*/ 184 w 226"/>
                  <a:gd name="T83" fmla="*/ 85 h 327"/>
                  <a:gd name="T84" fmla="*/ 194 w 226"/>
                  <a:gd name="T85" fmla="*/ 94 h 327"/>
                  <a:gd name="T86" fmla="*/ 189 w 226"/>
                  <a:gd name="T87" fmla="*/ 107 h 327"/>
                  <a:gd name="T88" fmla="*/ 189 w 226"/>
                  <a:gd name="T89" fmla="*/ 119 h 327"/>
                  <a:gd name="T90" fmla="*/ 192 w 226"/>
                  <a:gd name="T91" fmla="*/ 133 h 327"/>
                  <a:gd name="T92" fmla="*/ 203 w 226"/>
                  <a:gd name="T93" fmla="*/ 147 h 327"/>
                  <a:gd name="T94" fmla="*/ 196 w 226"/>
                  <a:gd name="T95" fmla="*/ 157 h 327"/>
                  <a:gd name="T96" fmla="*/ 192 w 226"/>
                  <a:gd name="T97" fmla="*/ 182 h 327"/>
                  <a:gd name="T98" fmla="*/ 199 w 226"/>
                  <a:gd name="T99" fmla="*/ 196 h 327"/>
                  <a:gd name="T100" fmla="*/ 194 w 226"/>
                  <a:gd name="T101" fmla="*/ 213 h 327"/>
                  <a:gd name="T102" fmla="*/ 196 w 226"/>
                  <a:gd name="T103" fmla="*/ 223 h 327"/>
                  <a:gd name="T104" fmla="*/ 204 w 226"/>
                  <a:gd name="T105" fmla="*/ 233 h 327"/>
                  <a:gd name="T106" fmla="*/ 216 w 226"/>
                  <a:gd name="T107" fmla="*/ 245 h 3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26" h="327">
                    <a:moveTo>
                      <a:pt x="226" y="257"/>
                    </a:moveTo>
                    <a:lnTo>
                      <a:pt x="220" y="261"/>
                    </a:lnTo>
                    <a:lnTo>
                      <a:pt x="216" y="266"/>
                    </a:lnTo>
                    <a:lnTo>
                      <a:pt x="216" y="271"/>
                    </a:lnTo>
                    <a:lnTo>
                      <a:pt x="213" y="274"/>
                    </a:lnTo>
                    <a:lnTo>
                      <a:pt x="199" y="274"/>
                    </a:lnTo>
                    <a:lnTo>
                      <a:pt x="187" y="272"/>
                    </a:lnTo>
                    <a:lnTo>
                      <a:pt x="180" y="274"/>
                    </a:lnTo>
                    <a:lnTo>
                      <a:pt x="175" y="276"/>
                    </a:lnTo>
                    <a:lnTo>
                      <a:pt x="172" y="278"/>
                    </a:lnTo>
                    <a:lnTo>
                      <a:pt x="169" y="278"/>
                    </a:lnTo>
                    <a:lnTo>
                      <a:pt x="167" y="281"/>
                    </a:lnTo>
                    <a:lnTo>
                      <a:pt x="163" y="283"/>
                    </a:lnTo>
                    <a:lnTo>
                      <a:pt x="160" y="284"/>
                    </a:lnTo>
                    <a:lnTo>
                      <a:pt x="155" y="286"/>
                    </a:lnTo>
                    <a:lnTo>
                      <a:pt x="150" y="288"/>
                    </a:lnTo>
                    <a:lnTo>
                      <a:pt x="146" y="289"/>
                    </a:lnTo>
                    <a:lnTo>
                      <a:pt x="143" y="291"/>
                    </a:lnTo>
                    <a:lnTo>
                      <a:pt x="141" y="295"/>
                    </a:lnTo>
                    <a:lnTo>
                      <a:pt x="135" y="295"/>
                    </a:lnTo>
                    <a:lnTo>
                      <a:pt x="135" y="296"/>
                    </a:lnTo>
                    <a:lnTo>
                      <a:pt x="133" y="296"/>
                    </a:lnTo>
                    <a:lnTo>
                      <a:pt x="129" y="298"/>
                    </a:lnTo>
                    <a:lnTo>
                      <a:pt x="124" y="303"/>
                    </a:lnTo>
                    <a:lnTo>
                      <a:pt x="111" y="303"/>
                    </a:lnTo>
                    <a:lnTo>
                      <a:pt x="102" y="308"/>
                    </a:lnTo>
                    <a:lnTo>
                      <a:pt x="99" y="308"/>
                    </a:lnTo>
                    <a:lnTo>
                      <a:pt x="94" y="310"/>
                    </a:lnTo>
                    <a:lnTo>
                      <a:pt x="92" y="310"/>
                    </a:lnTo>
                    <a:lnTo>
                      <a:pt x="84" y="312"/>
                    </a:lnTo>
                    <a:lnTo>
                      <a:pt x="82" y="315"/>
                    </a:lnTo>
                    <a:lnTo>
                      <a:pt x="80" y="315"/>
                    </a:lnTo>
                    <a:lnTo>
                      <a:pt x="80" y="317"/>
                    </a:lnTo>
                    <a:lnTo>
                      <a:pt x="78" y="317"/>
                    </a:lnTo>
                    <a:lnTo>
                      <a:pt x="77" y="318"/>
                    </a:lnTo>
                    <a:lnTo>
                      <a:pt x="78" y="318"/>
                    </a:lnTo>
                    <a:lnTo>
                      <a:pt x="75" y="318"/>
                    </a:lnTo>
                    <a:lnTo>
                      <a:pt x="77" y="320"/>
                    </a:lnTo>
                    <a:lnTo>
                      <a:pt x="75" y="320"/>
                    </a:lnTo>
                    <a:lnTo>
                      <a:pt x="73" y="320"/>
                    </a:lnTo>
                    <a:lnTo>
                      <a:pt x="68" y="322"/>
                    </a:lnTo>
                    <a:lnTo>
                      <a:pt x="65" y="325"/>
                    </a:lnTo>
                    <a:lnTo>
                      <a:pt x="63" y="325"/>
                    </a:lnTo>
                    <a:lnTo>
                      <a:pt x="61" y="327"/>
                    </a:lnTo>
                    <a:lnTo>
                      <a:pt x="60" y="325"/>
                    </a:lnTo>
                    <a:lnTo>
                      <a:pt x="60" y="327"/>
                    </a:lnTo>
                    <a:lnTo>
                      <a:pt x="60" y="325"/>
                    </a:lnTo>
                    <a:lnTo>
                      <a:pt x="60" y="323"/>
                    </a:lnTo>
                    <a:lnTo>
                      <a:pt x="56" y="323"/>
                    </a:lnTo>
                    <a:lnTo>
                      <a:pt x="53" y="320"/>
                    </a:lnTo>
                    <a:lnTo>
                      <a:pt x="51" y="320"/>
                    </a:lnTo>
                    <a:lnTo>
                      <a:pt x="51" y="318"/>
                    </a:lnTo>
                    <a:lnTo>
                      <a:pt x="44" y="317"/>
                    </a:lnTo>
                    <a:lnTo>
                      <a:pt x="29" y="313"/>
                    </a:lnTo>
                    <a:lnTo>
                      <a:pt x="9" y="308"/>
                    </a:lnTo>
                    <a:lnTo>
                      <a:pt x="10" y="306"/>
                    </a:lnTo>
                    <a:lnTo>
                      <a:pt x="12" y="306"/>
                    </a:lnTo>
                    <a:lnTo>
                      <a:pt x="17" y="308"/>
                    </a:lnTo>
                    <a:lnTo>
                      <a:pt x="19" y="306"/>
                    </a:lnTo>
                    <a:lnTo>
                      <a:pt x="22" y="308"/>
                    </a:lnTo>
                    <a:lnTo>
                      <a:pt x="22" y="306"/>
                    </a:lnTo>
                    <a:lnTo>
                      <a:pt x="22" y="308"/>
                    </a:lnTo>
                    <a:lnTo>
                      <a:pt x="24" y="306"/>
                    </a:lnTo>
                    <a:lnTo>
                      <a:pt x="26" y="308"/>
                    </a:lnTo>
                    <a:lnTo>
                      <a:pt x="27" y="306"/>
                    </a:lnTo>
                    <a:lnTo>
                      <a:pt x="26" y="303"/>
                    </a:lnTo>
                    <a:lnTo>
                      <a:pt x="26" y="300"/>
                    </a:lnTo>
                    <a:lnTo>
                      <a:pt x="24" y="298"/>
                    </a:lnTo>
                    <a:lnTo>
                      <a:pt x="26" y="298"/>
                    </a:lnTo>
                    <a:lnTo>
                      <a:pt x="26" y="295"/>
                    </a:lnTo>
                    <a:lnTo>
                      <a:pt x="27" y="296"/>
                    </a:lnTo>
                    <a:lnTo>
                      <a:pt x="27" y="293"/>
                    </a:lnTo>
                    <a:lnTo>
                      <a:pt x="26" y="291"/>
                    </a:lnTo>
                    <a:lnTo>
                      <a:pt x="26" y="284"/>
                    </a:lnTo>
                    <a:lnTo>
                      <a:pt x="26" y="283"/>
                    </a:lnTo>
                    <a:lnTo>
                      <a:pt x="24" y="281"/>
                    </a:lnTo>
                    <a:lnTo>
                      <a:pt x="22" y="281"/>
                    </a:lnTo>
                    <a:lnTo>
                      <a:pt x="21" y="281"/>
                    </a:lnTo>
                    <a:lnTo>
                      <a:pt x="17" y="283"/>
                    </a:lnTo>
                    <a:lnTo>
                      <a:pt x="16" y="281"/>
                    </a:lnTo>
                    <a:lnTo>
                      <a:pt x="16" y="278"/>
                    </a:lnTo>
                    <a:lnTo>
                      <a:pt x="12" y="278"/>
                    </a:lnTo>
                    <a:lnTo>
                      <a:pt x="12" y="271"/>
                    </a:lnTo>
                    <a:lnTo>
                      <a:pt x="10" y="266"/>
                    </a:lnTo>
                    <a:lnTo>
                      <a:pt x="10" y="264"/>
                    </a:lnTo>
                    <a:lnTo>
                      <a:pt x="9" y="255"/>
                    </a:lnTo>
                    <a:lnTo>
                      <a:pt x="5" y="250"/>
                    </a:lnTo>
                    <a:lnTo>
                      <a:pt x="5" y="247"/>
                    </a:lnTo>
                    <a:lnTo>
                      <a:pt x="2" y="237"/>
                    </a:lnTo>
                    <a:lnTo>
                      <a:pt x="2" y="232"/>
                    </a:lnTo>
                    <a:lnTo>
                      <a:pt x="0" y="232"/>
                    </a:lnTo>
                    <a:lnTo>
                      <a:pt x="4" y="226"/>
                    </a:lnTo>
                    <a:lnTo>
                      <a:pt x="2" y="223"/>
                    </a:lnTo>
                    <a:lnTo>
                      <a:pt x="2" y="221"/>
                    </a:lnTo>
                    <a:lnTo>
                      <a:pt x="9" y="209"/>
                    </a:lnTo>
                    <a:lnTo>
                      <a:pt x="12" y="208"/>
                    </a:lnTo>
                    <a:lnTo>
                      <a:pt x="12" y="204"/>
                    </a:lnTo>
                    <a:lnTo>
                      <a:pt x="17" y="201"/>
                    </a:lnTo>
                    <a:lnTo>
                      <a:pt x="16" y="198"/>
                    </a:lnTo>
                    <a:lnTo>
                      <a:pt x="16" y="196"/>
                    </a:lnTo>
                    <a:lnTo>
                      <a:pt x="17" y="187"/>
                    </a:lnTo>
                    <a:lnTo>
                      <a:pt x="17" y="181"/>
                    </a:lnTo>
                    <a:lnTo>
                      <a:pt x="22" y="170"/>
                    </a:lnTo>
                    <a:lnTo>
                      <a:pt x="24" y="169"/>
                    </a:lnTo>
                    <a:lnTo>
                      <a:pt x="26" y="164"/>
                    </a:lnTo>
                    <a:lnTo>
                      <a:pt x="27" y="165"/>
                    </a:lnTo>
                    <a:lnTo>
                      <a:pt x="31" y="160"/>
                    </a:lnTo>
                    <a:lnTo>
                      <a:pt x="34" y="158"/>
                    </a:lnTo>
                    <a:lnTo>
                      <a:pt x="34" y="157"/>
                    </a:lnTo>
                    <a:lnTo>
                      <a:pt x="33" y="155"/>
                    </a:lnTo>
                    <a:lnTo>
                      <a:pt x="34" y="153"/>
                    </a:lnTo>
                    <a:lnTo>
                      <a:pt x="38" y="152"/>
                    </a:lnTo>
                    <a:lnTo>
                      <a:pt x="39" y="150"/>
                    </a:lnTo>
                    <a:lnTo>
                      <a:pt x="39" y="145"/>
                    </a:lnTo>
                    <a:lnTo>
                      <a:pt x="38" y="135"/>
                    </a:lnTo>
                    <a:lnTo>
                      <a:pt x="34" y="121"/>
                    </a:lnTo>
                    <a:lnTo>
                      <a:pt x="33" y="121"/>
                    </a:lnTo>
                    <a:lnTo>
                      <a:pt x="34" y="119"/>
                    </a:lnTo>
                    <a:lnTo>
                      <a:pt x="33" y="118"/>
                    </a:lnTo>
                    <a:lnTo>
                      <a:pt x="33" y="114"/>
                    </a:lnTo>
                    <a:lnTo>
                      <a:pt x="31" y="114"/>
                    </a:lnTo>
                    <a:lnTo>
                      <a:pt x="31" y="109"/>
                    </a:lnTo>
                    <a:lnTo>
                      <a:pt x="27" y="109"/>
                    </a:lnTo>
                    <a:lnTo>
                      <a:pt x="26" y="107"/>
                    </a:lnTo>
                    <a:lnTo>
                      <a:pt x="26" y="106"/>
                    </a:lnTo>
                    <a:lnTo>
                      <a:pt x="26" y="104"/>
                    </a:lnTo>
                    <a:lnTo>
                      <a:pt x="27" y="102"/>
                    </a:lnTo>
                    <a:lnTo>
                      <a:pt x="29" y="101"/>
                    </a:lnTo>
                    <a:lnTo>
                      <a:pt x="31" y="97"/>
                    </a:lnTo>
                    <a:lnTo>
                      <a:pt x="27" y="96"/>
                    </a:lnTo>
                    <a:lnTo>
                      <a:pt x="27" y="94"/>
                    </a:lnTo>
                    <a:lnTo>
                      <a:pt x="31" y="92"/>
                    </a:lnTo>
                    <a:lnTo>
                      <a:pt x="29" y="85"/>
                    </a:lnTo>
                    <a:lnTo>
                      <a:pt x="26" y="82"/>
                    </a:lnTo>
                    <a:lnTo>
                      <a:pt x="26" y="80"/>
                    </a:lnTo>
                    <a:lnTo>
                      <a:pt x="27" y="78"/>
                    </a:lnTo>
                    <a:lnTo>
                      <a:pt x="26" y="77"/>
                    </a:lnTo>
                    <a:lnTo>
                      <a:pt x="24" y="75"/>
                    </a:lnTo>
                    <a:lnTo>
                      <a:pt x="24" y="73"/>
                    </a:lnTo>
                    <a:lnTo>
                      <a:pt x="27" y="68"/>
                    </a:lnTo>
                    <a:lnTo>
                      <a:pt x="26" y="67"/>
                    </a:lnTo>
                    <a:lnTo>
                      <a:pt x="27" y="61"/>
                    </a:lnTo>
                    <a:lnTo>
                      <a:pt x="26" y="60"/>
                    </a:lnTo>
                    <a:lnTo>
                      <a:pt x="24" y="56"/>
                    </a:lnTo>
                    <a:lnTo>
                      <a:pt x="24" y="50"/>
                    </a:lnTo>
                    <a:lnTo>
                      <a:pt x="26" y="48"/>
                    </a:lnTo>
                    <a:lnTo>
                      <a:pt x="22" y="44"/>
                    </a:lnTo>
                    <a:lnTo>
                      <a:pt x="22" y="41"/>
                    </a:lnTo>
                    <a:lnTo>
                      <a:pt x="26" y="39"/>
                    </a:lnTo>
                    <a:lnTo>
                      <a:pt x="26" y="38"/>
                    </a:lnTo>
                    <a:lnTo>
                      <a:pt x="21" y="38"/>
                    </a:lnTo>
                    <a:lnTo>
                      <a:pt x="17" y="29"/>
                    </a:lnTo>
                    <a:lnTo>
                      <a:pt x="17" y="27"/>
                    </a:lnTo>
                    <a:lnTo>
                      <a:pt x="19" y="26"/>
                    </a:lnTo>
                    <a:lnTo>
                      <a:pt x="17" y="24"/>
                    </a:lnTo>
                    <a:lnTo>
                      <a:pt x="19" y="21"/>
                    </a:lnTo>
                    <a:lnTo>
                      <a:pt x="21" y="16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9"/>
                    </a:lnTo>
                    <a:lnTo>
                      <a:pt x="39" y="10"/>
                    </a:lnTo>
                    <a:lnTo>
                      <a:pt x="51" y="9"/>
                    </a:lnTo>
                    <a:lnTo>
                      <a:pt x="58" y="10"/>
                    </a:lnTo>
                    <a:lnTo>
                      <a:pt x="77" y="10"/>
                    </a:lnTo>
                    <a:lnTo>
                      <a:pt x="80" y="10"/>
                    </a:lnTo>
                    <a:lnTo>
                      <a:pt x="82" y="9"/>
                    </a:lnTo>
                    <a:lnTo>
                      <a:pt x="85" y="10"/>
                    </a:lnTo>
                    <a:lnTo>
                      <a:pt x="85" y="9"/>
                    </a:lnTo>
                    <a:lnTo>
                      <a:pt x="94" y="9"/>
                    </a:lnTo>
                    <a:lnTo>
                      <a:pt x="95" y="9"/>
                    </a:lnTo>
                    <a:lnTo>
                      <a:pt x="109" y="10"/>
                    </a:lnTo>
                    <a:lnTo>
                      <a:pt x="109" y="9"/>
                    </a:lnTo>
                    <a:lnTo>
                      <a:pt x="119" y="9"/>
                    </a:lnTo>
                    <a:lnTo>
                      <a:pt x="119" y="10"/>
                    </a:lnTo>
                    <a:lnTo>
                      <a:pt x="121" y="10"/>
                    </a:lnTo>
                    <a:lnTo>
                      <a:pt x="123" y="9"/>
                    </a:lnTo>
                    <a:lnTo>
                      <a:pt x="126" y="9"/>
                    </a:lnTo>
                    <a:lnTo>
                      <a:pt x="131" y="9"/>
                    </a:lnTo>
                    <a:lnTo>
                      <a:pt x="131" y="10"/>
                    </a:lnTo>
                    <a:lnTo>
                      <a:pt x="133" y="10"/>
                    </a:lnTo>
                    <a:lnTo>
                      <a:pt x="131" y="10"/>
                    </a:lnTo>
                    <a:lnTo>
                      <a:pt x="133" y="10"/>
                    </a:lnTo>
                    <a:lnTo>
                      <a:pt x="135" y="12"/>
                    </a:lnTo>
                    <a:lnTo>
                      <a:pt x="135" y="14"/>
                    </a:lnTo>
                    <a:lnTo>
                      <a:pt x="138" y="9"/>
                    </a:lnTo>
                    <a:lnTo>
                      <a:pt x="138" y="10"/>
                    </a:lnTo>
                    <a:lnTo>
                      <a:pt x="140" y="9"/>
                    </a:lnTo>
                    <a:lnTo>
                      <a:pt x="140" y="10"/>
                    </a:lnTo>
                    <a:lnTo>
                      <a:pt x="141" y="7"/>
                    </a:lnTo>
                    <a:lnTo>
                      <a:pt x="143" y="7"/>
                    </a:lnTo>
                    <a:lnTo>
                      <a:pt x="145" y="4"/>
                    </a:lnTo>
                    <a:lnTo>
                      <a:pt x="146" y="2"/>
                    </a:lnTo>
                    <a:lnTo>
                      <a:pt x="146" y="5"/>
                    </a:lnTo>
                    <a:lnTo>
                      <a:pt x="148" y="5"/>
                    </a:lnTo>
                    <a:lnTo>
                      <a:pt x="148" y="4"/>
                    </a:lnTo>
                    <a:lnTo>
                      <a:pt x="152" y="2"/>
                    </a:lnTo>
                    <a:lnTo>
                      <a:pt x="152" y="0"/>
                    </a:lnTo>
                    <a:lnTo>
                      <a:pt x="158" y="2"/>
                    </a:lnTo>
                    <a:lnTo>
                      <a:pt x="158" y="4"/>
                    </a:lnTo>
                    <a:lnTo>
                      <a:pt x="162" y="5"/>
                    </a:lnTo>
                    <a:lnTo>
                      <a:pt x="165" y="4"/>
                    </a:lnTo>
                    <a:lnTo>
                      <a:pt x="167" y="5"/>
                    </a:lnTo>
                    <a:lnTo>
                      <a:pt x="167" y="10"/>
                    </a:lnTo>
                    <a:lnTo>
                      <a:pt x="165" y="10"/>
                    </a:lnTo>
                    <a:lnTo>
                      <a:pt x="165" y="17"/>
                    </a:lnTo>
                    <a:lnTo>
                      <a:pt x="165" y="19"/>
                    </a:lnTo>
                    <a:lnTo>
                      <a:pt x="162" y="21"/>
                    </a:lnTo>
                    <a:lnTo>
                      <a:pt x="162" y="24"/>
                    </a:lnTo>
                    <a:lnTo>
                      <a:pt x="162" y="27"/>
                    </a:lnTo>
                    <a:lnTo>
                      <a:pt x="169" y="29"/>
                    </a:lnTo>
                    <a:lnTo>
                      <a:pt x="169" y="33"/>
                    </a:lnTo>
                    <a:lnTo>
                      <a:pt x="172" y="34"/>
                    </a:lnTo>
                    <a:lnTo>
                      <a:pt x="175" y="39"/>
                    </a:lnTo>
                    <a:lnTo>
                      <a:pt x="177" y="38"/>
                    </a:lnTo>
                    <a:lnTo>
                      <a:pt x="179" y="39"/>
                    </a:lnTo>
                    <a:lnTo>
                      <a:pt x="180" y="38"/>
                    </a:lnTo>
                    <a:lnTo>
                      <a:pt x="180" y="39"/>
                    </a:lnTo>
                    <a:lnTo>
                      <a:pt x="180" y="41"/>
                    </a:lnTo>
                    <a:lnTo>
                      <a:pt x="182" y="43"/>
                    </a:lnTo>
                    <a:lnTo>
                      <a:pt x="182" y="44"/>
                    </a:lnTo>
                    <a:lnTo>
                      <a:pt x="186" y="44"/>
                    </a:lnTo>
                    <a:lnTo>
                      <a:pt x="184" y="46"/>
                    </a:lnTo>
                    <a:lnTo>
                      <a:pt x="184" y="55"/>
                    </a:lnTo>
                    <a:lnTo>
                      <a:pt x="187" y="56"/>
                    </a:lnTo>
                    <a:lnTo>
                      <a:pt x="187" y="58"/>
                    </a:lnTo>
                    <a:lnTo>
                      <a:pt x="184" y="58"/>
                    </a:lnTo>
                    <a:lnTo>
                      <a:pt x="184" y="60"/>
                    </a:lnTo>
                    <a:lnTo>
                      <a:pt x="186" y="63"/>
                    </a:lnTo>
                    <a:lnTo>
                      <a:pt x="184" y="65"/>
                    </a:lnTo>
                    <a:lnTo>
                      <a:pt x="184" y="68"/>
                    </a:lnTo>
                    <a:lnTo>
                      <a:pt x="182" y="70"/>
                    </a:lnTo>
                    <a:lnTo>
                      <a:pt x="182" y="73"/>
                    </a:lnTo>
                    <a:lnTo>
                      <a:pt x="184" y="75"/>
                    </a:lnTo>
                    <a:lnTo>
                      <a:pt x="184" y="77"/>
                    </a:lnTo>
                    <a:lnTo>
                      <a:pt x="182" y="77"/>
                    </a:lnTo>
                    <a:lnTo>
                      <a:pt x="180" y="75"/>
                    </a:lnTo>
                    <a:lnTo>
                      <a:pt x="179" y="77"/>
                    </a:lnTo>
                    <a:lnTo>
                      <a:pt x="180" y="80"/>
                    </a:lnTo>
                    <a:lnTo>
                      <a:pt x="184" y="78"/>
                    </a:lnTo>
                    <a:lnTo>
                      <a:pt x="186" y="80"/>
                    </a:lnTo>
                    <a:lnTo>
                      <a:pt x="184" y="82"/>
                    </a:lnTo>
                    <a:lnTo>
                      <a:pt x="179" y="82"/>
                    </a:lnTo>
                    <a:lnTo>
                      <a:pt x="179" y="84"/>
                    </a:lnTo>
                    <a:lnTo>
                      <a:pt x="180" y="84"/>
                    </a:lnTo>
                    <a:lnTo>
                      <a:pt x="182" y="85"/>
                    </a:lnTo>
                    <a:lnTo>
                      <a:pt x="179" y="87"/>
                    </a:lnTo>
                    <a:lnTo>
                      <a:pt x="177" y="85"/>
                    </a:lnTo>
                    <a:lnTo>
                      <a:pt x="177" y="87"/>
                    </a:lnTo>
                    <a:lnTo>
                      <a:pt x="179" y="89"/>
                    </a:lnTo>
                    <a:lnTo>
                      <a:pt x="180" y="89"/>
                    </a:lnTo>
                    <a:lnTo>
                      <a:pt x="184" y="87"/>
                    </a:lnTo>
                    <a:lnTo>
                      <a:pt x="184" y="85"/>
                    </a:lnTo>
                    <a:lnTo>
                      <a:pt x="189" y="85"/>
                    </a:lnTo>
                    <a:lnTo>
                      <a:pt x="191" y="85"/>
                    </a:lnTo>
                    <a:lnTo>
                      <a:pt x="191" y="89"/>
                    </a:lnTo>
                    <a:lnTo>
                      <a:pt x="194" y="89"/>
                    </a:lnTo>
                    <a:lnTo>
                      <a:pt x="194" y="90"/>
                    </a:lnTo>
                    <a:lnTo>
                      <a:pt x="194" y="94"/>
                    </a:lnTo>
                    <a:lnTo>
                      <a:pt x="194" y="96"/>
                    </a:lnTo>
                    <a:lnTo>
                      <a:pt x="192" y="97"/>
                    </a:lnTo>
                    <a:lnTo>
                      <a:pt x="192" y="101"/>
                    </a:lnTo>
                    <a:lnTo>
                      <a:pt x="191" y="102"/>
                    </a:lnTo>
                    <a:lnTo>
                      <a:pt x="191" y="104"/>
                    </a:lnTo>
                    <a:lnTo>
                      <a:pt x="189" y="107"/>
                    </a:lnTo>
                    <a:lnTo>
                      <a:pt x="192" y="114"/>
                    </a:lnTo>
                    <a:lnTo>
                      <a:pt x="192" y="118"/>
                    </a:lnTo>
                    <a:lnTo>
                      <a:pt x="191" y="119"/>
                    </a:lnTo>
                    <a:lnTo>
                      <a:pt x="191" y="121"/>
                    </a:lnTo>
                    <a:lnTo>
                      <a:pt x="189" y="121"/>
                    </a:lnTo>
                    <a:lnTo>
                      <a:pt x="189" y="119"/>
                    </a:lnTo>
                    <a:lnTo>
                      <a:pt x="187" y="121"/>
                    </a:lnTo>
                    <a:lnTo>
                      <a:pt x="186" y="121"/>
                    </a:lnTo>
                    <a:lnTo>
                      <a:pt x="186" y="123"/>
                    </a:lnTo>
                    <a:lnTo>
                      <a:pt x="189" y="131"/>
                    </a:lnTo>
                    <a:lnTo>
                      <a:pt x="191" y="131"/>
                    </a:lnTo>
                    <a:lnTo>
                      <a:pt x="192" y="133"/>
                    </a:lnTo>
                    <a:lnTo>
                      <a:pt x="194" y="135"/>
                    </a:lnTo>
                    <a:lnTo>
                      <a:pt x="199" y="136"/>
                    </a:lnTo>
                    <a:lnTo>
                      <a:pt x="199" y="140"/>
                    </a:lnTo>
                    <a:lnTo>
                      <a:pt x="201" y="141"/>
                    </a:lnTo>
                    <a:lnTo>
                      <a:pt x="203" y="145"/>
                    </a:lnTo>
                    <a:lnTo>
                      <a:pt x="203" y="147"/>
                    </a:lnTo>
                    <a:lnTo>
                      <a:pt x="199" y="148"/>
                    </a:lnTo>
                    <a:lnTo>
                      <a:pt x="197" y="150"/>
                    </a:lnTo>
                    <a:lnTo>
                      <a:pt x="196" y="152"/>
                    </a:lnTo>
                    <a:lnTo>
                      <a:pt x="197" y="153"/>
                    </a:lnTo>
                    <a:lnTo>
                      <a:pt x="196" y="155"/>
                    </a:lnTo>
                    <a:lnTo>
                      <a:pt x="196" y="157"/>
                    </a:lnTo>
                    <a:lnTo>
                      <a:pt x="197" y="172"/>
                    </a:lnTo>
                    <a:lnTo>
                      <a:pt x="197" y="174"/>
                    </a:lnTo>
                    <a:lnTo>
                      <a:pt x="197" y="175"/>
                    </a:lnTo>
                    <a:lnTo>
                      <a:pt x="196" y="177"/>
                    </a:lnTo>
                    <a:lnTo>
                      <a:pt x="196" y="181"/>
                    </a:lnTo>
                    <a:lnTo>
                      <a:pt x="192" y="182"/>
                    </a:lnTo>
                    <a:lnTo>
                      <a:pt x="192" y="187"/>
                    </a:lnTo>
                    <a:lnTo>
                      <a:pt x="192" y="189"/>
                    </a:lnTo>
                    <a:lnTo>
                      <a:pt x="194" y="192"/>
                    </a:lnTo>
                    <a:lnTo>
                      <a:pt x="197" y="191"/>
                    </a:lnTo>
                    <a:lnTo>
                      <a:pt x="199" y="192"/>
                    </a:lnTo>
                    <a:lnTo>
                      <a:pt x="199" y="196"/>
                    </a:lnTo>
                    <a:lnTo>
                      <a:pt x="197" y="203"/>
                    </a:lnTo>
                    <a:lnTo>
                      <a:pt x="196" y="204"/>
                    </a:lnTo>
                    <a:lnTo>
                      <a:pt x="197" y="208"/>
                    </a:lnTo>
                    <a:lnTo>
                      <a:pt x="196" y="209"/>
                    </a:lnTo>
                    <a:lnTo>
                      <a:pt x="196" y="211"/>
                    </a:lnTo>
                    <a:lnTo>
                      <a:pt x="194" y="213"/>
                    </a:lnTo>
                    <a:lnTo>
                      <a:pt x="192" y="213"/>
                    </a:lnTo>
                    <a:lnTo>
                      <a:pt x="192" y="215"/>
                    </a:lnTo>
                    <a:lnTo>
                      <a:pt x="194" y="216"/>
                    </a:lnTo>
                    <a:lnTo>
                      <a:pt x="192" y="220"/>
                    </a:lnTo>
                    <a:lnTo>
                      <a:pt x="194" y="221"/>
                    </a:lnTo>
                    <a:lnTo>
                      <a:pt x="196" y="223"/>
                    </a:lnTo>
                    <a:lnTo>
                      <a:pt x="199" y="225"/>
                    </a:lnTo>
                    <a:lnTo>
                      <a:pt x="197" y="230"/>
                    </a:lnTo>
                    <a:lnTo>
                      <a:pt x="199" y="232"/>
                    </a:lnTo>
                    <a:lnTo>
                      <a:pt x="201" y="232"/>
                    </a:lnTo>
                    <a:lnTo>
                      <a:pt x="201" y="233"/>
                    </a:lnTo>
                    <a:lnTo>
                      <a:pt x="204" y="233"/>
                    </a:lnTo>
                    <a:lnTo>
                      <a:pt x="203" y="235"/>
                    </a:lnTo>
                    <a:lnTo>
                      <a:pt x="204" y="240"/>
                    </a:lnTo>
                    <a:lnTo>
                      <a:pt x="206" y="242"/>
                    </a:lnTo>
                    <a:lnTo>
                      <a:pt x="209" y="244"/>
                    </a:lnTo>
                    <a:lnTo>
                      <a:pt x="211" y="245"/>
                    </a:lnTo>
                    <a:lnTo>
                      <a:pt x="216" y="245"/>
                    </a:lnTo>
                    <a:lnTo>
                      <a:pt x="218" y="250"/>
                    </a:lnTo>
                    <a:lnTo>
                      <a:pt x="220" y="252"/>
                    </a:lnTo>
                    <a:lnTo>
                      <a:pt x="221" y="254"/>
                    </a:lnTo>
                    <a:lnTo>
                      <a:pt x="226" y="254"/>
                    </a:lnTo>
                    <a:lnTo>
                      <a:pt x="226" y="257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81" name="Freeform 31">
                <a:extLst>
                  <a:ext uri="{FF2B5EF4-FFF2-40B4-BE49-F238E27FC236}">
                    <a16:creationId xmlns:a16="http://schemas.microsoft.com/office/drawing/2014/main" id="{BE30AFE2-B04C-4AE2-B638-02510ED95D9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363817" y="2433537"/>
                <a:ext cx="598470" cy="442894"/>
              </a:xfrm>
              <a:custGeom>
                <a:avLst/>
                <a:gdLst>
                  <a:gd name="T0" fmla="*/ 189 w 377"/>
                  <a:gd name="T1" fmla="*/ 29 h 279"/>
                  <a:gd name="T2" fmla="*/ 207 w 377"/>
                  <a:gd name="T3" fmla="*/ 24 h 279"/>
                  <a:gd name="T4" fmla="*/ 231 w 377"/>
                  <a:gd name="T5" fmla="*/ 32 h 279"/>
                  <a:gd name="T6" fmla="*/ 248 w 377"/>
                  <a:gd name="T7" fmla="*/ 24 h 279"/>
                  <a:gd name="T8" fmla="*/ 274 w 377"/>
                  <a:gd name="T9" fmla="*/ 30 h 279"/>
                  <a:gd name="T10" fmla="*/ 289 w 377"/>
                  <a:gd name="T11" fmla="*/ 12 h 279"/>
                  <a:gd name="T12" fmla="*/ 309 w 377"/>
                  <a:gd name="T13" fmla="*/ 24 h 279"/>
                  <a:gd name="T14" fmla="*/ 318 w 377"/>
                  <a:gd name="T15" fmla="*/ 46 h 279"/>
                  <a:gd name="T16" fmla="*/ 336 w 377"/>
                  <a:gd name="T17" fmla="*/ 64 h 279"/>
                  <a:gd name="T18" fmla="*/ 325 w 377"/>
                  <a:gd name="T19" fmla="*/ 86 h 279"/>
                  <a:gd name="T20" fmla="*/ 342 w 377"/>
                  <a:gd name="T21" fmla="*/ 98 h 279"/>
                  <a:gd name="T22" fmla="*/ 359 w 377"/>
                  <a:gd name="T23" fmla="*/ 127 h 279"/>
                  <a:gd name="T24" fmla="*/ 353 w 377"/>
                  <a:gd name="T25" fmla="*/ 146 h 279"/>
                  <a:gd name="T26" fmla="*/ 367 w 377"/>
                  <a:gd name="T27" fmla="*/ 165 h 279"/>
                  <a:gd name="T28" fmla="*/ 362 w 377"/>
                  <a:gd name="T29" fmla="*/ 199 h 279"/>
                  <a:gd name="T30" fmla="*/ 365 w 377"/>
                  <a:gd name="T31" fmla="*/ 216 h 279"/>
                  <a:gd name="T32" fmla="*/ 348 w 377"/>
                  <a:gd name="T33" fmla="*/ 214 h 279"/>
                  <a:gd name="T34" fmla="*/ 359 w 377"/>
                  <a:gd name="T35" fmla="*/ 234 h 279"/>
                  <a:gd name="T36" fmla="*/ 340 w 377"/>
                  <a:gd name="T37" fmla="*/ 257 h 279"/>
                  <a:gd name="T38" fmla="*/ 323 w 377"/>
                  <a:gd name="T39" fmla="*/ 262 h 279"/>
                  <a:gd name="T40" fmla="*/ 304 w 377"/>
                  <a:gd name="T41" fmla="*/ 277 h 279"/>
                  <a:gd name="T42" fmla="*/ 284 w 377"/>
                  <a:gd name="T43" fmla="*/ 268 h 279"/>
                  <a:gd name="T44" fmla="*/ 284 w 377"/>
                  <a:gd name="T45" fmla="*/ 228 h 279"/>
                  <a:gd name="T46" fmla="*/ 274 w 377"/>
                  <a:gd name="T47" fmla="*/ 212 h 279"/>
                  <a:gd name="T48" fmla="*/ 255 w 377"/>
                  <a:gd name="T49" fmla="*/ 216 h 279"/>
                  <a:gd name="T50" fmla="*/ 228 w 377"/>
                  <a:gd name="T51" fmla="*/ 221 h 279"/>
                  <a:gd name="T52" fmla="*/ 231 w 377"/>
                  <a:gd name="T53" fmla="*/ 197 h 279"/>
                  <a:gd name="T54" fmla="*/ 221 w 377"/>
                  <a:gd name="T55" fmla="*/ 168 h 279"/>
                  <a:gd name="T56" fmla="*/ 207 w 377"/>
                  <a:gd name="T57" fmla="*/ 149 h 279"/>
                  <a:gd name="T58" fmla="*/ 131 w 377"/>
                  <a:gd name="T59" fmla="*/ 146 h 279"/>
                  <a:gd name="T60" fmla="*/ 122 w 377"/>
                  <a:gd name="T61" fmla="*/ 166 h 279"/>
                  <a:gd name="T62" fmla="*/ 102 w 377"/>
                  <a:gd name="T63" fmla="*/ 183 h 279"/>
                  <a:gd name="T64" fmla="*/ 90 w 377"/>
                  <a:gd name="T65" fmla="*/ 177 h 279"/>
                  <a:gd name="T66" fmla="*/ 90 w 377"/>
                  <a:gd name="T67" fmla="*/ 168 h 279"/>
                  <a:gd name="T68" fmla="*/ 81 w 377"/>
                  <a:gd name="T69" fmla="*/ 156 h 279"/>
                  <a:gd name="T70" fmla="*/ 76 w 377"/>
                  <a:gd name="T71" fmla="*/ 156 h 279"/>
                  <a:gd name="T72" fmla="*/ 80 w 377"/>
                  <a:gd name="T73" fmla="*/ 148 h 279"/>
                  <a:gd name="T74" fmla="*/ 70 w 377"/>
                  <a:gd name="T75" fmla="*/ 144 h 279"/>
                  <a:gd name="T76" fmla="*/ 56 w 377"/>
                  <a:gd name="T77" fmla="*/ 132 h 279"/>
                  <a:gd name="T78" fmla="*/ 42 w 377"/>
                  <a:gd name="T79" fmla="*/ 129 h 279"/>
                  <a:gd name="T80" fmla="*/ 39 w 377"/>
                  <a:gd name="T81" fmla="*/ 126 h 279"/>
                  <a:gd name="T82" fmla="*/ 22 w 377"/>
                  <a:gd name="T83" fmla="*/ 109 h 279"/>
                  <a:gd name="T84" fmla="*/ 24 w 377"/>
                  <a:gd name="T85" fmla="*/ 95 h 279"/>
                  <a:gd name="T86" fmla="*/ 17 w 377"/>
                  <a:gd name="T87" fmla="*/ 93 h 279"/>
                  <a:gd name="T88" fmla="*/ 12 w 377"/>
                  <a:gd name="T89" fmla="*/ 80 h 279"/>
                  <a:gd name="T90" fmla="*/ 47 w 377"/>
                  <a:gd name="T91" fmla="*/ 51 h 279"/>
                  <a:gd name="T92" fmla="*/ 64 w 377"/>
                  <a:gd name="T93" fmla="*/ 49 h 279"/>
                  <a:gd name="T94" fmla="*/ 63 w 377"/>
                  <a:gd name="T95" fmla="*/ 22 h 279"/>
                  <a:gd name="T96" fmla="*/ 71 w 377"/>
                  <a:gd name="T97" fmla="*/ 8 h 279"/>
                  <a:gd name="T98" fmla="*/ 107 w 377"/>
                  <a:gd name="T99" fmla="*/ 12 h 279"/>
                  <a:gd name="T100" fmla="*/ 144 w 377"/>
                  <a:gd name="T101" fmla="*/ 17 h 279"/>
                  <a:gd name="T102" fmla="*/ 7 w 377"/>
                  <a:gd name="T103" fmla="*/ 92 h 279"/>
                  <a:gd name="T104" fmla="*/ 24 w 377"/>
                  <a:gd name="T105" fmla="*/ 102 h 279"/>
                  <a:gd name="T106" fmla="*/ 51 w 377"/>
                  <a:gd name="T107" fmla="*/ 131 h 279"/>
                  <a:gd name="T108" fmla="*/ 70 w 377"/>
                  <a:gd name="T109" fmla="*/ 146 h 279"/>
                  <a:gd name="T110" fmla="*/ 10 w 377"/>
                  <a:gd name="T111" fmla="*/ 85 h 279"/>
                  <a:gd name="T112" fmla="*/ 51 w 377"/>
                  <a:gd name="T113" fmla="*/ 129 h 279"/>
                  <a:gd name="T114" fmla="*/ 66 w 377"/>
                  <a:gd name="T115" fmla="*/ 160 h 279"/>
                  <a:gd name="T116" fmla="*/ 53 w 377"/>
                  <a:gd name="T117" fmla="*/ 131 h 279"/>
                  <a:gd name="T118" fmla="*/ 71 w 377"/>
                  <a:gd name="T119" fmla="*/ 14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77" h="279">
                    <a:moveTo>
                      <a:pt x="189" y="13"/>
                    </a:moveTo>
                    <a:lnTo>
                      <a:pt x="189" y="15"/>
                    </a:lnTo>
                    <a:lnTo>
                      <a:pt x="187" y="15"/>
                    </a:lnTo>
                    <a:lnTo>
                      <a:pt x="185" y="15"/>
                    </a:lnTo>
                    <a:lnTo>
                      <a:pt x="185" y="17"/>
                    </a:lnTo>
                    <a:lnTo>
                      <a:pt x="183" y="17"/>
                    </a:lnTo>
                    <a:lnTo>
                      <a:pt x="185" y="17"/>
                    </a:lnTo>
                    <a:lnTo>
                      <a:pt x="185" y="20"/>
                    </a:lnTo>
                    <a:lnTo>
                      <a:pt x="183" y="20"/>
                    </a:lnTo>
                    <a:lnTo>
                      <a:pt x="183" y="22"/>
                    </a:lnTo>
                    <a:lnTo>
                      <a:pt x="182" y="24"/>
                    </a:lnTo>
                    <a:lnTo>
                      <a:pt x="182" y="25"/>
                    </a:lnTo>
                    <a:lnTo>
                      <a:pt x="183" y="27"/>
                    </a:lnTo>
                    <a:lnTo>
                      <a:pt x="189" y="29"/>
                    </a:lnTo>
                    <a:lnTo>
                      <a:pt x="189" y="32"/>
                    </a:lnTo>
                    <a:lnTo>
                      <a:pt x="192" y="34"/>
                    </a:lnTo>
                    <a:lnTo>
                      <a:pt x="194" y="35"/>
                    </a:lnTo>
                    <a:lnTo>
                      <a:pt x="195" y="35"/>
                    </a:lnTo>
                    <a:lnTo>
                      <a:pt x="195" y="34"/>
                    </a:lnTo>
                    <a:lnTo>
                      <a:pt x="197" y="34"/>
                    </a:lnTo>
                    <a:lnTo>
                      <a:pt x="200" y="32"/>
                    </a:lnTo>
                    <a:lnTo>
                      <a:pt x="200" y="29"/>
                    </a:lnTo>
                    <a:lnTo>
                      <a:pt x="200" y="30"/>
                    </a:lnTo>
                    <a:lnTo>
                      <a:pt x="202" y="29"/>
                    </a:lnTo>
                    <a:lnTo>
                      <a:pt x="204" y="27"/>
                    </a:lnTo>
                    <a:lnTo>
                      <a:pt x="204" y="25"/>
                    </a:lnTo>
                    <a:lnTo>
                      <a:pt x="204" y="24"/>
                    </a:lnTo>
                    <a:lnTo>
                      <a:pt x="207" y="24"/>
                    </a:lnTo>
                    <a:lnTo>
                      <a:pt x="211" y="24"/>
                    </a:lnTo>
                    <a:lnTo>
                      <a:pt x="212" y="24"/>
                    </a:lnTo>
                    <a:lnTo>
                      <a:pt x="214" y="27"/>
                    </a:lnTo>
                    <a:lnTo>
                      <a:pt x="217" y="29"/>
                    </a:lnTo>
                    <a:lnTo>
                      <a:pt x="217" y="30"/>
                    </a:lnTo>
                    <a:lnTo>
                      <a:pt x="217" y="32"/>
                    </a:lnTo>
                    <a:lnTo>
                      <a:pt x="219" y="35"/>
                    </a:lnTo>
                    <a:lnTo>
                      <a:pt x="219" y="37"/>
                    </a:lnTo>
                    <a:lnTo>
                      <a:pt x="223" y="41"/>
                    </a:lnTo>
                    <a:lnTo>
                      <a:pt x="226" y="39"/>
                    </a:lnTo>
                    <a:lnTo>
                      <a:pt x="226" y="35"/>
                    </a:lnTo>
                    <a:lnTo>
                      <a:pt x="229" y="35"/>
                    </a:lnTo>
                    <a:lnTo>
                      <a:pt x="228" y="34"/>
                    </a:lnTo>
                    <a:lnTo>
                      <a:pt x="231" y="32"/>
                    </a:lnTo>
                    <a:lnTo>
                      <a:pt x="231" y="30"/>
                    </a:lnTo>
                    <a:lnTo>
                      <a:pt x="231" y="29"/>
                    </a:lnTo>
                    <a:lnTo>
                      <a:pt x="234" y="29"/>
                    </a:lnTo>
                    <a:lnTo>
                      <a:pt x="236" y="27"/>
                    </a:lnTo>
                    <a:lnTo>
                      <a:pt x="236" y="25"/>
                    </a:lnTo>
                    <a:lnTo>
                      <a:pt x="238" y="25"/>
                    </a:lnTo>
                    <a:lnTo>
                      <a:pt x="240" y="25"/>
                    </a:lnTo>
                    <a:lnTo>
                      <a:pt x="241" y="25"/>
                    </a:lnTo>
                    <a:lnTo>
                      <a:pt x="240" y="24"/>
                    </a:lnTo>
                    <a:lnTo>
                      <a:pt x="241" y="24"/>
                    </a:lnTo>
                    <a:lnTo>
                      <a:pt x="243" y="25"/>
                    </a:lnTo>
                    <a:lnTo>
                      <a:pt x="243" y="24"/>
                    </a:lnTo>
                    <a:lnTo>
                      <a:pt x="245" y="24"/>
                    </a:lnTo>
                    <a:lnTo>
                      <a:pt x="248" y="24"/>
                    </a:lnTo>
                    <a:lnTo>
                      <a:pt x="250" y="25"/>
                    </a:lnTo>
                    <a:lnTo>
                      <a:pt x="251" y="25"/>
                    </a:lnTo>
                    <a:lnTo>
                      <a:pt x="253" y="25"/>
                    </a:lnTo>
                    <a:lnTo>
                      <a:pt x="253" y="27"/>
                    </a:lnTo>
                    <a:lnTo>
                      <a:pt x="255" y="27"/>
                    </a:lnTo>
                    <a:lnTo>
                      <a:pt x="257" y="29"/>
                    </a:lnTo>
                    <a:lnTo>
                      <a:pt x="258" y="29"/>
                    </a:lnTo>
                    <a:lnTo>
                      <a:pt x="262" y="29"/>
                    </a:lnTo>
                    <a:lnTo>
                      <a:pt x="263" y="32"/>
                    </a:lnTo>
                    <a:lnTo>
                      <a:pt x="267" y="30"/>
                    </a:lnTo>
                    <a:lnTo>
                      <a:pt x="268" y="32"/>
                    </a:lnTo>
                    <a:lnTo>
                      <a:pt x="272" y="34"/>
                    </a:lnTo>
                    <a:lnTo>
                      <a:pt x="274" y="32"/>
                    </a:lnTo>
                    <a:lnTo>
                      <a:pt x="274" y="30"/>
                    </a:lnTo>
                    <a:lnTo>
                      <a:pt x="274" y="29"/>
                    </a:lnTo>
                    <a:lnTo>
                      <a:pt x="275" y="25"/>
                    </a:lnTo>
                    <a:lnTo>
                      <a:pt x="279" y="25"/>
                    </a:lnTo>
                    <a:lnTo>
                      <a:pt x="280" y="25"/>
                    </a:lnTo>
                    <a:lnTo>
                      <a:pt x="284" y="22"/>
                    </a:lnTo>
                    <a:lnTo>
                      <a:pt x="287" y="22"/>
                    </a:lnTo>
                    <a:lnTo>
                      <a:pt x="291" y="22"/>
                    </a:lnTo>
                    <a:lnTo>
                      <a:pt x="292" y="20"/>
                    </a:lnTo>
                    <a:lnTo>
                      <a:pt x="292" y="18"/>
                    </a:lnTo>
                    <a:lnTo>
                      <a:pt x="292" y="17"/>
                    </a:lnTo>
                    <a:lnTo>
                      <a:pt x="291" y="15"/>
                    </a:lnTo>
                    <a:lnTo>
                      <a:pt x="291" y="13"/>
                    </a:lnTo>
                    <a:lnTo>
                      <a:pt x="289" y="13"/>
                    </a:lnTo>
                    <a:lnTo>
                      <a:pt x="289" y="12"/>
                    </a:lnTo>
                    <a:lnTo>
                      <a:pt x="287" y="12"/>
                    </a:lnTo>
                    <a:lnTo>
                      <a:pt x="289" y="10"/>
                    </a:lnTo>
                    <a:lnTo>
                      <a:pt x="291" y="10"/>
                    </a:lnTo>
                    <a:lnTo>
                      <a:pt x="292" y="8"/>
                    </a:lnTo>
                    <a:lnTo>
                      <a:pt x="294" y="10"/>
                    </a:lnTo>
                    <a:lnTo>
                      <a:pt x="296" y="8"/>
                    </a:lnTo>
                    <a:lnTo>
                      <a:pt x="301" y="10"/>
                    </a:lnTo>
                    <a:lnTo>
                      <a:pt x="304" y="12"/>
                    </a:lnTo>
                    <a:lnTo>
                      <a:pt x="308" y="13"/>
                    </a:lnTo>
                    <a:lnTo>
                      <a:pt x="308" y="15"/>
                    </a:lnTo>
                    <a:lnTo>
                      <a:pt x="311" y="17"/>
                    </a:lnTo>
                    <a:lnTo>
                      <a:pt x="311" y="18"/>
                    </a:lnTo>
                    <a:lnTo>
                      <a:pt x="309" y="22"/>
                    </a:lnTo>
                    <a:lnTo>
                      <a:pt x="309" y="24"/>
                    </a:lnTo>
                    <a:lnTo>
                      <a:pt x="309" y="25"/>
                    </a:lnTo>
                    <a:lnTo>
                      <a:pt x="313" y="24"/>
                    </a:lnTo>
                    <a:lnTo>
                      <a:pt x="314" y="27"/>
                    </a:lnTo>
                    <a:lnTo>
                      <a:pt x="313" y="29"/>
                    </a:lnTo>
                    <a:lnTo>
                      <a:pt x="313" y="30"/>
                    </a:lnTo>
                    <a:lnTo>
                      <a:pt x="313" y="32"/>
                    </a:lnTo>
                    <a:lnTo>
                      <a:pt x="314" y="32"/>
                    </a:lnTo>
                    <a:lnTo>
                      <a:pt x="314" y="34"/>
                    </a:lnTo>
                    <a:lnTo>
                      <a:pt x="316" y="32"/>
                    </a:lnTo>
                    <a:lnTo>
                      <a:pt x="318" y="34"/>
                    </a:lnTo>
                    <a:lnTo>
                      <a:pt x="318" y="35"/>
                    </a:lnTo>
                    <a:lnTo>
                      <a:pt x="319" y="41"/>
                    </a:lnTo>
                    <a:lnTo>
                      <a:pt x="316" y="44"/>
                    </a:lnTo>
                    <a:lnTo>
                      <a:pt x="318" y="46"/>
                    </a:lnTo>
                    <a:lnTo>
                      <a:pt x="316" y="52"/>
                    </a:lnTo>
                    <a:lnTo>
                      <a:pt x="319" y="54"/>
                    </a:lnTo>
                    <a:lnTo>
                      <a:pt x="319" y="52"/>
                    </a:lnTo>
                    <a:lnTo>
                      <a:pt x="321" y="54"/>
                    </a:lnTo>
                    <a:lnTo>
                      <a:pt x="323" y="52"/>
                    </a:lnTo>
                    <a:lnTo>
                      <a:pt x="326" y="58"/>
                    </a:lnTo>
                    <a:lnTo>
                      <a:pt x="326" y="59"/>
                    </a:lnTo>
                    <a:lnTo>
                      <a:pt x="328" y="61"/>
                    </a:lnTo>
                    <a:lnTo>
                      <a:pt x="330" y="61"/>
                    </a:lnTo>
                    <a:lnTo>
                      <a:pt x="331" y="61"/>
                    </a:lnTo>
                    <a:lnTo>
                      <a:pt x="333" y="64"/>
                    </a:lnTo>
                    <a:lnTo>
                      <a:pt x="335" y="64"/>
                    </a:lnTo>
                    <a:lnTo>
                      <a:pt x="335" y="63"/>
                    </a:lnTo>
                    <a:lnTo>
                      <a:pt x="336" y="64"/>
                    </a:lnTo>
                    <a:lnTo>
                      <a:pt x="340" y="66"/>
                    </a:lnTo>
                    <a:lnTo>
                      <a:pt x="338" y="66"/>
                    </a:lnTo>
                    <a:lnTo>
                      <a:pt x="338" y="68"/>
                    </a:lnTo>
                    <a:lnTo>
                      <a:pt x="342" y="68"/>
                    </a:lnTo>
                    <a:lnTo>
                      <a:pt x="340" y="71"/>
                    </a:lnTo>
                    <a:lnTo>
                      <a:pt x="338" y="71"/>
                    </a:lnTo>
                    <a:lnTo>
                      <a:pt x="335" y="71"/>
                    </a:lnTo>
                    <a:lnTo>
                      <a:pt x="335" y="73"/>
                    </a:lnTo>
                    <a:lnTo>
                      <a:pt x="331" y="75"/>
                    </a:lnTo>
                    <a:lnTo>
                      <a:pt x="330" y="78"/>
                    </a:lnTo>
                    <a:lnTo>
                      <a:pt x="328" y="78"/>
                    </a:lnTo>
                    <a:lnTo>
                      <a:pt x="328" y="80"/>
                    </a:lnTo>
                    <a:lnTo>
                      <a:pt x="325" y="85"/>
                    </a:lnTo>
                    <a:lnTo>
                      <a:pt x="325" y="86"/>
                    </a:lnTo>
                    <a:lnTo>
                      <a:pt x="325" y="88"/>
                    </a:lnTo>
                    <a:lnTo>
                      <a:pt x="328" y="86"/>
                    </a:lnTo>
                    <a:lnTo>
                      <a:pt x="328" y="88"/>
                    </a:lnTo>
                    <a:lnTo>
                      <a:pt x="333" y="86"/>
                    </a:lnTo>
                    <a:lnTo>
                      <a:pt x="335" y="81"/>
                    </a:lnTo>
                    <a:lnTo>
                      <a:pt x="338" y="81"/>
                    </a:lnTo>
                    <a:lnTo>
                      <a:pt x="340" y="81"/>
                    </a:lnTo>
                    <a:lnTo>
                      <a:pt x="342" y="81"/>
                    </a:lnTo>
                    <a:lnTo>
                      <a:pt x="343" y="85"/>
                    </a:lnTo>
                    <a:lnTo>
                      <a:pt x="345" y="92"/>
                    </a:lnTo>
                    <a:lnTo>
                      <a:pt x="345" y="93"/>
                    </a:lnTo>
                    <a:lnTo>
                      <a:pt x="343" y="93"/>
                    </a:lnTo>
                    <a:lnTo>
                      <a:pt x="342" y="97"/>
                    </a:lnTo>
                    <a:lnTo>
                      <a:pt x="342" y="98"/>
                    </a:lnTo>
                    <a:lnTo>
                      <a:pt x="343" y="97"/>
                    </a:lnTo>
                    <a:lnTo>
                      <a:pt x="343" y="100"/>
                    </a:lnTo>
                    <a:lnTo>
                      <a:pt x="345" y="105"/>
                    </a:lnTo>
                    <a:lnTo>
                      <a:pt x="345" y="107"/>
                    </a:lnTo>
                    <a:lnTo>
                      <a:pt x="345" y="109"/>
                    </a:lnTo>
                    <a:lnTo>
                      <a:pt x="347" y="114"/>
                    </a:lnTo>
                    <a:lnTo>
                      <a:pt x="350" y="115"/>
                    </a:lnTo>
                    <a:lnTo>
                      <a:pt x="353" y="114"/>
                    </a:lnTo>
                    <a:lnTo>
                      <a:pt x="353" y="117"/>
                    </a:lnTo>
                    <a:lnTo>
                      <a:pt x="359" y="117"/>
                    </a:lnTo>
                    <a:lnTo>
                      <a:pt x="362" y="119"/>
                    </a:lnTo>
                    <a:lnTo>
                      <a:pt x="362" y="124"/>
                    </a:lnTo>
                    <a:lnTo>
                      <a:pt x="360" y="127"/>
                    </a:lnTo>
                    <a:lnTo>
                      <a:pt x="359" y="127"/>
                    </a:lnTo>
                    <a:lnTo>
                      <a:pt x="359" y="131"/>
                    </a:lnTo>
                    <a:lnTo>
                      <a:pt x="352" y="134"/>
                    </a:lnTo>
                    <a:lnTo>
                      <a:pt x="352" y="137"/>
                    </a:lnTo>
                    <a:lnTo>
                      <a:pt x="353" y="137"/>
                    </a:lnTo>
                    <a:lnTo>
                      <a:pt x="350" y="139"/>
                    </a:lnTo>
                    <a:lnTo>
                      <a:pt x="352" y="139"/>
                    </a:lnTo>
                    <a:lnTo>
                      <a:pt x="350" y="139"/>
                    </a:lnTo>
                    <a:lnTo>
                      <a:pt x="352" y="141"/>
                    </a:lnTo>
                    <a:lnTo>
                      <a:pt x="352" y="139"/>
                    </a:lnTo>
                    <a:lnTo>
                      <a:pt x="353" y="141"/>
                    </a:lnTo>
                    <a:lnTo>
                      <a:pt x="352" y="143"/>
                    </a:lnTo>
                    <a:lnTo>
                      <a:pt x="353" y="143"/>
                    </a:lnTo>
                    <a:lnTo>
                      <a:pt x="353" y="144"/>
                    </a:lnTo>
                    <a:lnTo>
                      <a:pt x="353" y="146"/>
                    </a:lnTo>
                    <a:lnTo>
                      <a:pt x="353" y="148"/>
                    </a:lnTo>
                    <a:lnTo>
                      <a:pt x="352" y="148"/>
                    </a:lnTo>
                    <a:lnTo>
                      <a:pt x="353" y="151"/>
                    </a:lnTo>
                    <a:lnTo>
                      <a:pt x="352" y="151"/>
                    </a:lnTo>
                    <a:lnTo>
                      <a:pt x="353" y="153"/>
                    </a:lnTo>
                    <a:lnTo>
                      <a:pt x="352" y="154"/>
                    </a:lnTo>
                    <a:lnTo>
                      <a:pt x="352" y="156"/>
                    </a:lnTo>
                    <a:lnTo>
                      <a:pt x="352" y="158"/>
                    </a:lnTo>
                    <a:lnTo>
                      <a:pt x="353" y="163"/>
                    </a:lnTo>
                    <a:lnTo>
                      <a:pt x="357" y="166"/>
                    </a:lnTo>
                    <a:lnTo>
                      <a:pt x="360" y="166"/>
                    </a:lnTo>
                    <a:lnTo>
                      <a:pt x="364" y="165"/>
                    </a:lnTo>
                    <a:lnTo>
                      <a:pt x="365" y="165"/>
                    </a:lnTo>
                    <a:lnTo>
                      <a:pt x="367" y="165"/>
                    </a:lnTo>
                    <a:lnTo>
                      <a:pt x="365" y="170"/>
                    </a:lnTo>
                    <a:lnTo>
                      <a:pt x="365" y="172"/>
                    </a:lnTo>
                    <a:lnTo>
                      <a:pt x="362" y="177"/>
                    </a:lnTo>
                    <a:lnTo>
                      <a:pt x="365" y="178"/>
                    </a:lnTo>
                    <a:lnTo>
                      <a:pt x="367" y="177"/>
                    </a:lnTo>
                    <a:lnTo>
                      <a:pt x="370" y="182"/>
                    </a:lnTo>
                    <a:lnTo>
                      <a:pt x="372" y="183"/>
                    </a:lnTo>
                    <a:lnTo>
                      <a:pt x="367" y="182"/>
                    </a:lnTo>
                    <a:lnTo>
                      <a:pt x="365" y="183"/>
                    </a:lnTo>
                    <a:lnTo>
                      <a:pt x="364" y="185"/>
                    </a:lnTo>
                    <a:lnTo>
                      <a:pt x="362" y="185"/>
                    </a:lnTo>
                    <a:lnTo>
                      <a:pt x="364" y="189"/>
                    </a:lnTo>
                    <a:lnTo>
                      <a:pt x="360" y="195"/>
                    </a:lnTo>
                    <a:lnTo>
                      <a:pt x="362" y="199"/>
                    </a:lnTo>
                    <a:lnTo>
                      <a:pt x="365" y="197"/>
                    </a:lnTo>
                    <a:lnTo>
                      <a:pt x="365" y="199"/>
                    </a:lnTo>
                    <a:lnTo>
                      <a:pt x="370" y="199"/>
                    </a:lnTo>
                    <a:lnTo>
                      <a:pt x="374" y="206"/>
                    </a:lnTo>
                    <a:lnTo>
                      <a:pt x="374" y="209"/>
                    </a:lnTo>
                    <a:lnTo>
                      <a:pt x="376" y="212"/>
                    </a:lnTo>
                    <a:lnTo>
                      <a:pt x="376" y="214"/>
                    </a:lnTo>
                    <a:lnTo>
                      <a:pt x="377" y="217"/>
                    </a:lnTo>
                    <a:lnTo>
                      <a:pt x="372" y="217"/>
                    </a:lnTo>
                    <a:lnTo>
                      <a:pt x="369" y="212"/>
                    </a:lnTo>
                    <a:lnTo>
                      <a:pt x="367" y="212"/>
                    </a:lnTo>
                    <a:lnTo>
                      <a:pt x="367" y="214"/>
                    </a:lnTo>
                    <a:lnTo>
                      <a:pt x="367" y="216"/>
                    </a:lnTo>
                    <a:lnTo>
                      <a:pt x="365" y="216"/>
                    </a:lnTo>
                    <a:lnTo>
                      <a:pt x="365" y="214"/>
                    </a:lnTo>
                    <a:lnTo>
                      <a:pt x="364" y="214"/>
                    </a:lnTo>
                    <a:lnTo>
                      <a:pt x="362" y="214"/>
                    </a:lnTo>
                    <a:lnTo>
                      <a:pt x="364" y="214"/>
                    </a:lnTo>
                    <a:lnTo>
                      <a:pt x="362" y="212"/>
                    </a:lnTo>
                    <a:lnTo>
                      <a:pt x="364" y="212"/>
                    </a:lnTo>
                    <a:lnTo>
                      <a:pt x="362" y="211"/>
                    </a:lnTo>
                    <a:lnTo>
                      <a:pt x="360" y="212"/>
                    </a:lnTo>
                    <a:lnTo>
                      <a:pt x="359" y="212"/>
                    </a:lnTo>
                    <a:lnTo>
                      <a:pt x="353" y="211"/>
                    </a:lnTo>
                    <a:lnTo>
                      <a:pt x="353" y="212"/>
                    </a:lnTo>
                    <a:lnTo>
                      <a:pt x="352" y="212"/>
                    </a:lnTo>
                    <a:lnTo>
                      <a:pt x="348" y="211"/>
                    </a:lnTo>
                    <a:lnTo>
                      <a:pt x="348" y="214"/>
                    </a:lnTo>
                    <a:lnTo>
                      <a:pt x="347" y="214"/>
                    </a:lnTo>
                    <a:lnTo>
                      <a:pt x="347" y="223"/>
                    </a:lnTo>
                    <a:lnTo>
                      <a:pt x="347" y="226"/>
                    </a:lnTo>
                    <a:lnTo>
                      <a:pt x="348" y="226"/>
                    </a:lnTo>
                    <a:lnTo>
                      <a:pt x="350" y="228"/>
                    </a:lnTo>
                    <a:lnTo>
                      <a:pt x="352" y="228"/>
                    </a:lnTo>
                    <a:lnTo>
                      <a:pt x="355" y="229"/>
                    </a:lnTo>
                    <a:lnTo>
                      <a:pt x="357" y="228"/>
                    </a:lnTo>
                    <a:lnTo>
                      <a:pt x="359" y="228"/>
                    </a:lnTo>
                    <a:lnTo>
                      <a:pt x="359" y="231"/>
                    </a:lnTo>
                    <a:lnTo>
                      <a:pt x="362" y="234"/>
                    </a:lnTo>
                    <a:lnTo>
                      <a:pt x="362" y="236"/>
                    </a:lnTo>
                    <a:lnTo>
                      <a:pt x="360" y="236"/>
                    </a:lnTo>
                    <a:lnTo>
                      <a:pt x="359" y="234"/>
                    </a:lnTo>
                    <a:lnTo>
                      <a:pt x="359" y="236"/>
                    </a:lnTo>
                    <a:lnTo>
                      <a:pt x="357" y="234"/>
                    </a:lnTo>
                    <a:lnTo>
                      <a:pt x="355" y="240"/>
                    </a:lnTo>
                    <a:lnTo>
                      <a:pt x="353" y="245"/>
                    </a:lnTo>
                    <a:lnTo>
                      <a:pt x="355" y="246"/>
                    </a:lnTo>
                    <a:lnTo>
                      <a:pt x="355" y="248"/>
                    </a:lnTo>
                    <a:lnTo>
                      <a:pt x="353" y="251"/>
                    </a:lnTo>
                    <a:lnTo>
                      <a:pt x="352" y="253"/>
                    </a:lnTo>
                    <a:lnTo>
                      <a:pt x="350" y="258"/>
                    </a:lnTo>
                    <a:lnTo>
                      <a:pt x="348" y="260"/>
                    </a:lnTo>
                    <a:lnTo>
                      <a:pt x="345" y="258"/>
                    </a:lnTo>
                    <a:lnTo>
                      <a:pt x="343" y="257"/>
                    </a:lnTo>
                    <a:lnTo>
                      <a:pt x="340" y="258"/>
                    </a:lnTo>
                    <a:lnTo>
                      <a:pt x="340" y="257"/>
                    </a:lnTo>
                    <a:lnTo>
                      <a:pt x="338" y="257"/>
                    </a:lnTo>
                    <a:lnTo>
                      <a:pt x="335" y="260"/>
                    </a:lnTo>
                    <a:lnTo>
                      <a:pt x="335" y="262"/>
                    </a:lnTo>
                    <a:lnTo>
                      <a:pt x="338" y="262"/>
                    </a:lnTo>
                    <a:lnTo>
                      <a:pt x="338" y="263"/>
                    </a:lnTo>
                    <a:lnTo>
                      <a:pt x="333" y="262"/>
                    </a:lnTo>
                    <a:lnTo>
                      <a:pt x="333" y="258"/>
                    </a:lnTo>
                    <a:lnTo>
                      <a:pt x="331" y="257"/>
                    </a:lnTo>
                    <a:lnTo>
                      <a:pt x="331" y="251"/>
                    </a:lnTo>
                    <a:lnTo>
                      <a:pt x="325" y="253"/>
                    </a:lnTo>
                    <a:lnTo>
                      <a:pt x="323" y="255"/>
                    </a:lnTo>
                    <a:lnTo>
                      <a:pt x="323" y="257"/>
                    </a:lnTo>
                    <a:lnTo>
                      <a:pt x="323" y="260"/>
                    </a:lnTo>
                    <a:lnTo>
                      <a:pt x="323" y="262"/>
                    </a:lnTo>
                    <a:lnTo>
                      <a:pt x="319" y="265"/>
                    </a:lnTo>
                    <a:lnTo>
                      <a:pt x="319" y="267"/>
                    </a:lnTo>
                    <a:lnTo>
                      <a:pt x="318" y="267"/>
                    </a:lnTo>
                    <a:lnTo>
                      <a:pt x="316" y="270"/>
                    </a:lnTo>
                    <a:lnTo>
                      <a:pt x="316" y="272"/>
                    </a:lnTo>
                    <a:lnTo>
                      <a:pt x="316" y="274"/>
                    </a:lnTo>
                    <a:lnTo>
                      <a:pt x="316" y="275"/>
                    </a:lnTo>
                    <a:lnTo>
                      <a:pt x="313" y="275"/>
                    </a:lnTo>
                    <a:lnTo>
                      <a:pt x="313" y="274"/>
                    </a:lnTo>
                    <a:lnTo>
                      <a:pt x="311" y="274"/>
                    </a:lnTo>
                    <a:lnTo>
                      <a:pt x="309" y="274"/>
                    </a:lnTo>
                    <a:lnTo>
                      <a:pt x="309" y="275"/>
                    </a:lnTo>
                    <a:lnTo>
                      <a:pt x="308" y="275"/>
                    </a:lnTo>
                    <a:lnTo>
                      <a:pt x="304" y="277"/>
                    </a:lnTo>
                    <a:lnTo>
                      <a:pt x="302" y="277"/>
                    </a:lnTo>
                    <a:lnTo>
                      <a:pt x="302" y="279"/>
                    </a:lnTo>
                    <a:lnTo>
                      <a:pt x="302" y="275"/>
                    </a:lnTo>
                    <a:lnTo>
                      <a:pt x="302" y="274"/>
                    </a:lnTo>
                    <a:lnTo>
                      <a:pt x="299" y="274"/>
                    </a:lnTo>
                    <a:lnTo>
                      <a:pt x="297" y="272"/>
                    </a:lnTo>
                    <a:lnTo>
                      <a:pt x="297" y="268"/>
                    </a:lnTo>
                    <a:lnTo>
                      <a:pt x="296" y="268"/>
                    </a:lnTo>
                    <a:lnTo>
                      <a:pt x="294" y="268"/>
                    </a:lnTo>
                    <a:lnTo>
                      <a:pt x="294" y="267"/>
                    </a:lnTo>
                    <a:lnTo>
                      <a:pt x="291" y="265"/>
                    </a:lnTo>
                    <a:lnTo>
                      <a:pt x="287" y="268"/>
                    </a:lnTo>
                    <a:lnTo>
                      <a:pt x="287" y="267"/>
                    </a:lnTo>
                    <a:lnTo>
                      <a:pt x="284" y="268"/>
                    </a:lnTo>
                    <a:lnTo>
                      <a:pt x="284" y="267"/>
                    </a:lnTo>
                    <a:lnTo>
                      <a:pt x="287" y="263"/>
                    </a:lnTo>
                    <a:lnTo>
                      <a:pt x="291" y="257"/>
                    </a:lnTo>
                    <a:lnTo>
                      <a:pt x="289" y="255"/>
                    </a:lnTo>
                    <a:lnTo>
                      <a:pt x="291" y="250"/>
                    </a:lnTo>
                    <a:lnTo>
                      <a:pt x="285" y="243"/>
                    </a:lnTo>
                    <a:lnTo>
                      <a:pt x="285" y="240"/>
                    </a:lnTo>
                    <a:lnTo>
                      <a:pt x="287" y="238"/>
                    </a:lnTo>
                    <a:lnTo>
                      <a:pt x="287" y="236"/>
                    </a:lnTo>
                    <a:lnTo>
                      <a:pt x="287" y="234"/>
                    </a:lnTo>
                    <a:lnTo>
                      <a:pt x="285" y="234"/>
                    </a:lnTo>
                    <a:lnTo>
                      <a:pt x="285" y="233"/>
                    </a:lnTo>
                    <a:lnTo>
                      <a:pt x="285" y="231"/>
                    </a:lnTo>
                    <a:lnTo>
                      <a:pt x="284" y="228"/>
                    </a:lnTo>
                    <a:lnTo>
                      <a:pt x="282" y="228"/>
                    </a:lnTo>
                    <a:lnTo>
                      <a:pt x="282" y="224"/>
                    </a:lnTo>
                    <a:lnTo>
                      <a:pt x="284" y="224"/>
                    </a:lnTo>
                    <a:lnTo>
                      <a:pt x="282" y="221"/>
                    </a:lnTo>
                    <a:lnTo>
                      <a:pt x="284" y="219"/>
                    </a:lnTo>
                    <a:lnTo>
                      <a:pt x="282" y="217"/>
                    </a:lnTo>
                    <a:lnTo>
                      <a:pt x="280" y="217"/>
                    </a:lnTo>
                    <a:lnTo>
                      <a:pt x="279" y="216"/>
                    </a:lnTo>
                    <a:lnTo>
                      <a:pt x="277" y="217"/>
                    </a:lnTo>
                    <a:lnTo>
                      <a:pt x="275" y="217"/>
                    </a:lnTo>
                    <a:lnTo>
                      <a:pt x="275" y="216"/>
                    </a:lnTo>
                    <a:lnTo>
                      <a:pt x="277" y="214"/>
                    </a:lnTo>
                    <a:lnTo>
                      <a:pt x="275" y="214"/>
                    </a:lnTo>
                    <a:lnTo>
                      <a:pt x="274" y="212"/>
                    </a:lnTo>
                    <a:lnTo>
                      <a:pt x="272" y="212"/>
                    </a:lnTo>
                    <a:lnTo>
                      <a:pt x="272" y="214"/>
                    </a:lnTo>
                    <a:lnTo>
                      <a:pt x="272" y="216"/>
                    </a:lnTo>
                    <a:lnTo>
                      <a:pt x="272" y="214"/>
                    </a:lnTo>
                    <a:lnTo>
                      <a:pt x="270" y="212"/>
                    </a:lnTo>
                    <a:lnTo>
                      <a:pt x="270" y="209"/>
                    </a:lnTo>
                    <a:lnTo>
                      <a:pt x="268" y="209"/>
                    </a:lnTo>
                    <a:lnTo>
                      <a:pt x="267" y="211"/>
                    </a:lnTo>
                    <a:lnTo>
                      <a:pt x="268" y="211"/>
                    </a:lnTo>
                    <a:lnTo>
                      <a:pt x="267" y="212"/>
                    </a:lnTo>
                    <a:lnTo>
                      <a:pt x="265" y="212"/>
                    </a:lnTo>
                    <a:lnTo>
                      <a:pt x="262" y="212"/>
                    </a:lnTo>
                    <a:lnTo>
                      <a:pt x="258" y="214"/>
                    </a:lnTo>
                    <a:lnTo>
                      <a:pt x="255" y="216"/>
                    </a:lnTo>
                    <a:lnTo>
                      <a:pt x="255" y="214"/>
                    </a:lnTo>
                    <a:lnTo>
                      <a:pt x="255" y="212"/>
                    </a:lnTo>
                    <a:lnTo>
                      <a:pt x="253" y="211"/>
                    </a:lnTo>
                    <a:lnTo>
                      <a:pt x="251" y="211"/>
                    </a:lnTo>
                    <a:lnTo>
                      <a:pt x="250" y="211"/>
                    </a:lnTo>
                    <a:lnTo>
                      <a:pt x="246" y="212"/>
                    </a:lnTo>
                    <a:lnTo>
                      <a:pt x="243" y="212"/>
                    </a:lnTo>
                    <a:lnTo>
                      <a:pt x="241" y="212"/>
                    </a:lnTo>
                    <a:lnTo>
                      <a:pt x="240" y="212"/>
                    </a:lnTo>
                    <a:lnTo>
                      <a:pt x="238" y="212"/>
                    </a:lnTo>
                    <a:lnTo>
                      <a:pt x="238" y="214"/>
                    </a:lnTo>
                    <a:lnTo>
                      <a:pt x="231" y="221"/>
                    </a:lnTo>
                    <a:lnTo>
                      <a:pt x="229" y="221"/>
                    </a:lnTo>
                    <a:lnTo>
                      <a:pt x="228" y="221"/>
                    </a:lnTo>
                    <a:lnTo>
                      <a:pt x="224" y="219"/>
                    </a:lnTo>
                    <a:lnTo>
                      <a:pt x="223" y="223"/>
                    </a:lnTo>
                    <a:lnTo>
                      <a:pt x="223" y="217"/>
                    </a:lnTo>
                    <a:lnTo>
                      <a:pt x="226" y="217"/>
                    </a:lnTo>
                    <a:lnTo>
                      <a:pt x="224" y="216"/>
                    </a:lnTo>
                    <a:lnTo>
                      <a:pt x="226" y="212"/>
                    </a:lnTo>
                    <a:lnTo>
                      <a:pt x="226" y="209"/>
                    </a:lnTo>
                    <a:lnTo>
                      <a:pt x="228" y="209"/>
                    </a:lnTo>
                    <a:lnTo>
                      <a:pt x="228" y="207"/>
                    </a:lnTo>
                    <a:lnTo>
                      <a:pt x="233" y="206"/>
                    </a:lnTo>
                    <a:lnTo>
                      <a:pt x="234" y="202"/>
                    </a:lnTo>
                    <a:lnTo>
                      <a:pt x="233" y="200"/>
                    </a:lnTo>
                    <a:lnTo>
                      <a:pt x="231" y="200"/>
                    </a:lnTo>
                    <a:lnTo>
                      <a:pt x="231" y="197"/>
                    </a:lnTo>
                    <a:lnTo>
                      <a:pt x="229" y="197"/>
                    </a:lnTo>
                    <a:lnTo>
                      <a:pt x="229" y="194"/>
                    </a:lnTo>
                    <a:lnTo>
                      <a:pt x="228" y="189"/>
                    </a:lnTo>
                    <a:lnTo>
                      <a:pt x="228" y="183"/>
                    </a:lnTo>
                    <a:lnTo>
                      <a:pt x="224" y="182"/>
                    </a:lnTo>
                    <a:lnTo>
                      <a:pt x="221" y="182"/>
                    </a:lnTo>
                    <a:lnTo>
                      <a:pt x="221" y="178"/>
                    </a:lnTo>
                    <a:lnTo>
                      <a:pt x="221" y="177"/>
                    </a:lnTo>
                    <a:lnTo>
                      <a:pt x="223" y="177"/>
                    </a:lnTo>
                    <a:lnTo>
                      <a:pt x="224" y="175"/>
                    </a:lnTo>
                    <a:lnTo>
                      <a:pt x="223" y="173"/>
                    </a:lnTo>
                    <a:lnTo>
                      <a:pt x="224" y="172"/>
                    </a:lnTo>
                    <a:lnTo>
                      <a:pt x="223" y="168"/>
                    </a:lnTo>
                    <a:lnTo>
                      <a:pt x="221" y="168"/>
                    </a:lnTo>
                    <a:lnTo>
                      <a:pt x="219" y="166"/>
                    </a:lnTo>
                    <a:lnTo>
                      <a:pt x="216" y="166"/>
                    </a:lnTo>
                    <a:lnTo>
                      <a:pt x="217" y="165"/>
                    </a:lnTo>
                    <a:lnTo>
                      <a:pt x="214" y="163"/>
                    </a:lnTo>
                    <a:lnTo>
                      <a:pt x="214" y="161"/>
                    </a:lnTo>
                    <a:lnTo>
                      <a:pt x="216" y="160"/>
                    </a:lnTo>
                    <a:lnTo>
                      <a:pt x="214" y="160"/>
                    </a:lnTo>
                    <a:lnTo>
                      <a:pt x="214" y="158"/>
                    </a:lnTo>
                    <a:lnTo>
                      <a:pt x="211" y="156"/>
                    </a:lnTo>
                    <a:lnTo>
                      <a:pt x="211" y="153"/>
                    </a:lnTo>
                    <a:lnTo>
                      <a:pt x="211" y="154"/>
                    </a:lnTo>
                    <a:lnTo>
                      <a:pt x="211" y="153"/>
                    </a:lnTo>
                    <a:lnTo>
                      <a:pt x="209" y="153"/>
                    </a:lnTo>
                    <a:lnTo>
                      <a:pt x="207" y="149"/>
                    </a:lnTo>
                    <a:lnTo>
                      <a:pt x="204" y="144"/>
                    </a:lnTo>
                    <a:lnTo>
                      <a:pt x="199" y="143"/>
                    </a:lnTo>
                    <a:lnTo>
                      <a:pt x="199" y="139"/>
                    </a:lnTo>
                    <a:lnTo>
                      <a:pt x="197" y="137"/>
                    </a:lnTo>
                    <a:lnTo>
                      <a:pt x="197" y="136"/>
                    </a:lnTo>
                    <a:lnTo>
                      <a:pt x="178" y="136"/>
                    </a:lnTo>
                    <a:lnTo>
                      <a:pt x="161" y="136"/>
                    </a:lnTo>
                    <a:lnTo>
                      <a:pt x="161" y="139"/>
                    </a:lnTo>
                    <a:lnTo>
                      <a:pt x="149" y="143"/>
                    </a:lnTo>
                    <a:lnTo>
                      <a:pt x="146" y="141"/>
                    </a:lnTo>
                    <a:lnTo>
                      <a:pt x="144" y="139"/>
                    </a:lnTo>
                    <a:lnTo>
                      <a:pt x="132" y="143"/>
                    </a:lnTo>
                    <a:lnTo>
                      <a:pt x="131" y="143"/>
                    </a:lnTo>
                    <a:lnTo>
                      <a:pt x="131" y="146"/>
                    </a:lnTo>
                    <a:lnTo>
                      <a:pt x="131" y="148"/>
                    </a:lnTo>
                    <a:lnTo>
                      <a:pt x="131" y="149"/>
                    </a:lnTo>
                    <a:lnTo>
                      <a:pt x="129" y="149"/>
                    </a:lnTo>
                    <a:lnTo>
                      <a:pt x="129" y="151"/>
                    </a:lnTo>
                    <a:lnTo>
                      <a:pt x="129" y="149"/>
                    </a:lnTo>
                    <a:lnTo>
                      <a:pt x="127" y="151"/>
                    </a:lnTo>
                    <a:lnTo>
                      <a:pt x="127" y="153"/>
                    </a:lnTo>
                    <a:lnTo>
                      <a:pt x="126" y="153"/>
                    </a:lnTo>
                    <a:lnTo>
                      <a:pt x="126" y="156"/>
                    </a:lnTo>
                    <a:lnTo>
                      <a:pt x="124" y="158"/>
                    </a:lnTo>
                    <a:lnTo>
                      <a:pt x="122" y="160"/>
                    </a:lnTo>
                    <a:lnTo>
                      <a:pt x="124" y="160"/>
                    </a:lnTo>
                    <a:lnTo>
                      <a:pt x="122" y="163"/>
                    </a:lnTo>
                    <a:lnTo>
                      <a:pt x="122" y="166"/>
                    </a:lnTo>
                    <a:lnTo>
                      <a:pt x="121" y="165"/>
                    </a:lnTo>
                    <a:lnTo>
                      <a:pt x="121" y="166"/>
                    </a:lnTo>
                    <a:lnTo>
                      <a:pt x="117" y="166"/>
                    </a:lnTo>
                    <a:lnTo>
                      <a:pt x="119" y="170"/>
                    </a:lnTo>
                    <a:lnTo>
                      <a:pt x="117" y="170"/>
                    </a:lnTo>
                    <a:lnTo>
                      <a:pt x="117" y="172"/>
                    </a:lnTo>
                    <a:lnTo>
                      <a:pt x="114" y="172"/>
                    </a:lnTo>
                    <a:lnTo>
                      <a:pt x="112" y="172"/>
                    </a:lnTo>
                    <a:lnTo>
                      <a:pt x="112" y="173"/>
                    </a:lnTo>
                    <a:lnTo>
                      <a:pt x="110" y="173"/>
                    </a:lnTo>
                    <a:lnTo>
                      <a:pt x="109" y="172"/>
                    </a:lnTo>
                    <a:lnTo>
                      <a:pt x="107" y="175"/>
                    </a:lnTo>
                    <a:lnTo>
                      <a:pt x="109" y="178"/>
                    </a:lnTo>
                    <a:lnTo>
                      <a:pt x="102" y="183"/>
                    </a:lnTo>
                    <a:lnTo>
                      <a:pt x="98" y="183"/>
                    </a:lnTo>
                    <a:lnTo>
                      <a:pt x="95" y="182"/>
                    </a:lnTo>
                    <a:lnTo>
                      <a:pt x="90" y="183"/>
                    </a:lnTo>
                    <a:lnTo>
                      <a:pt x="92" y="180"/>
                    </a:lnTo>
                    <a:lnTo>
                      <a:pt x="95" y="178"/>
                    </a:lnTo>
                    <a:lnTo>
                      <a:pt x="97" y="178"/>
                    </a:lnTo>
                    <a:lnTo>
                      <a:pt x="95" y="177"/>
                    </a:lnTo>
                    <a:lnTo>
                      <a:pt x="93" y="178"/>
                    </a:lnTo>
                    <a:lnTo>
                      <a:pt x="92" y="177"/>
                    </a:lnTo>
                    <a:lnTo>
                      <a:pt x="93" y="175"/>
                    </a:lnTo>
                    <a:lnTo>
                      <a:pt x="92" y="177"/>
                    </a:lnTo>
                    <a:lnTo>
                      <a:pt x="92" y="178"/>
                    </a:lnTo>
                    <a:lnTo>
                      <a:pt x="90" y="178"/>
                    </a:lnTo>
                    <a:lnTo>
                      <a:pt x="90" y="177"/>
                    </a:lnTo>
                    <a:lnTo>
                      <a:pt x="90" y="178"/>
                    </a:lnTo>
                    <a:lnTo>
                      <a:pt x="92" y="177"/>
                    </a:lnTo>
                    <a:lnTo>
                      <a:pt x="90" y="178"/>
                    </a:lnTo>
                    <a:lnTo>
                      <a:pt x="90" y="177"/>
                    </a:lnTo>
                    <a:lnTo>
                      <a:pt x="88" y="170"/>
                    </a:lnTo>
                    <a:lnTo>
                      <a:pt x="90" y="170"/>
                    </a:lnTo>
                    <a:lnTo>
                      <a:pt x="90" y="172"/>
                    </a:lnTo>
                    <a:lnTo>
                      <a:pt x="92" y="172"/>
                    </a:lnTo>
                    <a:lnTo>
                      <a:pt x="93" y="170"/>
                    </a:lnTo>
                    <a:lnTo>
                      <a:pt x="92" y="172"/>
                    </a:lnTo>
                    <a:lnTo>
                      <a:pt x="90" y="170"/>
                    </a:lnTo>
                    <a:lnTo>
                      <a:pt x="92" y="168"/>
                    </a:lnTo>
                    <a:lnTo>
                      <a:pt x="90" y="170"/>
                    </a:lnTo>
                    <a:lnTo>
                      <a:pt x="90" y="168"/>
                    </a:lnTo>
                    <a:lnTo>
                      <a:pt x="90" y="170"/>
                    </a:lnTo>
                    <a:lnTo>
                      <a:pt x="88" y="170"/>
                    </a:lnTo>
                    <a:lnTo>
                      <a:pt x="88" y="172"/>
                    </a:lnTo>
                    <a:lnTo>
                      <a:pt x="85" y="173"/>
                    </a:lnTo>
                    <a:lnTo>
                      <a:pt x="85" y="166"/>
                    </a:lnTo>
                    <a:lnTo>
                      <a:pt x="87" y="166"/>
                    </a:lnTo>
                    <a:lnTo>
                      <a:pt x="87" y="165"/>
                    </a:lnTo>
                    <a:lnTo>
                      <a:pt x="85" y="166"/>
                    </a:lnTo>
                    <a:lnTo>
                      <a:pt x="83" y="166"/>
                    </a:lnTo>
                    <a:lnTo>
                      <a:pt x="81" y="166"/>
                    </a:lnTo>
                    <a:lnTo>
                      <a:pt x="80" y="165"/>
                    </a:lnTo>
                    <a:lnTo>
                      <a:pt x="80" y="163"/>
                    </a:lnTo>
                    <a:lnTo>
                      <a:pt x="81" y="158"/>
                    </a:lnTo>
                    <a:lnTo>
                      <a:pt x="81" y="156"/>
                    </a:lnTo>
                    <a:lnTo>
                      <a:pt x="81" y="158"/>
                    </a:lnTo>
                    <a:lnTo>
                      <a:pt x="80" y="158"/>
                    </a:lnTo>
                    <a:lnTo>
                      <a:pt x="80" y="156"/>
                    </a:lnTo>
                    <a:lnTo>
                      <a:pt x="80" y="154"/>
                    </a:lnTo>
                    <a:lnTo>
                      <a:pt x="80" y="156"/>
                    </a:lnTo>
                    <a:lnTo>
                      <a:pt x="80" y="158"/>
                    </a:lnTo>
                    <a:lnTo>
                      <a:pt x="81" y="158"/>
                    </a:lnTo>
                    <a:lnTo>
                      <a:pt x="80" y="161"/>
                    </a:lnTo>
                    <a:lnTo>
                      <a:pt x="78" y="161"/>
                    </a:lnTo>
                    <a:lnTo>
                      <a:pt x="76" y="158"/>
                    </a:lnTo>
                    <a:lnTo>
                      <a:pt x="78" y="158"/>
                    </a:lnTo>
                    <a:lnTo>
                      <a:pt x="76" y="158"/>
                    </a:lnTo>
                    <a:lnTo>
                      <a:pt x="78" y="156"/>
                    </a:lnTo>
                    <a:lnTo>
                      <a:pt x="76" y="156"/>
                    </a:lnTo>
                    <a:lnTo>
                      <a:pt x="75" y="158"/>
                    </a:lnTo>
                    <a:lnTo>
                      <a:pt x="73" y="158"/>
                    </a:lnTo>
                    <a:lnTo>
                      <a:pt x="70" y="161"/>
                    </a:lnTo>
                    <a:lnTo>
                      <a:pt x="70" y="160"/>
                    </a:lnTo>
                    <a:lnTo>
                      <a:pt x="71" y="158"/>
                    </a:lnTo>
                    <a:lnTo>
                      <a:pt x="73" y="156"/>
                    </a:lnTo>
                    <a:lnTo>
                      <a:pt x="75" y="154"/>
                    </a:lnTo>
                    <a:lnTo>
                      <a:pt x="75" y="149"/>
                    </a:lnTo>
                    <a:lnTo>
                      <a:pt x="76" y="149"/>
                    </a:lnTo>
                    <a:lnTo>
                      <a:pt x="75" y="149"/>
                    </a:lnTo>
                    <a:lnTo>
                      <a:pt x="76" y="148"/>
                    </a:lnTo>
                    <a:lnTo>
                      <a:pt x="76" y="149"/>
                    </a:lnTo>
                    <a:lnTo>
                      <a:pt x="78" y="149"/>
                    </a:lnTo>
                    <a:lnTo>
                      <a:pt x="80" y="148"/>
                    </a:lnTo>
                    <a:lnTo>
                      <a:pt x="78" y="149"/>
                    </a:lnTo>
                    <a:lnTo>
                      <a:pt x="78" y="146"/>
                    </a:lnTo>
                    <a:lnTo>
                      <a:pt x="76" y="148"/>
                    </a:lnTo>
                    <a:lnTo>
                      <a:pt x="75" y="148"/>
                    </a:lnTo>
                    <a:lnTo>
                      <a:pt x="75" y="146"/>
                    </a:lnTo>
                    <a:lnTo>
                      <a:pt x="73" y="144"/>
                    </a:lnTo>
                    <a:lnTo>
                      <a:pt x="73" y="143"/>
                    </a:lnTo>
                    <a:lnTo>
                      <a:pt x="73" y="141"/>
                    </a:lnTo>
                    <a:lnTo>
                      <a:pt x="71" y="143"/>
                    </a:lnTo>
                    <a:lnTo>
                      <a:pt x="73" y="143"/>
                    </a:lnTo>
                    <a:lnTo>
                      <a:pt x="73" y="144"/>
                    </a:lnTo>
                    <a:lnTo>
                      <a:pt x="71" y="144"/>
                    </a:lnTo>
                    <a:lnTo>
                      <a:pt x="70" y="146"/>
                    </a:lnTo>
                    <a:lnTo>
                      <a:pt x="70" y="144"/>
                    </a:lnTo>
                    <a:lnTo>
                      <a:pt x="68" y="144"/>
                    </a:lnTo>
                    <a:lnTo>
                      <a:pt x="71" y="141"/>
                    </a:lnTo>
                    <a:lnTo>
                      <a:pt x="71" y="139"/>
                    </a:lnTo>
                    <a:lnTo>
                      <a:pt x="70" y="143"/>
                    </a:lnTo>
                    <a:lnTo>
                      <a:pt x="64" y="144"/>
                    </a:lnTo>
                    <a:lnTo>
                      <a:pt x="58" y="137"/>
                    </a:lnTo>
                    <a:lnTo>
                      <a:pt x="56" y="137"/>
                    </a:lnTo>
                    <a:lnTo>
                      <a:pt x="54" y="136"/>
                    </a:lnTo>
                    <a:lnTo>
                      <a:pt x="54" y="134"/>
                    </a:lnTo>
                    <a:lnTo>
                      <a:pt x="54" y="132"/>
                    </a:lnTo>
                    <a:lnTo>
                      <a:pt x="53" y="132"/>
                    </a:lnTo>
                    <a:lnTo>
                      <a:pt x="53" y="131"/>
                    </a:lnTo>
                    <a:lnTo>
                      <a:pt x="54" y="131"/>
                    </a:lnTo>
                    <a:lnTo>
                      <a:pt x="56" y="132"/>
                    </a:lnTo>
                    <a:lnTo>
                      <a:pt x="58" y="132"/>
                    </a:lnTo>
                    <a:lnTo>
                      <a:pt x="56" y="132"/>
                    </a:lnTo>
                    <a:lnTo>
                      <a:pt x="54" y="131"/>
                    </a:lnTo>
                    <a:lnTo>
                      <a:pt x="53" y="129"/>
                    </a:lnTo>
                    <a:lnTo>
                      <a:pt x="54" y="126"/>
                    </a:lnTo>
                    <a:lnTo>
                      <a:pt x="53" y="129"/>
                    </a:lnTo>
                    <a:lnTo>
                      <a:pt x="51" y="127"/>
                    </a:lnTo>
                    <a:lnTo>
                      <a:pt x="47" y="126"/>
                    </a:lnTo>
                    <a:lnTo>
                      <a:pt x="47" y="127"/>
                    </a:lnTo>
                    <a:lnTo>
                      <a:pt x="46" y="129"/>
                    </a:lnTo>
                    <a:lnTo>
                      <a:pt x="46" y="127"/>
                    </a:lnTo>
                    <a:lnTo>
                      <a:pt x="46" y="129"/>
                    </a:lnTo>
                    <a:lnTo>
                      <a:pt x="44" y="131"/>
                    </a:lnTo>
                    <a:lnTo>
                      <a:pt x="42" y="129"/>
                    </a:lnTo>
                    <a:lnTo>
                      <a:pt x="42" y="127"/>
                    </a:lnTo>
                    <a:lnTo>
                      <a:pt x="46" y="127"/>
                    </a:lnTo>
                    <a:lnTo>
                      <a:pt x="44" y="126"/>
                    </a:lnTo>
                    <a:lnTo>
                      <a:pt x="46" y="127"/>
                    </a:lnTo>
                    <a:lnTo>
                      <a:pt x="42" y="126"/>
                    </a:lnTo>
                    <a:lnTo>
                      <a:pt x="44" y="126"/>
                    </a:lnTo>
                    <a:lnTo>
                      <a:pt x="42" y="126"/>
                    </a:lnTo>
                    <a:lnTo>
                      <a:pt x="42" y="127"/>
                    </a:lnTo>
                    <a:lnTo>
                      <a:pt x="39" y="126"/>
                    </a:lnTo>
                    <a:lnTo>
                      <a:pt x="39" y="124"/>
                    </a:lnTo>
                    <a:lnTo>
                      <a:pt x="41" y="126"/>
                    </a:lnTo>
                    <a:lnTo>
                      <a:pt x="41" y="124"/>
                    </a:lnTo>
                    <a:lnTo>
                      <a:pt x="39" y="124"/>
                    </a:lnTo>
                    <a:lnTo>
                      <a:pt x="39" y="126"/>
                    </a:lnTo>
                    <a:lnTo>
                      <a:pt x="36" y="124"/>
                    </a:lnTo>
                    <a:lnTo>
                      <a:pt x="32" y="126"/>
                    </a:lnTo>
                    <a:lnTo>
                      <a:pt x="30" y="122"/>
                    </a:lnTo>
                    <a:lnTo>
                      <a:pt x="32" y="120"/>
                    </a:lnTo>
                    <a:lnTo>
                      <a:pt x="32" y="119"/>
                    </a:lnTo>
                    <a:lnTo>
                      <a:pt x="25" y="114"/>
                    </a:lnTo>
                    <a:lnTo>
                      <a:pt x="24" y="112"/>
                    </a:lnTo>
                    <a:lnTo>
                      <a:pt x="22" y="112"/>
                    </a:lnTo>
                    <a:lnTo>
                      <a:pt x="24" y="112"/>
                    </a:lnTo>
                    <a:lnTo>
                      <a:pt x="24" y="110"/>
                    </a:lnTo>
                    <a:lnTo>
                      <a:pt x="24" y="112"/>
                    </a:lnTo>
                    <a:lnTo>
                      <a:pt x="22" y="112"/>
                    </a:lnTo>
                    <a:lnTo>
                      <a:pt x="20" y="110"/>
                    </a:lnTo>
                    <a:lnTo>
                      <a:pt x="22" y="109"/>
                    </a:lnTo>
                    <a:lnTo>
                      <a:pt x="22" y="107"/>
                    </a:lnTo>
                    <a:lnTo>
                      <a:pt x="22" y="109"/>
                    </a:lnTo>
                    <a:lnTo>
                      <a:pt x="25" y="105"/>
                    </a:lnTo>
                    <a:lnTo>
                      <a:pt x="24" y="105"/>
                    </a:lnTo>
                    <a:lnTo>
                      <a:pt x="24" y="103"/>
                    </a:lnTo>
                    <a:lnTo>
                      <a:pt x="24" y="100"/>
                    </a:lnTo>
                    <a:lnTo>
                      <a:pt x="25" y="100"/>
                    </a:lnTo>
                    <a:lnTo>
                      <a:pt x="27" y="95"/>
                    </a:lnTo>
                    <a:lnTo>
                      <a:pt x="29" y="93"/>
                    </a:lnTo>
                    <a:lnTo>
                      <a:pt x="27" y="93"/>
                    </a:lnTo>
                    <a:lnTo>
                      <a:pt x="25" y="95"/>
                    </a:lnTo>
                    <a:lnTo>
                      <a:pt x="24" y="95"/>
                    </a:lnTo>
                    <a:lnTo>
                      <a:pt x="24" y="93"/>
                    </a:lnTo>
                    <a:lnTo>
                      <a:pt x="24" y="95"/>
                    </a:lnTo>
                    <a:lnTo>
                      <a:pt x="22" y="95"/>
                    </a:lnTo>
                    <a:lnTo>
                      <a:pt x="20" y="97"/>
                    </a:lnTo>
                    <a:lnTo>
                      <a:pt x="17" y="98"/>
                    </a:lnTo>
                    <a:lnTo>
                      <a:pt x="17" y="100"/>
                    </a:lnTo>
                    <a:lnTo>
                      <a:pt x="15" y="100"/>
                    </a:lnTo>
                    <a:lnTo>
                      <a:pt x="15" y="97"/>
                    </a:lnTo>
                    <a:lnTo>
                      <a:pt x="17" y="97"/>
                    </a:lnTo>
                    <a:lnTo>
                      <a:pt x="17" y="93"/>
                    </a:lnTo>
                    <a:lnTo>
                      <a:pt x="19" y="93"/>
                    </a:lnTo>
                    <a:lnTo>
                      <a:pt x="17" y="92"/>
                    </a:lnTo>
                    <a:lnTo>
                      <a:pt x="19" y="90"/>
                    </a:lnTo>
                    <a:lnTo>
                      <a:pt x="17" y="90"/>
                    </a:lnTo>
                    <a:lnTo>
                      <a:pt x="19" y="90"/>
                    </a:lnTo>
                    <a:lnTo>
                      <a:pt x="17" y="93"/>
                    </a:lnTo>
                    <a:lnTo>
                      <a:pt x="13" y="95"/>
                    </a:lnTo>
                    <a:lnTo>
                      <a:pt x="13" y="92"/>
                    </a:lnTo>
                    <a:lnTo>
                      <a:pt x="15" y="90"/>
                    </a:lnTo>
                    <a:lnTo>
                      <a:pt x="13" y="92"/>
                    </a:lnTo>
                    <a:lnTo>
                      <a:pt x="13" y="88"/>
                    </a:lnTo>
                    <a:lnTo>
                      <a:pt x="17" y="86"/>
                    </a:lnTo>
                    <a:lnTo>
                      <a:pt x="15" y="86"/>
                    </a:lnTo>
                    <a:lnTo>
                      <a:pt x="15" y="85"/>
                    </a:lnTo>
                    <a:lnTo>
                      <a:pt x="13" y="85"/>
                    </a:lnTo>
                    <a:lnTo>
                      <a:pt x="13" y="86"/>
                    </a:lnTo>
                    <a:lnTo>
                      <a:pt x="10" y="86"/>
                    </a:lnTo>
                    <a:lnTo>
                      <a:pt x="10" y="83"/>
                    </a:lnTo>
                    <a:lnTo>
                      <a:pt x="12" y="83"/>
                    </a:lnTo>
                    <a:lnTo>
                      <a:pt x="12" y="80"/>
                    </a:lnTo>
                    <a:lnTo>
                      <a:pt x="10" y="80"/>
                    </a:lnTo>
                    <a:lnTo>
                      <a:pt x="12" y="80"/>
                    </a:lnTo>
                    <a:lnTo>
                      <a:pt x="10" y="83"/>
                    </a:lnTo>
                    <a:lnTo>
                      <a:pt x="8" y="83"/>
                    </a:lnTo>
                    <a:lnTo>
                      <a:pt x="8" y="81"/>
                    </a:lnTo>
                    <a:lnTo>
                      <a:pt x="15" y="66"/>
                    </a:lnTo>
                    <a:lnTo>
                      <a:pt x="22" y="59"/>
                    </a:lnTo>
                    <a:lnTo>
                      <a:pt x="29" y="59"/>
                    </a:lnTo>
                    <a:lnTo>
                      <a:pt x="39" y="54"/>
                    </a:lnTo>
                    <a:lnTo>
                      <a:pt x="41" y="51"/>
                    </a:lnTo>
                    <a:lnTo>
                      <a:pt x="42" y="51"/>
                    </a:lnTo>
                    <a:lnTo>
                      <a:pt x="44" y="51"/>
                    </a:lnTo>
                    <a:lnTo>
                      <a:pt x="46" y="52"/>
                    </a:lnTo>
                    <a:lnTo>
                      <a:pt x="47" y="51"/>
                    </a:lnTo>
                    <a:lnTo>
                      <a:pt x="49" y="52"/>
                    </a:lnTo>
                    <a:lnTo>
                      <a:pt x="51" y="54"/>
                    </a:lnTo>
                    <a:lnTo>
                      <a:pt x="53" y="52"/>
                    </a:lnTo>
                    <a:lnTo>
                      <a:pt x="54" y="52"/>
                    </a:lnTo>
                    <a:lnTo>
                      <a:pt x="56" y="52"/>
                    </a:lnTo>
                    <a:lnTo>
                      <a:pt x="58" y="52"/>
                    </a:lnTo>
                    <a:lnTo>
                      <a:pt x="59" y="51"/>
                    </a:lnTo>
                    <a:lnTo>
                      <a:pt x="61" y="51"/>
                    </a:lnTo>
                    <a:lnTo>
                      <a:pt x="63" y="49"/>
                    </a:lnTo>
                    <a:lnTo>
                      <a:pt x="61" y="49"/>
                    </a:lnTo>
                    <a:lnTo>
                      <a:pt x="63" y="47"/>
                    </a:lnTo>
                    <a:lnTo>
                      <a:pt x="64" y="47"/>
                    </a:lnTo>
                    <a:lnTo>
                      <a:pt x="63" y="49"/>
                    </a:lnTo>
                    <a:lnTo>
                      <a:pt x="64" y="49"/>
                    </a:lnTo>
                    <a:lnTo>
                      <a:pt x="64" y="51"/>
                    </a:lnTo>
                    <a:lnTo>
                      <a:pt x="66" y="51"/>
                    </a:lnTo>
                    <a:lnTo>
                      <a:pt x="70" y="49"/>
                    </a:lnTo>
                    <a:lnTo>
                      <a:pt x="70" y="34"/>
                    </a:lnTo>
                    <a:lnTo>
                      <a:pt x="66" y="34"/>
                    </a:lnTo>
                    <a:lnTo>
                      <a:pt x="64" y="32"/>
                    </a:lnTo>
                    <a:lnTo>
                      <a:pt x="64" y="30"/>
                    </a:lnTo>
                    <a:lnTo>
                      <a:pt x="61" y="29"/>
                    </a:lnTo>
                    <a:lnTo>
                      <a:pt x="61" y="27"/>
                    </a:lnTo>
                    <a:lnTo>
                      <a:pt x="58" y="27"/>
                    </a:lnTo>
                    <a:lnTo>
                      <a:pt x="58" y="25"/>
                    </a:lnTo>
                    <a:lnTo>
                      <a:pt x="58" y="24"/>
                    </a:lnTo>
                    <a:lnTo>
                      <a:pt x="59" y="22"/>
                    </a:lnTo>
                    <a:lnTo>
                      <a:pt x="63" y="22"/>
                    </a:lnTo>
                    <a:lnTo>
                      <a:pt x="63" y="20"/>
                    </a:lnTo>
                    <a:lnTo>
                      <a:pt x="64" y="22"/>
                    </a:lnTo>
                    <a:lnTo>
                      <a:pt x="64" y="20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8" y="20"/>
                    </a:lnTo>
                    <a:lnTo>
                      <a:pt x="70" y="22"/>
                    </a:lnTo>
                    <a:lnTo>
                      <a:pt x="71" y="18"/>
                    </a:lnTo>
                    <a:lnTo>
                      <a:pt x="73" y="18"/>
                    </a:lnTo>
                    <a:lnTo>
                      <a:pt x="73" y="15"/>
                    </a:lnTo>
                    <a:lnTo>
                      <a:pt x="71" y="13"/>
                    </a:lnTo>
                    <a:lnTo>
                      <a:pt x="73" y="12"/>
                    </a:lnTo>
                    <a:lnTo>
                      <a:pt x="73" y="8"/>
                    </a:lnTo>
                    <a:lnTo>
                      <a:pt x="71" y="8"/>
                    </a:lnTo>
                    <a:lnTo>
                      <a:pt x="70" y="0"/>
                    </a:lnTo>
                    <a:lnTo>
                      <a:pt x="88" y="1"/>
                    </a:lnTo>
                    <a:lnTo>
                      <a:pt x="90" y="1"/>
                    </a:lnTo>
                    <a:lnTo>
                      <a:pt x="92" y="1"/>
                    </a:lnTo>
                    <a:lnTo>
                      <a:pt x="93" y="1"/>
                    </a:lnTo>
                    <a:lnTo>
                      <a:pt x="95" y="1"/>
                    </a:lnTo>
                    <a:lnTo>
                      <a:pt x="97" y="3"/>
                    </a:lnTo>
                    <a:lnTo>
                      <a:pt x="97" y="1"/>
                    </a:lnTo>
                    <a:lnTo>
                      <a:pt x="100" y="3"/>
                    </a:lnTo>
                    <a:lnTo>
                      <a:pt x="102" y="1"/>
                    </a:lnTo>
                    <a:lnTo>
                      <a:pt x="104" y="5"/>
                    </a:lnTo>
                    <a:lnTo>
                      <a:pt x="102" y="7"/>
                    </a:lnTo>
                    <a:lnTo>
                      <a:pt x="102" y="10"/>
                    </a:lnTo>
                    <a:lnTo>
                      <a:pt x="107" y="12"/>
                    </a:lnTo>
                    <a:lnTo>
                      <a:pt x="109" y="10"/>
                    </a:lnTo>
                    <a:lnTo>
                      <a:pt x="109" y="8"/>
                    </a:lnTo>
                    <a:lnTo>
                      <a:pt x="110" y="7"/>
                    </a:lnTo>
                    <a:lnTo>
                      <a:pt x="114" y="8"/>
                    </a:lnTo>
                    <a:lnTo>
                      <a:pt x="114" y="10"/>
                    </a:lnTo>
                    <a:lnTo>
                      <a:pt x="117" y="10"/>
                    </a:lnTo>
                    <a:lnTo>
                      <a:pt x="119" y="13"/>
                    </a:lnTo>
                    <a:lnTo>
                      <a:pt x="124" y="12"/>
                    </a:lnTo>
                    <a:lnTo>
                      <a:pt x="127" y="15"/>
                    </a:lnTo>
                    <a:lnTo>
                      <a:pt x="131" y="13"/>
                    </a:lnTo>
                    <a:lnTo>
                      <a:pt x="132" y="13"/>
                    </a:lnTo>
                    <a:lnTo>
                      <a:pt x="136" y="17"/>
                    </a:lnTo>
                    <a:lnTo>
                      <a:pt x="139" y="18"/>
                    </a:lnTo>
                    <a:lnTo>
                      <a:pt x="144" y="17"/>
                    </a:lnTo>
                    <a:lnTo>
                      <a:pt x="148" y="17"/>
                    </a:lnTo>
                    <a:lnTo>
                      <a:pt x="151" y="13"/>
                    </a:lnTo>
                    <a:lnTo>
                      <a:pt x="155" y="13"/>
                    </a:lnTo>
                    <a:lnTo>
                      <a:pt x="156" y="15"/>
                    </a:lnTo>
                    <a:lnTo>
                      <a:pt x="161" y="13"/>
                    </a:lnTo>
                    <a:lnTo>
                      <a:pt x="165" y="15"/>
                    </a:lnTo>
                    <a:lnTo>
                      <a:pt x="168" y="15"/>
                    </a:lnTo>
                    <a:lnTo>
                      <a:pt x="172" y="15"/>
                    </a:lnTo>
                    <a:lnTo>
                      <a:pt x="173" y="13"/>
                    </a:lnTo>
                    <a:lnTo>
                      <a:pt x="180" y="12"/>
                    </a:lnTo>
                    <a:lnTo>
                      <a:pt x="183" y="12"/>
                    </a:lnTo>
                    <a:lnTo>
                      <a:pt x="189" y="13"/>
                    </a:lnTo>
                    <a:close/>
                    <a:moveTo>
                      <a:pt x="10" y="88"/>
                    </a:moveTo>
                    <a:lnTo>
                      <a:pt x="7" y="92"/>
                    </a:lnTo>
                    <a:lnTo>
                      <a:pt x="5" y="92"/>
                    </a:lnTo>
                    <a:lnTo>
                      <a:pt x="7" y="93"/>
                    </a:lnTo>
                    <a:lnTo>
                      <a:pt x="5" y="93"/>
                    </a:lnTo>
                    <a:lnTo>
                      <a:pt x="3" y="93"/>
                    </a:lnTo>
                    <a:lnTo>
                      <a:pt x="5" y="93"/>
                    </a:lnTo>
                    <a:lnTo>
                      <a:pt x="7" y="95"/>
                    </a:lnTo>
                    <a:lnTo>
                      <a:pt x="7" y="97"/>
                    </a:lnTo>
                    <a:lnTo>
                      <a:pt x="3" y="97"/>
                    </a:lnTo>
                    <a:lnTo>
                      <a:pt x="0" y="92"/>
                    </a:lnTo>
                    <a:lnTo>
                      <a:pt x="3" y="88"/>
                    </a:lnTo>
                    <a:lnTo>
                      <a:pt x="7" y="86"/>
                    </a:lnTo>
                    <a:lnTo>
                      <a:pt x="10" y="88"/>
                    </a:lnTo>
                    <a:close/>
                    <a:moveTo>
                      <a:pt x="25" y="95"/>
                    </a:moveTo>
                    <a:lnTo>
                      <a:pt x="24" y="102"/>
                    </a:lnTo>
                    <a:lnTo>
                      <a:pt x="20" y="103"/>
                    </a:lnTo>
                    <a:lnTo>
                      <a:pt x="19" y="102"/>
                    </a:lnTo>
                    <a:lnTo>
                      <a:pt x="20" y="100"/>
                    </a:lnTo>
                    <a:lnTo>
                      <a:pt x="19" y="102"/>
                    </a:lnTo>
                    <a:lnTo>
                      <a:pt x="19" y="100"/>
                    </a:lnTo>
                    <a:lnTo>
                      <a:pt x="20" y="97"/>
                    </a:lnTo>
                    <a:lnTo>
                      <a:pt x="22" y="95"/>
                    </a:lnTo>
                    <a:lnTo>
                      <a:pt x="24" y="95"/>
                    </a:lnTo>
                    <a:lnTo>
                      <a:pt x="25" y="95"/>
                    </a:lnTo>
                    <a:close/>
                    <a:moveTo>
                      <a:pt x="49" y="129"/>
                    </a:moveTo>
                    <a:lnTo>
                      <a:pt x="51" y="129"/>
                    </a:lnTo>
                    <a:lnTo>
                      <a:pt x="51" y="127"/>
                    </a:lnTo>
                    <a:lnTo>
                      <a:pt x="51" y="132"/>
                    </a:lnTo>
                    <a:lnTo>
                      <a:pt x="51" y="131"/>
                    </a:lnTo>
                    <a:lnTo>
                      <a:pt x="51" y="132"/>
                    </a:lnTo>
                    <a:lnTo>
                      <a:pt x="47" y="132"/>
                    </a:lnTo>
                    <a:lnTo>
                      <a:pt x="46" y="131"/>
                    </a:lnTo>
                    <a:lnTo>
                      <a:pt x="47" y="131"/>
                    </a:lnTo>
                    <a:lnTo>
                      <a:pt x="46" y="131"/>
                    </a:lnTo>
                    <a:lnTo>
                      <a:pt x="49" y="127"/>
                    </a:lnTo>
                    <a:lnTo>
                      <a:pt x="49" y="129"/>
                    </a:lnTo>
                    <a:close/>
                    <a:moveTo>
                      <a:pt x="73" y="146"/>
                    </a:moveTo>
                    <a:lnTo>
                      <a:pt x="70" y="149"/>
                    </a:lnTo>
                    <a:lnTo>
                      <a:pt x="68" y="148"/>
                    </a:lnTo>
                    <a:lnTo>
                      <a:pt x="68" y="146"/>
                    </a:lnTo>
                    <a:lnTo>
                      <a:pt x="68" y="144"/>
                    </a:lnTo>
                    <a:lnTo>
                      <a:pt x="70" y="144"/>
                    </a:lnTo>
                    <a:lnTo>
                      <a:pt x="70" y="146"/>
                    </a:lnTo>
                    <a:lnTo>
                      <a:pt x="71" y="144"/>
                    </a:lnTo>
                    <a:lnTo>
                      <a:pt x="71" y="146"/>
                    </a:lnTo>
                    <a:lnTo>
                      <a:pt x="71" y="144"/>
                    </a:lnTo>
                    <a:lnTo>
                      <a:pt x="73" y="146"/>
                    </a:lnTo>
                    <a:close/>
                    <a:moveTo>
                      <a:pt x="8" y="95"/>
                    </a:moveTo>
                    <a:lnTo>
                      <a:pt x="7" y="92"/>
                    </a:lnTo>
                    <a:lnTo>
                      <a:pt x="10" y="90"/>
                    </a:lnTo>
                    <a:lnTo>
                      <a:pt x="10" y="92"/>
                    </a:lnTo>
                    <a:lnTo>
                      <a:pt x="10" y="93"/>
                    </a:lnTo>
                    <a:lnTo>
                      <a:pt x="10" y="95"/>
                    </a:lnTo>
                    <a:lnTo>
                      <a:pt x="8" y="95"/>
                    </a:lnTo>
                    <a:close/>
                    <a:moveTo>
                      <a:pt x="7" y="86"/>
                    </a:moveTo>
                    <a:lnTo>
                      <a:pt x="8" y="83"/>
                    </a:lnTo>
                    <a:lnTo>
                      <a:pt x="10" y="85"/>
                    </a:lnTo>
                    <a:lnTo>
                      <a:pt x="10" y="86"/>
                    </a:lnTo>
                    <a:lnTo>
                      <a:pt x="8" y="88"/>
                    </a:lnTo>
                    <a:lnTo>
                      <a:pt x="7" y="86"/>
                    </a:lnTo>
                    <a:close/>
                    <a:moveTo>
                      <a:pt x="54" y="134"/>
                    </a:moveTo>
                    <a:lnTo>
                      <a:pt x="54" y="132"/>
                    </a:lnTo>
                    <a:lnTo>
                      <a:pt x="54" y="134"/>
                    </a:lnTo>
                    <a:lnTo>
                      <a:pt x="54" y="136"/>
                    </a:lnTo>
                    <a:lnTo>
                      <a:pt x="51" y="134"/>
                    </a:lnTo>
                    <a:lnTo>
                      <a:pt x="53" y="132"/>
                    </a:lnTo>
                    <a:lnTo>
                      <a:pt x="54" y="132"/>
                    </a:lnTo>
                    <a:lnTo>
                      <a:pt x="54" y="134"/>
                    </a:lnTo>
                    <a:close/>
                    <a:moveTo>
                      <a:pt x="47" y="126"/>
                    </a:moveTo>
                    <a:lnTo>
                      <a:pt x="51" y="126"/>
                    </a:lnTo>
                    <a:lnTo>
                      <a:pt x="51" y="129"/>
                    </a:lnTo>
                    <a:lnTo>
                      <a:pt x="47" y="129"/>
                    </a:lnTo>
                    <a:lnTo>
                      <a:pt x="47" y="126"/>
                    </a:lnTo>
                    <a:close/>
                    <a:moveTo>
                      <a:pt x="66" y="146"/>
                    </a:moveTo>
                    <a:lnTo>
                      <a:pt x="64" y="146"/>
                    </a:lnTo>
                    <a:lnTo>
                      <a:pt x="64" y="144"/>
                    </a:lnTo>
                    <a:lnTo>
                      <a:pt x="70" y="143"/>
                    </a:lnTo>
                    <a:lnTo>
                      <a:pt x="66" y="146"/>
                    </a:lnTo>
                    <a:close/>
                    <a:moveTo>
                      <a:pt x="10" y="88"/>
                    </a:moveTo>
                    <a:lnTo>
                      <a:pt x="12" y="88"/>
                    </a:lnTo>
                    <a:lnTo>
                      <a:pt x="12" y="90"/>
                    </a:lnTo>
                    <a:lnTo>
                      <a:pt x="10" y="90"/>
                    </a:lnTo>
                    <a:lnTo>
                      <a:pt x="10" y="88"/>
                    </a:lnTo>
                    <a:close/>
                    <a:moveTo>
                      <a:pt x="63" y="160"/>
                    </a:moveTo>
                    <a:lnTo>
                      <a:pt x="66" y="160"/>
                    </a:lnTo>
                    <a:lnTo>
                      <a:pt x="66" y="163"/>
                    </a:lnTo>
                    <a:lnTo>
                      <a:pt x="63" y="163"/>
                    </a:lnTo>
                    <a:lnTo>
                      <a:pt x="63" y="160"/>
                    </a:lnTo>
                    <a:close/>
                    <a:moveTo>
                      <a:pt x="10" y="90"/>
                    </a:moveTo>
                    <a:lnTo>
                      <a:pt x="10" y="93"/>
                    </a:lnTo>
                    <a:lnTo>
                      <a:pt x="10" y="90"/>
                    </a:lnTo>
                    <a:close/>
                    <a:moveTo>
                      <a:pt x="66" y="161"/>
                    </a:moveTo>
                    <a:lnTo>
                      <a:pt x="68" y="161"/>
                    </a:lnTo>
                    <a:lnTo>
                      <a:pt x="68" y="165"/>
                    </a:lnTo>
                    <a:lnTo>
                      <a:pt x="66" y="165"/>
                    </a:lnTo>
                    <a:lnTo>
                      <a:pt x="66" y="161"/>
                    </a:lnTo>
                    <a:close/>
                    <a:moveTo>
                      <a:pt x="51" y="129"/>
                    </a:moveTo>
                    <a:lnTo>
                      <a:pt x="53" y="129"/>
                    </a:lnTo>
                    <a:lnTo>
                      <a:pt x="53" y="131"/>
                    </a:lnTo>
                    <a:lnTo>
                      <a:pt x="51" y="131"/>
                    </a:lnTo>
                    <a:lnTo>
                      <a:pt x="51" y="129"/>
                    </a:lnTo>
                    <a:close/>
                    <a:moveTo>
                      <a:pt x="13" y="85"/>
                    </a:moveTo>
                    <a:lnTo>
                      <a:pt x="15" y="85"/>
                    </a:lnTo>
                    <a:lnTo>
                      <a:pt x="15" y="86"/>
                    </a:lnTo>
                    <a:lnTo>
                      <a:pt x="13" y="86"/>
                    </a:lnTo>
                    <a:lnTo>
                      <a:pt x="13" y="85"/>
                    </a:lnTo>
                    <a:close/>
                    <a:moveTo>
                      <a:pt x="8" y="86"/>
                    </a:moveTo>
                    <a:lnTo>
                      <a:pt x="10" y="86"/>
                    </a:lnTo>
                    <a:lnTo>
                      <a:pt x="10" y="88"/>
                    </a:lnTo>
                    <a:lnTo>
                      <a:pt x="8" y="88"/>
                    </a:lnTo>
                    <a:lnTo>
                      <a:pt x="8" y="86"/>
                    </a:lnTo>
                    <a:close/>
                    <a:moveTo>
                      <a:pt x="71" y="139"/>
                    </a:moveTo>
                    <a:lnTo>
                      <a:pt x="71" y="141"/>
                    </a:lnTo>
                    <a:lnTo>
                      <a:pt x="71" y="139"/>
                    </a:lnTo>
                    <a:close/>
                    <a:moveTo>
                      <a:pt x="83" y="173"/>
                    </a:moveTo>
                    <a:lnTo>
                      <a:pt x="85" y="173"/>
                    </a:lnTo>
                    <a:lnTo>
                      <a:pt x="83" y="173"/>
                    </a:lnTo>
                    <a:close/>
                    <a:moveTo>
                      <a:pt x="64" y="163"/>
                    </a:moveTo>
                    <a:lnTo>
                      <a:pt x="66" y="163"/>
                    </a:lnTo>
                    <a:lnTo>
                      <a:pt x="64" y="16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82" name="Freeform 32">
                <a:extLst>
                  <a:ext uri="{FF2B5EF4-FFF2-40B4-BE49-F238E27FC236}">
                    <a16:creationId xmlns:a16="http://schemas.microsoft.com/office/drawing/2014/main" id="{7BBB77D1-C57B-4951-9EE9-E5815A43B4C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232058" y="2433537"/>
                <a:ext cx="247642" cy="142870"/>
              </a:xfrm>
              <a:custGeom>
                <a:avLst/>
                <a:gdLst>
                  <a:gd name="T0" fmla="*/ 149 w 156"/>
                  <a:gd name="T1" fmla="*/ 22 h 90"/>
                  <a:gd name="T2" fmla="*/ 144 w 156"/>
                  <a:gd name="T3" fmla="*/ 29 h 90"/>
                  <a:gd name="T4" fmla="*/ 146 w 156"/>
                  <a:gd name="T5" fmla="*/ 47 h 90"/>
                  <a:gd name="T6" fmla="*/ 130 w 156"/>
                  <a:gd name="T7" fmla="*/ 51 h 90"/>
                  <a:gd name="T8" fmla="*/ 90 w 156"/>
                  <a:gd name="T9" fmla="*/ 86 h 90"/>
                  <a:gd name="T10" fmla="*/ 90 w 156"/>
                  <a:gd name="T11" fmla="*/ 80 h 90"/>
                  <a:gd name="T12" fmla="*/ 85 w 156"/>
                  <a:gd name="T13" fmla="*/ 76 h 90"/>
                  <a:gd name="T14" fmla="*/ 76 w 156"/>
                  <a:gd name="T15" fmla="*/ 75 h 90"/>
                  <a:gd name="T16" fmla="*/ 71 w 156"/>
                  <a:gd name="T17" fmla="*/ 73 h 90"/>
                  <a:gd name="T18" fmla="*/ 69 w 156"/>
                  <a:gd name="T19" fmla="*/ 66 h 90"/>
                  <a:gd name="T20" fmla="*/ 66 w 156"/>
                  <a:gd name="T21" fmla="*/ 59 h 90"/>
                  <a:gd name="T22" fmla="*/ 71 w 156"/>
                  <a:gd name="T23" fmla="*/ 58 h 90"/>
                  <a:gd name="T24" fmla="*/ 74 w 156"/>
                  <a:gd name="T25" fmla="*/ 56 h 90"/>
                  <a:gd name="T26" fmla="*/ 79 w 156"/>
                  <a:gd name="T27" fmla="*/ 54 h 90"/>
                  <a:gd name="T28" fmla="*/ 81 w 156"/>
                  <a:gd name="T29" fmla="*/ 56 h 90"/>
                  <a:gd name="T30" fmla="*/ 85 w 156"/>
                  <a:gd name="T31" fmla="*/ 58 h 90"/>
                  <a:gd name="T32" fmla="*/ 85 w 156"/>
                  <a:gd name="T33" fmla="*/ 54 h 90"/>
                  <a:gd name="T34" fmla="*/ 81 w 156"/>
                  <a:gd name="T35" fmla="*/ 49 h 90"/>
                  <a:gd name="T36" fmla="*/ 76 w 156"/>
                  <a:gd name="T37" fmla="*/ 51 h 90"/>
                  <a:gd name="T38" fmla="*/ 78 w 156"/>
                  <a:gd name="T39" fmla="*/ 49 h 90"/>
                  <a:gd name="T40" fmla="*/ 73 w 156"/>
                  <a:gd name="T41" fmla="*/ 51 h 90"/>
                  <a:gd name="T42" fmla="*/ 71 w 156"/>
                  <a:gd name="T43" fmla="*/ 52 h 90"/>
                  <a:gd name="T44" fmla="*/ 66 w 156"/>
                  <a:gd name="T45" fmla="*/ 58 h 90"/>
                  <a:gd name="T46" fmla="*/ 62 w 156"/>
                  <a:gd name="T47" fmla="*/ 49 h 90"/>
                  <a:gd name="T48" fmla="*/ 73 w 156"/>
                  <a:gd name="T49" fmla="*/ 41 h 90"/>
                  <a:gd name="T50" fmla="*/ 71 w 156"/>
                  <a:gd name="T51" fmla="*/ 37 h 90"/>
                  <a:gd name="T52" fmla="*/ 47 w 156"/>
                  <a:gd name="T53" fmla="*/ 44 h 90"/>
                  <a:gd name="T54" fmla="*/ 45 w 156"/>
                  <a:gd name="T55" fmla="*/ 35 h 90"/>
                  <a:gd name="T56" fmla="*/ 37 w 156"/>
                  <a:gd name="T57" fmla="*/ 39 h 90"/>
                  <a:gd name="T58" fmla="*/ 23 w 156"/>
                  <a:gd name="T59" fmla="*/ 25 h 90"/>
                  <a:gd name="T60" fmla="*/ 17 w 156"/>
                  <a:gd name="T61" fmla="*/ 25 h 90"/>
                  <a:gd name="T62" fmla="*/ 10 w 156"/>
                  <a:gd name="T63" fmla="*/ 17 h 90"/>
                  <a:gd name="T64" fmla="*/ 64 w 156"/>
                  <a:gd name="T65" fmla="*/ 8 h 90"/>
                  <a:gd name="T66" fmla="*/ 34 w 156"/>
                  <a:gd name="T67" fmla="*/ 78 h 90"/>
                  <a:gd name="T68" fmla="*/ 25 w 156"/>
                  <a:gd name="T69" fmla="*/ 80 h 90"/>
                  <a:gd name="T70" fmla="*/ 28 w 156"/>
                  <a:gd name="T71" fmla="*/ 41 h 90"/>
                  <a:gd name="T72" fmla="*/ 32 w 156"/>
                  <a:gd name="T73" fmla="*/ 63 h 90"/>
                  <a:gd name="T74" fmla="*/ 15 w 156"/>
                  <a:gd name="T75" fmla="*/ 59 h 90"/>
                  <a:gd name="T76" fmla="*/ 49 w 156"/>
                  <a:gd name="T77" fmla="*/ 76 h 90"/>
                  <a:gd name="T78" fmla="*/ 42 w 156"/>
                  <a:gd name="T79" fmla="*/ 81 h 90"/>
                  <a:gd name="T80" fmla="*/ 28 w 156"/>
                  <a:gd name="T81" fmla="*/ 41 h 90"/>
                  <a:gd name="T82" fmla="*/ 62 w 156"/>
                  <a:gd name="T83" fmla="*/ 58 h 90"/>
                  <a:gd name="T84" fmla="*/ 61 w 156"/>
                  <a:gd name="T85" fmla="*/ 54 h 90"/>
                  <a:gd name="T86" fmla="*/ 23 w 156"/>
                  <a:gd name="T87" fmla="*/ 71 h 90"/>
                  <a:gd name="T88" fmla="*/ 34 w 156"/>
                  <a:gd name="T89" fmla="*/ 78 h 90"/>
                  <a:gd name="T90" fmla="*/ 28 w 156"/>
                  <a:gd name="T91" fmla="*/ 59 h 90"/>
                  <a:gd name="T92" fmla="*/ 45 w 156"/>
                  <a:gd name="T93" fmla="*/ 71 h 90"/>
                  <a:gd name="T94" fmla="*/ 35 w 156"/>
                  <a:gd name="T95" fmla="*/ 69 h 90"/>
                  <a:gd name="T96" fmla="*/ 30 w 156"/>
                  <a:gd name="T97" fmla="*/ 66 h 90"/>
                  <a:gd name="T98" fmla="*/ 54 w 156"/>
                  <a:gd name="T99" fmla="*/ 59 h 90"/>
                  <a:gd name="T100" fmla="*/ 47 w 156"/>
                  <a:gd name="T101" fmla="*/ 66 h 90"/>
                  <a:gd name="T102" fmla="*/ 13 w 156"/>
                  <a:gd name="T103" fmla="*/ 69 h 90"/>
                  <a:gd name="T104" fmla="*/ 64 w 156"/>
                  <a:gd name="T105" fmla="*/ 41 h 90"/>
                  <a:gd name="T106" fmla="*/ 39 w 156"/>
                  <a:gd name="T107" fmla="*/ 58 h 90"/>
                  <a:gd name="T108" fmla="*/ 52 w 156"/>
                  <a:gd name="T109" fmla="*/ 86 h 90"/>
                  <a:gd name="T110" fmla="*/ 35 w 156"/>
                  <a:gd name="T111" fmla="*/ 39 h 90"/>
                  <a:gd name="T112" fmla="*/ 66 w 156"/>
                  <a:gd name="T113" fmla="*/ 41 h 90"/>
                  <a:gd name="T114" fmla="*/ 42 w 156"/>
                  <a:gd name="T115" fmla="*/ 47 h 90"/>
                  <a:gd name="T116" fmla="*/ 51 w 156"/>
                  <a:gd name="T117" fmla="*/ 69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90">
                    <a:moveTo>
                      <a:pt x="153" y="0"/>
                    </a:moveTo>
                    <a:lnTo>
                      <a:pt x="154" y="8"/>
                    </a:lnTo>
                    <a:lnTo>
                      <a:pt x="156" y="8"/>
                    </a:lnTo>
                    <a:lnTo>
                      <a:pt x="156" y="12"/>
                    </a:lnTo>
                    <a:lnTo>
                      <a:pt x="154" y="13"/>
                    </a:lnTo>
                    <a:lnTo>
                      <a:pt x="156" y="15"/>
                    </a:lnTo>
                    <a:lnTo>
                      <a:pt x="156" y="18"/>
                    </a:lnTo>
                    <a:lnTo>
                      <a:pt x="154" y="18"/>
                    </a:lnTo>
                    <a:lnTo>
                      <a:pt x="153" y="22"/>
                    </a:lnTo>
                    <a:lnTo>
                      <a:pt x="151" y="20"/>
                    </a:lnTo>
                    <a:lnTo>
                      <a:pt x="149" y="22"/>
                    </a:lnTo>
                    <a:lnTo>
                      <a:pt x="147" y="22"/>
                    </a:lnTo>
                    <a:lnTo>
                      <a:pt x="147" y="20"/>
                    </a:lnTo>
                    <a:lnTo>
                      <a:pt x="147" y="22"/>
                    </a:lnTo>
                    <a:lnTo>
                      <a:pt x="146" y="20"/>
                    </a:lnTo>
                    <a:lnTo>
                      <a:pt x="146" y="22"/>
                    </a:lnTo>
                    <a:lnTo>
                      <a:pt x="142" y="22"/>
                    </a:lnTo>
                    <a:lnTo>
                      <a:pt x="141" y="24"/>
                    </a:lnTo>
                    <a:lnTo>
                      <a:pt x="141" y="25"/>
                    </a:lnTo>
                    <a:lnTo>
                      <a:pt x="141" y="27"/>
                    </a:lnTo>
                    <a:lnTo>
                      <a:pt x="144" y="27"/>
                    </a:lnTo>
                    <a:lnTo>
                      <a:pt x="144" y="29"/>
                    </a:lnTo>
                    <a:lnTo>
                      <a:pt x="147" y="30"/>
                    </a:lnTo>
                    <a:lnTo>
                      <a:pt x="147" y="32"/>
                    </a:lnTo>
                    <a:lnTo>
                      <a:pt x="149" y="34"/>
                    </a:lnTo>
                    <a:lnTo>
                      <a:pt x="153" y="34"/>
                    </a:lnTo>
                    <a:lnTo>
                      <a:pt x="153" y="49"/>
                    </a:lnTo>
                    <a:lnTo>
                      <a:pt x="149" y="51"/>
                    </a:lnTo>
                    <a:lnTo>
                      <a:pt x="147" y="51"/>
                    </a:lnTo>
                    <a:lnTo>
                      <a:pt x="147" y="49"/>
                    </a:lnTo>
                    <a:lnTo>
                      <a:pt x="146" y="49"/>
                    </a:lnTo>
                    <a:lnTo>
                      <a:pt x="147" y="47"/>
                    </a:lnTo>
                    <a:lnTo>
                      <a:pt x="146" y="47"/>
                    </a:lnTo>
                    <a:lnTo>
                      <a:pt x="144" y="49"/>
                    </a:lnTo>
                    <a:lnTo>
                      <a:pt x="146" y="49"/>
                    </a:lnTo>
                    <a:lnTo>
                      <a:pt x="144" y="51"/>
                    </a:lnTo>
                    <a:lnTo>
                      <a:pt x="142" y="51"/>
                    </a:lnTo>
                    <a:lnTo>
                      <a:pt x="141" y="52"/>
                    </a:lnTo>
                    <a:lnTo>
                      <a:pt x="139" y="52"/>
                    </a:lnTo>
                    <a:lnTo>
                      <a:pt x="137" y="52"/>
                    </a:lnTo>
                    <a:lnTo>
                      <a:pt x="136" y="52"/>
                    </a:lnTo>
                    <a:lnTo>
                      <a:pt x="134" y="54"/>
                    </a:lnTo>
                    <a:lnTo>
                      <a:pt x="132" y="52"/>
                    </a:lnTo>
                    <a:lnTo>
                      <a:pt x="130" y="51"/>
                    </a:lnTo>
                    <a:lnTo>
                      <a:pt x="129" y="52"/>
                    </a:lnTo>
                    <a:lnTo>
                      <a:pt x="127" y="51"/>
                    </a:lnTo>
                    <a:lnTo>
                      <a:pt x="125" y="51"/>
                    </a:lnTo>
                    <a:lnTo>
                      <a:pt x="124" y="51"/>
                    </a:lnTo>
                    <a:lnTo>
                      <a:pt x="122" y="54"/>
                    </a:lnTo>
                    <a:lnTo>
                      <a:pt x="112" y="59"/>
                    </a:lnTo>
                    <a:lnTo>
                      <a:pt x="105" y="59"/>
                    </a:lnTo>
                    <a:lnTo>
                      <a:pt x="98" y="66"/>
                    </a:lnTo>
                    <a:lnTo>
                      <a:pt x="91" y="81"/>
                    </a:lnTo>
                    <a:lnTo>
                      <a:pt x="91" y="83"/>
                    </a:lnTo>
                    <a:lnTo>
                      <a:pt x="90" y="86"/>
                    </a:lnTo>
                    <a:lnTo>
                      <a:pt x="88" y="86"/>
                    </a:lnTo>
                    <a:lnTo>
                      <a:pt x="86" y="88"/>
                    </a:lnTo>
                    <a:lnTo>
                      <a:pt x="83" y="90"/>
                    </a:lnTo>
                    <a:lnTo>
                      <a:pt x="83" y="88"/>
                    </a:lnTo>
                    <a:lnTo>
                      <a:pt x="83" y="85"/>
                    </a:lnTo>
                    <a:lnTo>
                      <a:pt x="83" y="83"/>
                    </a:lnTo>
                    <a:lnTo>
                      <a:pt x="83" y="81"/>
                    </a:lnTo>
                    <a:lnTo>
                      <a:pt x="85" y="80"/>
                    </a:lnTo>
                    <a:lnTo>
                      <a:pt x="86" y="80"/>
                    </a:lnTo>
                    <a:lnTo>
                      <a:pt x="86" y="78"/>
                    </a:lnTo>
                    <a:lnTo>
                      <a:pt x="90" y="80"/>
                    </a:lnTo>
                    <a:lnTo>
                      <a:pt x="88" y="78"/>
                    </a:lnTo>
                    <a:lnTo>
                      <a:pt x="90" y="78"/>
                    </a:lnTo>
                    <a:lnTo>
                      <a:pt x="88" y="78"/>
                    </a:lnTo>
                    <a:lnTo>
                      <a:pt x="88" y="76"/>
                    </a:lnTo>
                    <a:lnTo>
                      <a:pt x="88" y="75"/>
                    </a:lnTo>
                    <a:lnTo>
                      <a:pt x="91" y="73"/>
                    </a:lnTo>
                    <a:lnTo>
                      <a:pt x="90" y="73"/>
                    </a:lnTo>
                    <a:lnTo>
                      <a:pt x="88" y="75"/>
                    </a:lnTo>
                    <a:lnTo>
                      <a:pt x="86" y="76"/>
                    </a:lnTo>
                    <a:lnTo>
                      <a:pt x="86" y="78"/>
                    </a:lnTo>
                    <a:lnTo>
                      <a:pt x="85" y="76"/>
                    </a:lnTo>
                    <a:lnTo>
                      <a:pt x="85" y="78"/>
                    </a:lnTo>
                    <a:lnTo>
                      <a:pt x="83" y="80"/>
                    </a:lnTo>
                    <a:lnTo>
                      <a:pt x="81" y="81"/>
                    </a:lnTo>
                    <a:lnTo>
                      <a:pt x="76" y="85"/>
                    </a:lnTo>
                    <a:lnTo>
                      <a:pt x="74" y="83"/>
                    </a:lnTo>
                    <a:lnTo>
                      <a:pt x="76" y="81"/>
                    </a:lnTo>
                    <a:lnTo>
                      <a:pt x="76" y="80"/>
                    </a:lnTo>
                    <a:lnTo>
                      <a:pt x="78" y="78"/>
                    </a:lnTo>
                    <a:lnTo>
                      <a:pt x="76" y="75"/>
                    </a:lnTo>
                    <a:lnTo>
                      <a:pt x="76" y="73"/>
                    </a:lnTo>
                    <a:lnTo>
                      <a:pt x="76" y="75"/>
                    </a:lnTo>
                    <a:lnTo>
                      <a:pt x="76" y="78"/>
                    </a:lnTo>
                    <a:lnTo>
                      <a:pt x="76" y="80"/>
                    </a:lnTo>
                    <a:lnTo>
                      <a:pt x="73" y="80"/>
                    </a:lnTo>
                    <a:lnTo>
                      <a:pt x="73" y="78"/>
                    </a:lnTo>
                    <a:lnTo>
                      <a:pt x="71" y="78"/>
                    </a:lnTo>
                    <a:lnTo>
                      <a:pt x="66" y="75"/>
                    </a:lnTo>
                    <a:lnTo>
                      <a:pt x="68" y="73"/>
                    </a:lnTo>
                    <a:lnTo>
                      <a:pt x="68" y="75"/>
                    </a:lnTo>
                    <a:lnTo>
                      <a:pt x="69" y="73"/>
                    </a:lnTo>
                    <a:lnTo>
                      <a:pt x="68" y="73"/>
                    </a:lnTo>
                    <a:lnTo>
                      <a:pt x="71" y="73"/>
                    </a:lnTo>
                    <a:lnTo>
                      <a:pt x="71" y="71"/>
                    </a:lnTo>
                    <a:lnTo>
                      <a:pt x="69" y="71"/>
                    </a:lnTo>
                    <a:lnTo>
                      <a:pt x="68" y="73"/>
                    </a:lnTo>
                    <a:lnTo>
                      <a:pt x="66" y="71"/>
                    </a:lnTo>
                    <a:lnTo>
                      <a:pt x="66" y="69"/>
                    </a:lnTo>
                    <a:lnTo>
                      <a:pt x="68" y="66"/>
                    </a:lnTo>
                    <a:lnTo>
                      <a:pt x="69" y="66"/>
                    </a:lnTo>
                    <a:lnTo>
                      <a:pt x="71" y="66"/>
                    </a:lnTo>
                    <a:lnTo>
                      <a:pt x="73" y="64"/>
                    </a:lnTo>
                    <a:lnTo>
                      <a:pt x="71" y="66"/>
                    </a:lnTo>
                    <a:lnTo>
                      <a:pt x="69" y="66"/>
                    </a:lnTo>
                    <a:lnTo>
                      <a:pt x="71" y="63"/>
                    </a:lnTo>
                    <a:lnTo>
                      <a:pt x="69" y="64"/>
                    </a:lnTo>
                    <a:lnTo>
                      <a:pt x="66" y="66"/>
                    </a:lnTo>
                    <a:lnTo>
                      <a:pt x="64" y="68"/>
                    </a:lnTo>
                    <a:lnTo>
                      <a:pt x="62" y="68"/>
                    </a:lnTo>
                    <a:lnTo>
                      <a:pt x="62" y="64"/>
                    </a:lnTo>
                    <a:lnTo>
                      <a:pt x="64" y="63"/>
                    </a:lnTo>
                    <a:lnTo>
                      <a:pt x="62" y="61"/>
                    </a:lnTo>
                    <a:lnTo>
                      <a:pt x="64" y="61"/>
                    </a:lnTo>
                    <a:lnTo>
                      <a:pt x="66" y="61"/>
                    </a:lnTo>
                    <a:lnTo>
                      <a:pt x="66" y="59"/>
                    </a:lnTo>
                    <a:lnTo>
                      <a:pt x="68" y="61"/>
                    </a:lnTo>
                    <a:lnTo>
                      <a:pt x="69" y="61"/>
                    </a:lnTo>
                    <a:lnTo>
                      <a:pt x="68" y="61"/>
                    </a:lnTo>
                    <a:lnTo>
                      <a:pt x="69" y="59"/>
                    </a:lnTo>
                    <a:lnTo>
                      <a:pt x="68" y="59"/>
                    </a:lnTo>
                    <a:lnTo>
                      <a:pt x="68" y="58"/>
                    </a:lnTo>
                    <a:lnTo>
                      <a:pt x="69" y="58"/>
                    </a:lnTo>
                    <a:lnTo>
                      <a:pt x="69" y="59"/>
                    </a:lnTo>
                    <a:lnTo>
                      <a:pt x="71" y="59"/>
                    </a:lnTo>
                    <a:lnTo>
                      <a:pt x="71" y="56"/>
                    </a:lnTo>
                    <a:lnTo>
                      <a:pt x="71" y="58"/>
                    </a:lnTo>
                    <a:lnTo>
                      <a:pt x="73" y="56"/>
                    </a:lnTo>
                    <a:lnTo>
                      <a:pt x="73" y="58"/>
                    </a:lnTo>
                    <a:lnTo>
                      <a:pt x="74" y="58"/>
                    </a:lnTo>
                    <a:lnTo>
                      <a:pt x="73" y="56"/>
                    </a:lnTo>
                    <a:lnTo>
                      <a:pt x="71" y="56"/>
                    </a:lnTo>
                    <a:lnTo>
                      <a:pt x="73" y="54"/>
                    </a:lnTo>
                    <a:lnTo>
                      <a:pt x="74" y="58"/>
                    </a:lnTo>
                    <a:lnTo>
                      <a:pt x="74" y="56"/>
                    </a:lnTo>
                    <a:lnTo>
                      <a:pt x="76" y="58"/>
                    </a:lnTo>
                    <a:lnTo>
                      <a:pt x="76" y="56"/>
                    </a:lnTo>
                    <a:lnTo>
                      <a:pt x="74" y="56"/>
                    </a:lnTo>
                    <a:lnTo>
                      <a:pt x="74" y="54"/>
                    </a:lnTo>
                    <a:lnTo>
                      <a:pt x="73" y="54"/>
                    </a:lnTo>
                    <a:lnTo>
                      <a:pt x="76" y="54"/>
                    </a:lnTo>
                    <a:lnTo>
                      <a:pt x="78" y="54"/>
                    </a:lnTo>
                    <a:lnTo>
                      <a:pt x="76" y="54"/>
                    </a:lnTo>
                    <a:lnTo>
                      <a:pt x="78" y="56"/>
                    </a:lnTo>
                    <a:lnTo>
                      <a:pt x="78" y="58"/>
                    </a:lnTo>
                    <a:lnTo>
                      <a:pt x="78" y="56"/>
                    </a:lnTo>
                    <a:lnTo>
                      <a:pt x="79" y="56"/>
                    </a:lnTo>
                    <a:lnTo>
                      <a:pt x="78" y="54"/>
                    </a:lnTo>
                    <a:lnTo>
                      <a:pt x="79" y="54"/>
                    </a:lnTo>
                    <a:lnTo>
                      <a:pt x="78" y="54"/>
                    </a:lnTo>
                    <a:lnTo>
                      <a:pt x="78" y="52"/>
                    </a:lnTo>
                    <a:lnTo>
                      <a:pt x="79" y="54"/>
                    </a:lnTo>
                    <a:lnTo>
                      <a:pt x="78" y="52"/>
                    </a:lnTo>
                    <a:lnTo>
                      <a:pt x="79" y="52"/>
                    </a:lnTo>
                    <a:lnTo>
                      <a:pt x="79" y="54"/>
                    </a:lnTo>
                    <a:lnTo>
                      <a:pt x="81" y="52"/>
                    </a:lnTo>
                    <a:lnTo>
                      <a:pt x="81" y="56"/>
                    </a:lnTo>
                    <a:lnTo>
                      <a:pt x="81" y="54"/>
                    </a:lnTo>
                    <a:lnTo>
                      <a:pt x="83" y="56"/>
                    </a:lnTo>
                    <a:lnTo>
                      <a:pt x="81" y="56"/>
                    </a:lnTo>
                    <a:lnTo>
                      <a:pt x="83" y="56"/>
                    </a:lnTo>
                    <a:lnTo>
                      <a:pt x="81" y="56"/>
                    </a:lnTo>
                    <a:lnTo>
                      <a:pt x="81" y="58"/>
                    </a:lnTo>
                    <a:lnTo>
                      <a:pt x="83" y="56"/>
                    </a:lnTo>
                    <a:lnTo>
                      <a:pt x="83" y="58"/>
                    </a:lnTo>
                    <a:lnTo>
                      <a:pt x="85" y="56"/>
                    </a:lnTo>
                    <a:lnTo>
                      <a:pt x="83" y="58"/>
                    </a:lnTo>
                    <a:lnTo>
                      <a:pt x="85" y="56"/>
                    </a:lnTo>
                    <a:lnTo>
                      <a:pt x="85" y="58"/>
                    </a:lnTo>
                    <a:lnTo>
                      <a:pt x="85" y="56"/>
                    </a:lnTo>
                    <a:lnTo>
                      <a:pt x="85" y="58"/>
                    </a:lnTo>
                    <a:lnTo>
                      <a:pt x="85" y="56"/>
                    </a:lnTo>
                    <a:lnTo>
                      <a:pt x="86" y="58"/>
                    </a:lnTo>
                    <a:lnTo>
                      <a:pt x="86" y="56"/>
                    </a:lnTo>
                    <a:lnTo>
                      <a:pt x="86" y="58"/>
                    </a:lnTo>
                    <a:lnTo>
                      <a:pt x="86" y="56"/>
                    </a:lnTo>
                    <a:lnTo>
                      <a:pt x="88" y="56"/>
                    </a:lnTo>
                    <a:lnTo>
                      <a:pt x="88" y="54"/>
                    </a:lnTo>
                    <a:lnTo>
                      <a:pt x="86" y="56"/>
                    </a:lnTo>
                    <a:lnTo>
                      <a:pt x="85" y="56"/>
                    </a:lnTo>
                    <a:lnTo>
                      <a:pt x="83" y="54"/>
                    </a:lnTo>
                    <a:lnTo>
                      <a:pt x="85" y="54"/>
                    </a:lnTo>
                    <a:lnTo>
                      <a:pt x="86" y="52"/>
                    </a:lnTo>
                    <a:lnTo>
                      <a:pt x="83" y="54"/>
                    </a:lnTo>
                    <a:lnTo>
                      <a:pt x="85" y="52"/>
                    </a:lnTo>
                    <a:lnTo>
                      <a:pt x="83" y="54"/>
                    </a:lnTo>
                    <a:lnTo>
                      <a:pt x="81" y="54"/>
                    </a:lnTo>
                    <a:lnTo>
                      <a:pt x="83" y="52"/>
                    </a:lnTo>
                    <a:lnTo>
                      <a:pt x="83" y="51"/>
                    </a:lnTo>
                    <a:lnTo>
                      <a:pt x="81" y="52"/>
                    </a:lnTo>
                    <a:lnTo>
                      <a:pt x="79" y="52"/>
                    </a:lnTo>
                    <a:lnTo>
                      <a:pt x="81" y="51"/>
                    </a:lnTo>
                    <a:lnTo>
                      <a:pt x="81" y="49"/>
                    </a:lnTo>
                    <a:lnTo>
                      <a:pt x="81" y="51"/>
                    </a:lnTo>
                    <a:lnTo>
                      <a:pt x="79" y="51"/>
                    </a:lnTo>
                    <a:lnTo>
                      <a:pt x="79" y="52"/>
                    </a:lnTo>
                    <a:lnTo>
                      <a:pt x="78" y="52"/>
                    </a:lnTo>
                    <a:lnTo>
                      <a:pt x="78" y="51"/>
                    </a:lnTo>
                    <a:lnTo>
                      <a:pt x="78" y="52"/>
                    </a:lnTo>
                    <a:lnTo>
                      <a:pt x="76" y="52"/>
                    </a:lnTo>
                    <a:lnTo>
                      <a:pt x="74" y="52"/>
                    </a:lnTo>
                    <a:lnTo>
                      <a:pt x="76" y="52"/>
                    </a:lnTo>
                    <a:lnTo>
                      <a:pt x="78" y="51"/>
                    </a:lnTo>
                    <a:lnTo>
                      <a:pt x="76" y="51"/>
                    </a:lnTo>
                    <a:lnTo>
                      <a:pt x="78" y="51"/>
                    </a:lnTo>
                    <a:lnTo>
                      <a:pt x="78" y="49"/>
                    </a:lnTo>
                    <a:lnTo>
                      <a:pt x="78" y="47"/>
                    </a:lnTo>
                    <a:lnTo>
                      <a:pt x="79" y="49"/>
                    </a:lnTo>
                    <a:lnTo>
                      <a:pt x="78" y="47"/>
                    </a:lnTo>
                    <a:lnTo>
                      <a:pt x="79" y="47"/>
                    </a:lnTo>
                    <a:lnTo>
                      <a:pt x="78" y="47"/>
                    </a:lnTo>
                    <a:lnTo>
                      <a:pt x="78" y="46"/>
                    </a:lnTo>
                    <a:lnTo>
                      <a:pt x="78" y="47"/>
                    </a:lnTo>
                    <a:lnTo>
                      <a:pt x="76" y="47"/>
                    </a:lnTo>
                    <a:lnTo>
                      <a:pt x="78" y="49"/>
                    </a:lnTo>
                    <a:lnTo>
                      <a:pt x="76" y="49"/>
                    </a:lnTo>
                    <a:lnTo>
                      <a:pt x="78" y="49"/>
                    </a:lnTo>
                    <a:lnTo>
                      <a:pt x="76" y="51"/>
                    </a:lnTo>
                    <a:lnTo>
                      <a:pt x="76" y="49"/>
                    </a:lnTo>
                    <a:lnTo>
                      <a:pt x="76" y="51"/>
                    </a:lnTo>
                    <a:lnTo>
                      <a:pt x="74" y="52"/>
                    </a:lnTo>
                    <a:lnTo>
                      <a:pt x="74" y="51"/>
                    </a:lnTo>
                    <a:lnTo>
                      <a:pt x="74" y="52"/>
                    </a:lnTo>
                    <a:lnTo>
                      <a:pt x="74" y="51"/>
                    </a:lnTo>
                    <a:lnTo>
                      <a:pt x="74" y="49"/>
                    </a:lnTo>
                    <a:lnTo>
                      <a:pt x="73" y="51"/>
                    </a:lnTo>
                    <a:lnTo>
                      <a:pt x="74" y="47"/>
                    </a:lnTo>
                    <a:lnTo>
                      <a:pt x="73" y="51"/>
                    </a:lnTo>
                    <a:lnTo>
                      <a:pt x="73" y="49"/>
                    </a:lnTo>
                    <a:lnTo>
                      <a:pt x="73" y="51"/>
                    </a:lnTo>
                    <a:lnTo>
                      <a:pt x="71" y="51"/>
                    </a:lnTo>
                    <a:lnTo>
                      <a:pt x="73" y="51"/>
                    </a:lnTo>
                    <a:lnTo>
                      <a:pt x="73" y="52"/>
                    </a:lnTo>
                    <a:lnTo>
                      <a:pt x="71" y="52"/>
                    </a:lnTo>
                    <a:lnTo>
                      <a:pt x="71" y="54"/>
                    </a:lnTo>
                    <a:lnTo>
                      <a:pt x="71" y="51"/>
                    </a:lnTo>
                    <a:lnTo>
                      <a:pt x="71" y="52"/>
                    </a:lnTo>
                    <a:lnTo>
                      <a:pt x="71" y="54"/>
                    </a:lnTo>
                    <a:lnTo>
                      <a:pt x="68" y="52"/>
                    </a:lnTo>
                    <a:lnTo>
                      <a:pt x="69" y="56"/>
                    </a:lnTo>
                    <a:lnTo>
                      <a:pt x="68" y="54"/>
                    </a:lnTo>
                    <a:lnTo>
                      <a:pt x="69" y="56"/>
                    </a:lnTo>
                    <a:lnTo>
                      <a:pt x="68" y="56"/>
                    </a:lnTo>
                    <a:lnTo>
                      <a:pt x="68" y="54"/>
                    </a:lnTo>
                    <a:lnTo>
                      <a:pt x="66" y="54"/>
                    </a:lnTo>
                    <a:lnTo>
                      <a:pt x="66" y="58"/>
                    </a:lnTo>
                    <a:lnTo>
                      <a:pt x="66" y="56"/>
                    </a:lnTo>
                    <a:lnTo>
                      <a:pt x="66" y="58"/>
                    </a:lnTo>
                    <a:lnTo>
                      <a:pt x="64" y="54"/>
                    </a:lnTo>
                    <a:lnTo>
                      <a:pt x="66" y="54"/>
                    </a:lnTo>
                    <a:lnTo>
                      <a:pt x="64" y="54"/>
                    </a:lnTo>
                    <a:lnTo>
                      <a:pt x="66" y="52"/>
                    </a:lnTo>
                    <a:lnTo>
                      <a:pt x="66" y="51"/>
                    </a:lnTo>
                    <a:lnTo>
                      <a:pt x="68" y="51"/>
                    </a:lnTo>
                    <a:lnTo>
                      <a:pt x="66" y="51"/>
                    </a:lnTo>
                    <a:lnTo>
                      <a:pt x="64" y="52"/>
                    </a:lnTo>
                    <a:lnTo>
                      <a:pt x="62" y="52"/>
                    </a:lnTo>
                    <a:lnTo>
                      <a:pt x="62" y="51"/>
                    </a:lnTo>
                    <a:lnTo>
                      <a:pt x="62" y="49"/>
                    </a:lnTo>
                    <a:lnTo>
                      <a:pt x="64" y="49"/>
                    </a:lnTo>
                    <a:lnTo>
                      <a:pt x="62" y="49"/>
                    </a:lnTo>
                    <a:lnTo>
                      <a:pt x="61" y="51"/>
                    </a:lnTo>
                    <a:lnTo>
                      <a:pt x="61" y="47"/>
                    </a:lnTo>
                    <a:lnTo>
                      <a:pt x="59" y="49"/>
                    </a:lnTo>
                    <a:lnTo>
                      <a:pt x="61" y="46"/>
                    </a:lnTo>
                    <a:lnTo>
                      <a:pt x="64" y="42"/>
                    </a:lnTo>
                    <a:lnTo>
                      <a:pt x="66" y="42"/>
                    </a:lnTo>
                    <a:lnTo>
                      <a:pt x="68" y="41"/>
                    </a:lnTo>
                    <a:lnTo>
                      <a:pt x="69" y="41"/>
                    </a:lnTo>
                    <a:lnTo>
                      <a:pt x="73" y="41"/>
                    </a:lnTo>
                    <a:lnTo>
                      <a:pt x="79" y="41"/>
                    </a:lnTo>
                    <a:lnTo>
                      <a:pt x="81" y="39"/>
                    </a:lnTo>
                    <a:lnTo>
                      <a:pt x="85" y="37"/>
                    </a:lnTo>
                    <a:lnTo>
                      <a:pt x="86" y="37"/>
                    </a:lnTo>
                    <a:lnTo>
                      <a:pt x="88" y="37"/>
                    </a:lnTo>
                    <a:lnTo>
                      <a:pt x="86" y="35"/>
                    </a:lnTo>
                    <a:lnTo>
                      <a:pt x="85" y="35"/>
                    </a:lnTo>
                    <a:lnTo>
                      <a:pt x="81" y="35"/>
                    </a:lnTo>
                    <a:lnTo>
                      <a:pt x="78" y="39"/>
                    </a:lnTo>
                    <a:lnTo>
                      <a:pt x="73" y="39"/>
                    </a:lnTo>
                    <a:lnTo>
                      <a:pt x="71" y="37"/>
                    </a:lnTo>
                    <a:lnTo>
                      <a:pt x="68" y="37"/>
                    </a:lnTo>
                    <a:lnTo>
                      <a:pt x="66" y="37"/>
                    </a:lnTo>
                    <a:lnTo>
                      <a:pt x="62" y="37"/>
                    </a:lnTo>
                    <a:lnTo>
                      <a:pt x="61" y="41"/>
                    </a:lnTo>
                    <a:lnTo>
                      <a:pt x="59" y="39"/>
                    </a:lnTo>
                    <a:lnTo>
                      <a:pt x="59" y="41"/>
                    </a:lnTo>
                    <a:lnTo>
                      <a:pt x="57" y="42"/>
                    </a:lnTo>
                    <a:lnTo>
                      <a:pt x="54" y="44"/>
                    </a:lnTo>
                    <a:lnTo>
                      <a:pt x="51" y="46"/>
                    </a:lnTo>
                    <a:lnTo>
                      <a:pt x="45" y="47"/>
                    </a:lnTo>
                    <a:lnTo>
                      <a:pt x="47" y="44"/>
                    </a:lnTo>
                    <a:lnTo>
                      <a:pt x="45" y="44"/>
                    </a:lnTo>
                    <a:lnTo>
                      <a:pt x="44" y="46"/>
                    </a:lnTo>
                    <a:lnTo>
                      <a:pt x="42" y="46"/>
                    </a:lnTo>
                    <a:lnTo>
                      <a:pt x="42" y="47"/>
                    </a:lnTo>
                    <a:lnTo>
                      <a:pt x="40" y="47"/>
                    </a:lnTo>
                    <a:lnTo>
                      <a:pt x="39" y="47"/>
                    </a:lnTo>
                    <a:lnTo>
                      <a:pt x="39" y="46"/>
                    </a:lnTo>
                    <a:lnTo>
                      <a:pt x="40" y="44"/>
                    </a:lnTo>
                    <a:lnTo>
                      <a:pt x="40" y="41"/>
                    </a:lnTo>
                    <a:lnTo>
                      <a:pt x="44" y="35"/>
                    </a:lnTo>
                    <a:lnTo>
                      <a:pt x="45" y="35"/>
                    </a:lnTo>
                    <a:lnTo>
                      <a:pt x="47" y="34"/>
                    </a:lnTo>
                    <a:lnTo>
                      <a:pt x="44" y="34"/>
                    </a:lnTo>
                    <a:lnTo>
                      <a:pt x="42" y="35"/>
                    </a:lnTo>
                    <a:lnTo>
                      <a:pt x="40" y="35"/>
                    </a:lnTo>
                    <a:lnTo>
                      <a:pt x="39" y="35"/>
                    </a:lnTo>
                    <a:lnTo>
                      <a:pt x="39" y="34"/>
                    </a:lnTo>
                    <a:lnTo>
                      <a:pt x="37" y="32"/>
                    </a:lnTo>
                    <a:lnTo>
                      <a:pt x="37" y="34"/>
                    </a:lnTo>
                    <a:lnTo>
                      <a:pt x="39" y="35"/>
                    </a:lnTo>
                    <a:lnTo>
                      <a:pt x="40" y="37"/>
                    </a:lnTo>
                    <a:lnTo>
                      <a:pt x="37" y="39"/>
                    </a:lnTo>
                    <a:lnTo>
                      <a:pt x="34" y="39"/>
                    </a:lnTo>
                    <a:lnTo>
                      <a:pt x="32" y="41"/>
                    </a:lnTo>
                    <a:lnTo>
                      <a:pt x="30" y="39"/>
                    </a:lnTo>
                    <a:lnTo>
                      <a:pt x="25" y="39"/>
                    </a:lnTo>
                    <a:lnTo>
                      <a:pt x="23" y="35"/>
                    </a:lnTo>
                    <a:lnTo>
                      <a:pt x="22" y="34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18" y="29"/>
                    </a:lnTo>
                    <a:lnTo>
                      <a:pt x="20" y="27"/>
                    </a:lnTo>
                    <a:lnTo>
                      <a:pt x="23" y="25"/>
                    </a:lnTo>
                    <a:lnTo>
                      <a:pt x="25" y="22"/>
                    </a:lnTo>
                    <a:lnTo>
                      <a:pt x="30" y="20"/>
                    </a:lnTo>
                    <a:lnTo>
                      <a:pt x="27" y="20"/>
                    </a:lnTo>
                    <a:lnTo>
                      <a:pt x="22" y="24"/>
                    </a:lnTo>
                    <a:lnTo>
                      <a:pt x="20" y="24"/>
                    </a:lnTo>
                    <a:lnTo>
                      <a:pt x="22" y="22"/>
                    </a:lnTo>
                    <a:lnTo>
                      <a:pt x="20" y="22"/>
                    </a:lnTo>
                    <a:lnTo>
                      <a:pt x="20" y="24"/>
                    </a:lnTo>
                    <a:lnTo>
                      <a:pt x="18" y="25"/>
                    </a:lnTo>
                    <a:lnTo>
                      <a:pt x="17" y="24"/>
                    </a:lnTo>
                    <a:lnTo>
                      <a:pt x="17" y="25"/>
                    </a:lnTo>
                    <a:lnTo>
                      <a:pt x="15" y="25"/>
                    </a:lnTo>
                    <a:lnTo>
                      <a:pt x="13" y="25"/>
                    </a:lnTo>
                    <a:lnTo>
                      <a:pt x="10" y="22"/>
                    </a:lnTo>
                    <a:lnTo>
                      <a:pt x="6" y="20"/>
                    </a:lnTo>
                    <a:lnTo>
                      <a:pt x="3" y="17"/>
                    </a:lnTo>
                    <a:lnTo>
                      <a:pt x="3" y="18"/>
                    </a:lnTo>
                    <a:lnTo>
                      <a:pt x="1" y="17"/>
                    </a:lnTo>
                    <a:lnTo>
                      <a:pt x="0" y="17"/>
                    </a:lnTo>
                    <a:lnTo>
                      <a:pt x="1" y="17"/>
                    </a:lnTo>
                    <a:lnTo>
                      <a:pt x="6" y="17"/>
                    </a:lnTo>
                    <a:lnTo>
                      <a:pt x="10" y="17"/>
                    </a:lnTo>
                    <a:lnTo>
                      <a:pt x="15" y="15"/>
                    </a:lnTo>
                    <a:lnTo>
                      <a:pt x="17" y="17"/>
                    </a:lnTo>
                    <a:lnTo>
                      <a:pt x="18" y="15"/>
                    </a:lnTo>
                    <a:lnTo>
                      <a:pt x="27" y="12"/>
                    </a:lnTo>
                    <a:lnTo>
                      <a:pt x="28" y="12"/>
                    </a:lnTo>
                    <a:lnTo>
                      <a:pt x="32" y="10"/>
                    </a:lnTo>
                    <a:lnTo>
                      <a:pt x="35" y="10"/>
                    </a:lnTo>
                    <a:lnTo>
                      <a:pt x="39" y="12"/>
                    </a:lnTo>
                    <a:lnTo>
                      <a:pt x="42" y="12"/>
                    </a:lnTo>
                    <a:lnTo>
                      <a:pt x="54" y="13"/>
                    </a:lnTo>
                    <a:lnTo>
                      <a:pt x="64" y="8"/>
                    </a:lnTo>
                    <a:lnTo>
                      <a:pt x="71" y="3"/>
                    </a:lnTo>
                    <a:lnTo>
                      <a:pt x="79" y="0"/>
                    </a:lnTo>
                    <a:lnTo>
                      <a:pt x="91" y="0"/>
                    </a:lnTo>
                    <a:lnTo>
                      <a:pt x="93" y="0"/>
                    </a:lnTo>
                    <a:lnTo>
                      <a:pt x="105" y="0"/>
                    </a:lnTo>
                    <a:lnTo>
                      <a:pt x="120" y="0"/>
                    </a:lnTo>
                    <a:lnTo>
                      <a:pt x="122" y="0"/>
                    </a:lnTo>
                    <a:lnTo>
                      <a:pt x="132" y="0"/>
                    </a:lnTo>
                    <a:lnTo>
                      <a:pt x="153" y="0"/>
                    </a:lnTo>
                    <a:close/>
                    <a:moveTo>
                      <a:pt x="34" y="76"/>
                    </a:moveTo>
                    <a:lnTo>
                      <a:pt x="34" y="78"/>
                    </a:lnTo>
                    <a:lnTo>
                      <a:pt x="35" y="80"/>
                    </a:lnTo>
                    <a:lnTo>
                      <a:pt x="34" y="80"/>
                    </a:lnTo>
                    <a:lnTo>
                      <a:pt x="35" y="81"/>
                    </a:lnTo>
                    <a:lnTo>
                      <a:pt x="34" y="81"/>
                    </a:lnTo>
                    <a:lnTo>
                      <a:pt x="34" y="83"/>
                    </a:lnTo>
                    <a:lnTo>
                      <a:pt x="30" y="83"/>
                    </a:lnTo>
                    <a:lnTo>
                      <a:pt x="28" y="83"/>
                    </a:lnTo>
                    <a:lnTo>
                      <a:pt x="23" y="81"/>
                    </a:lnTo>
                    <a:lnTo>
                      <a:pt x="25" y="80"/>
                    </a:lnTo>
                    <a:lnTo>
                      <a:pt x="27" y="78"/>
                    </a:lnTo>
                    <a:lnTo>
                      <a:pt x="25" y="80"/>
                    </a:lnTo>
                    <a:lnTo>
                      <a:pt x="27" y="80"/>
                    </a:lnTo>
                    <a:lnTo>
                      <a:pt x="28" y="76"/>
                    </a:lnTo>
                    <a:lnTo>
                      <a:pt x="30" y="76"/>
                    </a:lnTo>
                    <a:lnTo>
                      <a:pt x="30" y="75"/>
                    </a:lnTo>
                    <a:lnTo>
                      <a:pt x="34" y="76"/>
                    </a:lnTo>
                    <a:close/>
                    <a:moveTo>
                      <a:pt x="37" y="41"/>
                    </a:moveTo>
                    <a:lnTo>
                      <a:pt x="35" y="47"/>
                    </a:lnTo>
                    <a:lnTo>
                      <a:pt x="32" y="47"/>
                    </a:lnTo>
                    <a:lnTo>
                      <a:pt x="32" y="46"/>
                    </a:lnTo>
                    <a:lnTo>
                      <a:pt x="28" y="44"/>
                    </a:lnTo>
                    <a:lnTo>
                      <a:pt x="28" y="41"/>
                    </a:lnTo>
                    <a:lnTo>
                      <a:pt x="32" y="41"/>
                    </a:lnTo>
                    <a:lnTo>
                      <a:pt x="35" y="41"/>
                    </a:lnTo>
                    <a:lnTo>
                      <a:pt x="37" y="41"/>
                    </a:lnTo>
                    <a:close/>
                    <a:moveTo>
                      <a:pt x="40" y="59"/>
                    </a:moveTo>
                    <a:lnTo>
                      <a:pt x="42" y="63"/>
                    </a:lnTo>
                    <a:lnTo>
                      <a:pt x="39" y="63"/>
                    </a:lnTo>
                    <a:lnTo>
                      <a:pt x="39" y="64"/>
                    </a:lnTo>
                    <a:lnTo>
                      <a:pt x="39" y="63"/>
                    </a:lnTo>
                    <a:lnTo>
                      <a:pt x="37" y="63"/>
                    </a:lnTo>
                    <a:lnTo>
                      <a:pt x="35" y="64"/>
                    </a:lnTo>
                    <a:lnTo>
                      <a:pt x="32" y="63"/>
                    </a:lnTo>
                    <a:lnTo>
                      <a:pt x="35" y="59"/>
                    </a:lnTo>
                    <a:lnTo>
                      <a:pt x="37" y="59"/>
                    </a:lnTo>
                    <a:lnTo>
                      <a:pt x="39" y="59"/>
                    </a:lnTo>
                    <a:lnTo>
                      <a:pt x="40" y="59"/>
                    </a:lnTo>
                    <a:close/>
                    <a:moveTo>
                      <a:pt x="23" y="56"/>
                    </a:moveTo>
                    <a:lnTo>
                      <a:pt x="25" y="58"/>
                    </a:lnTo>
                    <a:lnTo>
                      <a:pt x="23" y="61"/>
                    </a:lnTo>
                    <a:lnTo>
                      <a:pt x="22" y="61"/>
                    </a:lnTo>
                    <a:lnTo>
                      <a:pt x="20" y="59"/>
                    </a:lnTo>
                    <a:lnTo>
                      <a:pt x="17" y="61"/>
                    </a:lnTo>
                    <a:lnTo>
                      <a:pt x="15" y="59"/>
                    </a:lnTo>
                    <a:lnTo>
                      <a:pt x="17" y="58"/>
                    </a:lnTo>
                    <a:lnTo>
                      <a:pt x="20" y="58"/>
                    </a:lnTo>
                    <a:lnTo>
                      <a:pt x="22" y="56"/>
                    </a:lnTo>
                    <a:lnTo>
                      <a:pt x="23" y="56"/>
                    </a:lnTo>
                    <a:close/>
                    <a:moveTo>
                      <a:pt x="54" y="73"/>
                    </a:moveTo>
                    <a:lnTo>
                      <a:pt x="52" y="73"/>
                    </a:lnTo>
                    <a:lnTo>
                      <a:pt x="52" y="75"/>
                    </a:lnTo>
                    <a:lnTo>
                      <a:pt x="51" y="73"/>
                    </a:lnTo>
                    <a:lnTo>
                      <a:pt x="51" y="75"/>
                    </a:lnTo>
                    <a:lnTo>
                      <a:pt x="51" y="76"/>
                    </a:lnTo>
                    <a:lnTo>
                      <a:pt x="49" y="76"/>
                    </a:lnTo>
                    <a:lnTo>
                      <a:pt x="47" y="75"/>
                    </a:lnTo>
                    <a:lnTo>
                      <a:pt x="49" y="75"/>
                    </a:lnTo>
                    <a:lnTo>
                      <a:pt x="47" y="73"/>
                    </a:lnTo>
                    <a:lnTo>
                      <a:pt x="49" y="73"/>
                    </a:lnTo>
                    <a:lnTo>
                      <a:pt x="49" y="71"/>
                    </a:lnTo>
                    <a:lnTo>
                      <a:pt x="51" y="71"/>
                    </a:lnTo>
                    <a:lnTo>
                      <a:pt x="51" y="69"/>
                    </a:lnTo>
                    <a:lnTo>
                      <a:pt x="54" y="69"/>
                    </a:lnTo>
                    <a:lnTo>
                      <a:pt x="54" y="73"/>
                    </a:lnTo>
                    <a:close/>
                    <a:moveTo>
                      <a:pt x="42" y="76"/>
                    </a:moveTo>
                    <a:lnTo>
                      <a:pt x="42" y="81"/>
                    </a:lnTo>
                    <a:lnTo>
                      <a:pt x="42" y="83"/>
                    </a:lnTo>
                    <a:lnTo>
                      <a:pt x="37" y="83"/>
                    </a:lnTo>
                    <a:lnTo>
                      <a:pt x="40" y="80"/>
                    </a:lnTo>
                    <a:lnTo>
                      <a:pt x="37" y="81"/>
                    </a:lnTo>
                    <a:lnTo>
                      <a:pt x="40" y="78"/>
                    </a:lnTo>
                    <a:lnTo>
                      <a:pt x="39" y="78"/>
                    </a:lnTo>
                    <a:lnTo>
                      <a:pt x="37" y="76"/>
                    </a:lnTo>
                    <a:lnTo>
                      <a:pt x="39" y="76"/>
                    </a:lnTo>
                    <a:lnTo>
                      <a:pt x="39" y="75"/>
                    </a:lnTo>
                    <a:lnTo>
                      <a:pt x="42" y="76"/>
                    </a:lnTo>
                    <a:close/>
                    <a:moveTo>
                      <a:pt x="28" y="41"/>
                    </a:moveTo>
                    <a:lnTo>
                      <a:pt x="25" y="42"/>
                    </a:lnTo>
                    <a:lnTo>
                      <a:pt x="20" y="42"/>
                    </a:lnTo>
                    <a:lnTo>
                      <a:pt x="20" y="41"/>
                    </a:lnTo>
                    <a:lnTo>
                      <a:pt x="22" y="39"/>
                    </a:lnTo>
                    <a:lnTo>
                      <a:pt x="22" y="35"/>
                    </a:lnTo>
                    <a:lnTo>
                      <a:pt x="25" y="39"/>
                    </a:lnTo>
                    <a:lnTo>
                      <a:pt x="28" y="41"/>
                    </a:lnTo>
                    <a:close/>
                    <a:moveTo>
                      <a:pt x="62" y="54"/>
                    </a:moveTo>
                    <a:lnTo>
                      <a:pt x="62" y="56"/>
                    </a:lnTo>
                    <a:lnTo>
                      <a:pt x="64" y="58"/>
                    </a:lnTo>
                    <a:lnTo>
                      <a:pt x="62" y="58"/>
                    </a:lnTo>
                    <a:lnTo>
                      <a:pt x="62" y="56"/>
                    </a:lnTo>
                    <a:lnTo>
                      <a:pt x="61" y="58"/>
                    </a:lnTo>
                    <a:lnTo>
                      <a:pt x="59" y="58"/>
                    </a:lnTo>
                    <a:lnTo>
                      <a:pt x="59" y="59"/>
                    </a:lnTo>
                    <a:lnTo>
                      <a:pt x="61" y="59"/>
                    </a:lnTo>
                    <a:lnTo>
                      <a:pt x="59" y="59"/>
                    </a:lnTo>
                    <a:lnTo>
                      <a:pt x="56" y="59"/>
                    </a:lnTo>
                    <a:lnTo>
                      <a:pt x="56" y="58"/>
                    </a:lnTo>
                    <a:lnTo>
                      <a:pt x="57" y="56"/>
                    </a:lnTo>
                    <a:lnTo>
                      <a:pt x="59" y="56"/>
                    </a:lnTo>
                    <a:lnTo>
                      <a:pt x="61" y="54"/>
                    </a:lnTo>
                    <a:lnTo>
                      <a:pt x="64" y="52"/>
                    </a:lnTo>
                    <a:lnTo>
                      <a:pt x="62" y="54"/>
                    </a:lnTo>
                    <a:close/>
                    <a:moveTo>
                      <a:pt x="27" y="69"/>
                    </a:moveTo>
                    <a:lnTo>
                      <a:pt x="27" y="71"/>
                    </a:lnTo>
                    <a:lnTo>
                      <a:pt x="27" y="69"/>
                    </a:lnTo>
                    <a:lnTo>
                      <a:pt x="28" y="71"/>
                    </a:lnTo>
                    <a:lnTo>
                      <a:pt x="28" y="73"/>
                    </a:lnTo>
                    <a:lnTo>
                      <a:pt x="27" y="75"/>
                    </a:lnTo>
                    <a:lnTo>
                      <a:pt x="23" y="75"/>
                    </a:lnTo>
                    <a:lnTo>
                      <a:pt x="22" y="73"/>
                    </a:lnTo>
                    <a:lnTo>
                      <a:pt x="23" y="71"/>
                    </a:lnTo>
                    <a:lnTo>
                      <a:pt x="25" y="71"/>
                    </a:lnTo>
                    <a:lnTo>
                      <a:pt x="25" y="69"/>
                    </a:lnTo>
                    <a:lnTo>
                      <a:pt x="27" y="69"/>
                    </a:lnTo>
                    <a:close/>
                    <a:moveTo>
                      <a:pt x="37" y="76"/>
                    </a:moveTo>
                    <a:lnTo>
                      <a:pt x="39" y="80"/>
                    </a:lnTo>
                    <a:lnTo>
                      <a:pt x="37" y="81"/>
                    </a:lnTo>
                    <a:lnTo>
                      <a:pt x="35" y="81"/>
                    </a:lnTo>
                    <a:lnTo>
                      <a:pt x="35" y="80"/>
                    </a:lnTo>
                    <a:lnTo>
                      <a:pt x="35" y="78"/>
                    </a:lnTo>
                    <a:lnTo>
                      <a:pt x="35" y="80"/>
                    </a:lnTo>
                    <a:lnTo>
                      <a:pt x="34" y="78"/>
                    </a:lnTo>
                    <a:lnTo>
                      <a:pt x="35" y="75"/>
                    </a:lnTo>
                    <a:lnTo>
                      <a:pt x="35" y="76"/>
                    </a:lnTo>
                    <a:lnTo>
                      <a:pt x="37" y="75"/>
                    </a:lnTo>
                    <a:lnTo>
                      <a:pt x="37" y="76"/>
                    </a:lnTo>
                    <a:close/>
                    <a:moveTo>
                      <a:pt x="28" y="59"/>
                    </a:moveTo>
                    <a:lnTo>
                      <a:pt x="25" y="63"/>
                    </a:lnTo>
                    <a:lnTo>
                      <a:pt x="22" y="63"/>
                    </a:lnTo>
                    <a:lnTo>
                      <a:pt x="23" y="61"/>
                    </a:lnTo>
                    <a:lnTo>
                      <a:pt x="25" y="59"/>
                    </a:lnTo>
                    <a:lnTo>
                      <a:pt x="28" y="58"/>
                    </a:lnTo>
                    <a:lnTo>
                      <a:pt x="28" y="59"/>
                    </a:lnTo>
                    <a:close/>
                    <a:moveTo>
                      <a:pt x="45" y="71"/>
                    </a:moveTo>
                    <a:lnTo>
                      <a:pt x="44" y="71"/>
                    </a:lnTo>
                    <a:lnTo>
                      <a:pt x="45" y="73"/>
                    </a:lnTo>
                    <a:lnTo>
                      <a:pt x="44" y="73"/>
                    </a:lnTo>
                    <a:lnTo>
                      <a:pt x="45" y="73"/>
                    </a:lnTo>
                    <a:lnTo>
                      <a:pt x="45" y="75"/>
                    </a:lnTo>
                    <a:lnTo>
                      <a:pt x="44" y="75"/>
                    </a:lnTo>
                    <a:lnTo>
                      <a:pt x="42" y="75"/>
                    </a:lnTo>
                    <a:lnTo>
                      <a:pt x="44" y="69"/>
                    </a:lnTo>
                    <a:lnTo>
                      <a:pt x="45" y="69"/>
                    </a:lnTo>
                    <a:lnTo>
                      <a:pt x="45" y="71"/>
                    </a:lnTo>
                    <a:close/>
                    <a:moveTo>
                      <a:pt x="40" y="56"/>
                    </a:moveTo>
                    <a:lnTo>
                      <a:pt x="42" y="58"/>
                    </a:lnTo>
                    <a:lnTo>
                      <a:pt x="40" y="59"/>
                    </a:lnTo>
                    <a:lnTo>
                      <a:pt x="39" y="58"/>
                    </a:lnTo>
                    <a:lnTo>
                      <a:pt x="39" y="56"/>
                    </a:lnTo>
                    <a:lnTo>
                      <a:pt x="37" y="56"/>
                    </a:lnTo>
                    <a:lnTo>
                      <a:pt x="39" y="54"/>
                    </a:lnTo>
                    <a:lnTo>
                      <a:pt x="40" y="56"/>
                    </a:lnTo>
                    <a:close/>
                    <a:moveTo>
                      <a:pt x="35" y="69"/>
                    </a:moveTo>
                    <a:lnTo>
                      <a:pt x="34" y="69"/>
                    </a:lnTo>
                    <a:lnTo>
                      <a:pt x="35" y="69"/>
                    </a:lnTo>
                    <a:lnTo>
                      <a:pt x="34" y="68"/>
                    </a:lnTo>
                    <a:lnTo>
                      <a:pt x="32" y="71"/>
                    </a:lnTo>
                    <a:lnTo>
                      <a:pt x="30" y="69"/>
                    </a:lnTo>
                    <a:lnTo>
                      <a:pt x="30" y="68"/>
                    </a:lnTo>
                    <a:lnTo>
                      <a:pt x="32" y="68"/>
                    </a:lnTo>
                    <a:lnTo>
                      <a:pt x="35" y="68"/>
                    </a:lnTo>
                    <a:lnTo>
                      <a:pt x="35" y="69"/>
                    </a:lnTo>
                    <a:close/>
                    <a:moveTo>
                      <a:pt x="34" y="64"/>
                    </a:moveTo>
                    <a:lnTo>
                      <a:pt x="32" y="64"/>
                    </a:lnTo>
                    <a:lnTo>
                      <a:pt x="32" y="66"/>
                    </a:lnTo>
                    <a:lnTo>
                      <a:pt x="30" y="66"/>
                    </a:lnTo>
                    <a:lnTo>
                      <a:pt x="28" y="66"/>
                    </a:lnTo>
                    <a:lnTo>
                      <a:pt x="28" y="64"/>
                    </a:lnTo>
                    <a:lnTo>
                      <a:pt x="32" y="64"/>
                    </a:lnTo>
                    <a:lnTo>
                      <a:pt x="34" y="64"/>
                    </a:lnTo>
                    <a:close/>
                    <a:moveTo>
                      <a:pt x="54" y="61"/>
                    </a:moveTo>
                    <a:lnTo>
                      <a:pt x="54" y="63"/>
                    </a:lnTo>
                    <a:lnTo>
                      <a:pt x="52" y="63"/>
                    </a:lnTo>
                    <a:lnTo>
                      <a:pt x="51" y="63"/>
                    </a:lnTo>
                    <a:lnTo>
                      <a:pt x="52" y="61"/>
                    </a:lnTo>
                    <a:lnTo>
                      <a:pt x="52" y="59"/>
                    </a:lnTo>
                    <a:lnTo>
                      <a:pt x="54" y="59"/>
                    </a:lnTo>
                    <a:lnTo>
                      <a:pt x="54" y="61"/>
                    </a:lnTo>
                    <a:close/>
                    <a:moveTo>
                      <a:pt x="39" y="58"/>
                    </a:moveTo>
                    <a:lnTo>
                      <a:pt x="37" y="59"/>
                    </a:lnTo>
                    <a:lnTo>
                      <a:pt x="35" y="58"/>
                    </a:lnTo>
                    <a:lnTo>
                      <a:pt x="37" y="56"/>
                    </a:lnTo>
                    <a:lnTo>
                      <a:pt x="39" y="58"/>
                    </a:lnTo>
                    <a:close/>
                    <a:moveTo>
                      <a:pt x="47" y="68"/>
                    </a:moveTo>
                    <a:lnTo>
                      <a:pt x="47" y="69"/>
                    </a:lnTo>
                    <a:lnTo>
                      <a:pt x="45" y="69"/>
                    </a:lnTo>
                    <a:lnTo>
                      <a:pt x="45" y="68"/>
                    </a:lnTo>
                    <a:lnTo>
                      <a:pt x="47" y="66"/>
                    </a:lnTo>
                    <a:lnTo>
                      <a:pt x="47" y="68"/>
                    </a:lnTo>
                    <a:close/>
                    <a:moveTo>
                      <a:pt x="71" y="71"/>
                    </a:moveTo>
                    <a:lnTo>
                      <a:pt x="71" y="73"/>
                    </a:lnTo>
                    <a:lnTo>
                      <a:pt x="68" y="73"/>
                    </a:lnTo>
                    <a:lnTo>
                      <a:pt x="66" y="73"/>
                    </a:lnTo>
                    <a:lnTo>
                      <a:pt x="68" y="73"/>
                    </a:lnTo>
                    <a:lnTo>
                      <a:pt x="69" y="71"/>
                    </a:lnTo>
                    <a:lnTo>
                      <a:pt x="71" y="71"/>
                    </a:lnTo>
                    <a:close/>
                    <a:moveTo>
                      <a:pt x="17" y="71"/>
                    </a:moveTo>
                    <a:lnTo>
                      <a:pt x="11" y="71"/>
                    </a:lnTo>
                    <a:lnTo>
                      <a:pt x="13" y="69"/>
                    </a:lnTo>
                    <a:lnTo>
                      <a:pt x="17" y="71"/>
                    </a:lnTo>
                    <a:close/>
                    <a:moveTo>
                      <a:pt x="42" y="66"/>
                    </a:moveTo>
                    <a:lnTo>
                      <a:pt x="45" y="66"/>
                    </a:lnTo>
                    <a:lnTo>
                      <a:pt x="45" y="69"/>
                    </a:lnTo>
                    <a:lnTo>
                      <a:pt x="42" y="69"/>
                    </a:lnTo>
                    <a:lnTo>
                      <a:pt x="42" y="66"/>
                    </a:lnTo>
                    <a:close/>
                    <a:moveTo>
                      <a:pt x="42" y="37"/>
                    </a:moveTo>
                    <a:lnTo>
                      <a:pt x="42" y="35"/>
                    </a:lnTo>
                    <a:lnTo>
                      <a:pt x="45" y="34"/>
                    </a:lnTo>
                    <a:lnTo>
                      <a:pt x="42" y="37"/>
                    </a:lnTo>
                    <a:close/>
                    <a:moveTo>
                      <a:pt x="64" y="41"/>
                    </a:moveTo>
                    <a:lnTo>
                      <a:pt x="66" y="41"/>
                    </a:lnTo>
                    <a:lnTo>
                      <a:pt x="66" y="42"/>
                    </a:lnTo>
                    <a:lnTo>
                      <a:pt x="64" y="42"/>
                    </a:lnTo>
                    <a:lnTo>
                      <a:pt x="64" y="41"/>
                    </a:lnTo>
                    <a:close/>
                    <a:moveTo>
                      <a:pt x="39" y="83"/>
                    </a:moveTo>
                    <a:lnTo>
                      <a:pt x="35" y="83"/>
                    </a:lnTo>
                    <a:lnTo>
                      <a:pt x="39" y="83"/>
                    </a:lnTo>
                    <a:close/>
                    <a:moveTo>
                      <a:pt x="54" y="83"/>
                    </a:moveTo>
                    <a:lnTo>
                      <a:pt x="56" y="83"/>
                    </a:lnTo>
                    <a:lnTo>
                      <a:pt x="54" y="83"/>
                    </a:lnTo>
                    <a:close/>
                    <a:moveTo>
                      <a:pt x="39" y="58"/>
                    </a:moveTo>
                    <a:lnTo>
                      <a:pt x="40" y="58"/>
                    </a:lnTo>
                    <a:lnTo>
                      <a:pt x="40" y="59"/>
                    </a:lnTo>
                    <a:lnTo>
                      <a:pt x="39" y="59"/>
                    </a:lnTo>
                    <a:lnTo>
                      <a:pt x="39" y="58"/>
                    </a:lnTo>
                    <a:close/>
                    <a:moveTo>
                      <a:pt x="37" y="42"/>
                    </a:moveTo>
                    <a:lnTo>
                      <a:pt x="37" y="44"/>
                    </a:lnTo>
                    <a:lnTo>
                      <a:pt x="37" y="42"/>
                    </a:lnTo>
                    <a:close/>
                    <a:moveTo>
                      <a:pt x="52" y="85"/>
                    </a:moveTo>
                    <a:lnTo>
                      <a:pt x="54" y="85"/>
                    </a:lnTo>
                    <a:lnTo>
                      <a:pt x="54" y="86"/>
                    </a:lnTo>
                    <a:lnTo>
                      <a:pt x="52" y="86"/>
                    </a:lnTo>
                    <a:lnTo>
                      <a:pt x="52" y="85"/>
                    </a:lnTo>
                    <a:close/>
                    <a:moveTo>
                      <a:pt x="17" y="69"/>
                    </a:moveTo>
                    <a:lnTo>
                      <a:pt x="18" y="69"/>
                    </a:lnTo>
                    <a:lnTo>
                      <a:pt x="18" y="71"/>
                    </a:lnTo>
                    <a:lnTo>
                      <a:pt x="17" y="71"/>
                    </a:lnTo>
                    <a:lnTo>
                      <a:pt x="17" y="69"/>
                    </a:lnTo>
                    <a:close/>
                    <a:moveTo>
                      <a:pt x="35" y="39"/>
                    </a:moveTo>
                    <a:lnTo>
                      <a:pt x="39" y="39"/>
                    </a:lnTo>
                    <a:lnTo>
                      <a:pt x="39" y="41"/>
                    </a:lnTo>
                    <a:lnTo>
                      <a:pt x="35" y="41"/>
                    </a:lnTo>
                    <a:lnTo>
                      <a:pt x="35" y="39"/>
                    </a:lnTo>
                    <a:close/>
                    <a:moveTo>
                      <a:pt x="27" y="68"/>
                    </a:moveTo>
                    <a:lnTo>
                      <a:pt x="28" y="68"/>
                    </a:lnTo>
                    <a:lnTo>
                      <a:pt x="27" y="68"/>
                    </a:lnTo>
                    <a:close/>
                    <a:moveTo>
                      <a:pt x="35" y="66"/>
                    </a:moveTo>
                    <a:lnTo>
                      <a:pt x="37" y="66"/>
                    </a:lnTo>
                    <a:lnTo>
                      <a:pt x="35" y="66"/>
                    </a:lnTo>
                    <a:close/>
                    <a:moveTo>
                      <a:pt x="66" y="41"/>
                    </a:moveTo>
                    <a:lnTo>
                      <a:pt x="68" y="41"/>
                    </a:lnTo>
                    <a:lnTo>
                      <a:pt x="68" y="42"/>
                    </a:lnTo>
                    <a:lnTo>
                      <a:pt x="66" y="42"/>
                    </a:lnTo>
                    <a:lnTo>
                      <a:pt x="66" y="41"/>
                    </a:lnTo>
                    <a:close/>
                    <a:moveTo>
                      <a:pt x="51" y="83"/>
                    </a:moveTo>
                    <a:lnTo>
                      <a:pt x="52" y="83"/>
                    </a:lnTo>
                    <a:lnTo>
                      <a:pt x="52" y="85"/>
                    </a:lnTo>
                    <a:lnTo>
                      <a:pt x="51" y="85"/>
                    </a:lnTo>
                    <a:lnTo>
                      <a:pt x="51" y="83"/>
                    </a:lnTo>
                    <a:close/>
                    <a:moveTo>
                      <a:pt x="22" y="63"/>
                    </a:moveTo>
                    <a:lnTo>
                      <a:pt x="22" y="64"/>
                    </a:lnTo>
                    <a:lnTo>
                      <a:pt x="22" y="63"/>
                    </a:lnTo>
                    <a:close/>
                    <a:moveTo>
                      <a:pt x="42" y="47"/>
                    </a:moveTo>
                    <a:lnTo>
                      <a:pt x="44" y="47"/>
                    </a:lnTo>
                    <a:lnTo>
                      <a:pt x="42" y="47"/>
                    </a:lnTo>
                    <a:close/>
                    <a:moveTo>
                      <a:pt x="51" y="68"/>
                    </a:moveTo>
                    <a:lnTo>
                      <a:pt x="52" y="68"/>
                    </a:lnTo>
                    <a:lnTo>
                      <a:pt x="52" y="69"/>
                    </a:lnTo>
                    <a:lnTo>
                      <a:pt x="51" y="69"/>
                    </a:lnTo>
                    <a:lnTo>
                      <a:pt x="51" y="68"/>
                    </a:lnTo>
                    <a:close/>
                    <a:moveTo>
                      <a:pt x="76" y="78"/>
                    </a:moveTo>
                    <a:lnTo>
                      <a:pt x="78" y="78"/>
                    </a:lnTo>
                    <a:lnTo>
                      <a:pt x="76" y="78"/>
                    </a:lnTo>
                    <a:close/>
                    <a:moveTo>
                      <a:pt x="51" y="69"/>
                    </a:moveTo>
                    <a:lnTo>
                      <a:pt x="51" y="71"/>
                    </a:lnTo>
                    <a:lnTo>
                      <a:pt x="51" y="69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83" name="Freeform 33">
                <a:extLst>
                  <a:ext uri="{FF2B5EF4-FFF2-40B4-BE49-F238E27FC236}">
                    <a16:creationId xmlns:a16="http://schemas.microsoft.com/office/drawing/2014/main" id="{467C13F2-2E00-4C40-9F95-6A3FCEF0BA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84502" y="2589106"/>
                <a:ext cx="490523" cy="514329"/>
              </a:xfrm>
              <a:custGeom>
                <a:avLst/>
                <a:gdLst>
                  <a:gd name="T0" fmla="*/ 168 w 309"/>
                  <a:gd name="T1" fmla="*/ 22 h 324"/>
                  <a:gd name="T2" fmla="*/ 178 w 309"/>
                  <a:gd name="T3" fmla="*/ 24 h 324"/>
                  <a:gd name="T4" fmla="*/ 180 w 309"/>
                  <a:gd name="T5" fmla="*/ 31 h 324"/>
                  <a:gd name="T6" fmla="*/ 185 w 309"/>
                  <a:gd name="T7" fmla="*/ 36 h 324"/>
                  <a:gd name="T8" fmla="*/ 192 w 309"/>
                  <a:gd name="T9" fmla="*/ 45 h 324"/>
                  <a:gd name="T10" fmla="*/ 201 w 309"/>
                  <a:gd name="T11" fmla="*/ 53 h 324"/>
                  <a:gd name="T12" fmla="*/ 211 w 309"/>
                  <a:gd name="T13" fmla="*/ 55 h 324"/>
                  <a:gd name="T14" fmla="*/ 219 w 309"/>
                  <a:gd name="T15" fmla="*/ 50 h 324"/>
                  <a:gd name="T16" fmla="*/ 238 w 309"/>
                  <a:gd name="T17" fmla="*/ 43 h 324"/>
                  <a:gd name="T18" fmla="*/ 265 w 309"/>
                  <a:gd name="T19" fmla="*/ 43 h 324"/>
                  <a:gd name="T20" fmla="*/ 279 w 309"/>
                  <a:gd name="T21" fmla="*/ 50 h 324"/>
                  <a:gd name="T22" fmla="*/ 297 w 309"/>
                  <a:gd name="T23" fmla="*/ 74 h 324"/>
                  <a:gd name="T24" fmla="*/ 301 w 309"/>
                  <a:gd name="T25" fmla="*/ 92 h 324"/>
                  <a:gd name="T26" fmla="*/ 308 w 309"/>
                  <a:gd name="T27" fmla="*/ 130 h 324"/>
                  <a:gd name="T28" fmla="*/ 292 w 309"/>
                  <a:gd name="T29" fmla="*/ 148 h 324"/>
                  <a:gd name="T30" fmla="*/ 272 w 309"/>
                  <a:gd name="T31" fmla="*/ 199 h 324"/>
                  <a:gd name="T32" fmla="*/ 280 w 309"/>
                  <a:gd name="T33" fmla="*/ 242 h 324"/>
                  <a:gd name="T34" fmla="*/ 294 w 309"/>
                  <a:gd name="T35" fmla="*/ 259 h 324"/>
                  <a:gd name="T36" fmla="*/ 296 w 309"/>
                  <a:gd name="T37" fmla="*/ 278 h 324"/>
                  <a:gd name="T38" fmla="*/ 287 w 309"/>
                  <a:gd name="T39" fmla="*/ 286 h 324"/>
                  <a:gd name="T40" fmla="*/ 223 w 309"/>
                  <a:gd name="T41" fmla="*/ 279 h 324"/>
                  <a:gd name="T42" fmla="*/ 122 w 309"/>
                  <a:gd name="T43" fmla="*/ 296 h 324"/>
                  <a:gd name="T44" fmla="*/ 85 w 309"/>
                  <a:gd name="T45" fmla="*/ 310 h 324"/>
                  <a:gd name="T46" fmla="*/ 53 w 309"/>
                  <a:gd name="T47" fmla="*/ 322 h 324"/>
                  <a:gd name="T48" fmla="*/ 53 w 309"/>
                  <a:gd name="T49" fmla="*/ 307 h 324"/>
                  <a:gd name="T50" fmla="*/ 54 w 309"/>
                  <a:gd name="T51" fmla="*/ 291 h 324"/>
                  <a:gd name="T52" fmla="*/ 61 w 309"/>
                  <a:gd name="T53" fmla="*/ 276 h 324"/>
                  <a:gd name="T54" fmla="*/ 59 w 309"/>
                  <a:gd name="T55" fmla="*/ 267 h 324"/>
                  <a:gd name="T56" fmla="*/ 59 w 309"/>
                  <a:gd name="T57" fmla="*/ 252 h 324"/>
                  <a:gd name="T58" fmla="*/ 53 w 309"/>
                  <a:gd name="T59" fmla="*/ 247 h 324"/>
                  <a:gd name="T60" fmla="*/ 42 w 309"/>
                  <a:gd name="T61" fmla="*/ 244 h 324"/>
                  <a:gd name="T62" fmla="*/ 39 w 309"/>
                  <a:gd name="T63" fmla="*/ 232 h 324"/>
                  <a:gd name="T64" fmla="*/ 22 w 309"/>
                  <a:gd name="T65" fmla="*/ 227 h 324"/>
                  <a:gd name="T66" fmla="*/ 10 w 309"/>
                  <a:gd name="T67" fmla="*/ 218 h 324"/>
                  <a:gd name="T68" fmla="*/ 3 w 309"/>
                  <a:gd name="T69" fmla="*/ 210 h 324"/>
                  <a:gd name="T70" fmla="*/ 10 w 309"/>
                  <a:gd name="T71" fmla="*/ 204 h 324"/>
                  <a:gd name="T72" fmla="*/ 15 w 309"/>
                  <a:gd name="T73" fmla="*/ 198 h 324"/>
                  <a:gd name="T74" fmla="*/ 14 w 309"/>
                  <a:gd name="T75" fmla="*/ 179 h 324"/>
                  <a:gd name="T76" fmla="*/ 12 w 309"/>
                  <a:gd name="T77" fmla="*/ 159 h 324"/>
                  <a:gd name="T78" fmla="*/ 27 w 309"/>
                  <a:gd name="T79" fmla="*/ 148 h 324"/>
                  <a:gd name="T80" fmla="*/ 31 w 309"/>
                  <a:gd name="T81" fmla="*/ 133 h 324"/>
                  <a:gd name="T82" fmla="*/ 19 w 309"/>
                  <a:gd name="T83" fmla="*/ 116 h 324"/>
                  <a:gd name="T84" fmla="*/ 36 w 309"/>
                  <a:gd name="T85" fmla="*/ 114 h 324"/>
                  <a:gd name="T86" fmla="*/ 39 w 309"/>
                  <a:gd name="T87" fmla="*/ 114 h 324"/>
                  <a:gd name="T88" fmla="*/ 37 w 309"/>
                  <a:gd name="T89" fmla="*/ 101 h 324"/>
                  <a:gd name="T90" fmla="*/ 44 w 309"/>
                  <a:gd name="T91" fmla="*/ 85 h 324"/>
                  <a:gd name="T92" fmla="*/ 36 w 309"/>
                  <a:gd name="T93" fmla="*/ 67 h 324"/>
                  <a:gd name="T94" fmla="*/ 25 w 309"/>
                  <a:gd name="T95" fmla="*/ 53 h 324"/>
                  <a:gd name="T96" fmla="*/ 24 w 309"/>
                  <a:gd name="T97" fmla="*/ 43 h 324"/>
                  <a:gd name="T98" fmla="*/ 32 w 309"/>
                  <a:gd name="T99" fmla="*/ 29 h 324"/>
                  <a:gd name="T100" fmla="*/ 42 w 309"/>
                  <a:gd name="T101" fmla="*/ 21 h 324"/>
                  <a:gd name="T102" fmla="*/ 54 w 309"/>
                  <a:gd name="T103" fmla="*/ 14 h 324"/>
                  <a:gd name="T104" fmla="*/ 73 w 309"/>
                  <a:gd name="T105" fmla="*/ 24 h 324"/>
                  <a:gd name="T106" fmla="*/ 97 w 309"/>
                  <a:gd name="T107" fmla="*/ 19 h 324"/>
                  <a:gd name="T108" fmla="*/ 102 w 309"/>
                  <a:gd name="T109" fmla="*/ 5 h 324"/>
                  <a:gd name="T110" fmla="*/ 119 w 309"/>
                  <a:gd name="T111" fmla="*/ 0 h 324"/>
                  <a:gd name="T112" fmla="*/ 121 w 309"/>
                  <a:gd name="T113" fmla="*/ 12 h 324"/>
                  <a:gd name="T114" fmla="*/ 122 w 309"/>
                  <a:gd name="T115" fmla="*/ 22 h 324"/>
                  <a:gd name="T116" fmla="*/ 136 w 309"/>
                  <a:gd name="T117" fmla="*/ 24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09" h="324">
                    <a:moveTo>
                      <a:pt x="156" y="16"/>
                    </a:moveTo>
                    <a:lnTo>
                      <a:pt x="158" y="19"/>
                    </a:lnTo>
                    <a:lnTo>
                      <a:pt x="160" y="19"/>
                    </a:lnTo>
                    <a:lnTo>
                      <a:pt x="160" y="21"/>
                    </a:lnTo>
                    <a:lnTo>
                      <a:pt x="163" y="22"/>
                    </a:lnTo>
                    <a:lnTo>
                      <a:pt x="165" y="24"/>
                    </a:lnTo>
                    <a:lnTo>
                      <a:pt x="165" y="22"/>
                    </a:lnTo>
                    <a:lnTo>
                      <a:pt x="167" y="22"/>
                    </a:lnTo>
                    <a:lnTo>
                      <a:pt x="168" y="22"/>
                    </a:lnTo>
                    <a:lnTo>
                      <a:pt x="168" y="21"/>
                    </a:lnTo>
                    <a:lnTo>
                      <a:pt x="168" y="22"/>
                    </a:lnTo>
                    <a:lnTo>
                      <a:pt x="172" y="22"/>
                    </a:lnTo>
                    <a:lnTo>
                      <a:pt x="173" y="21"/>
                    </a:lnTo>
                    <a:lnTo>
                      <a:pt x="173" y="22"/>
                    </a:lnTo>
                    <a:lnTo>
                      <a:pt x="175" y="22"/>
                    </a:lnTo>
                    <a:lnTo>
                      <a:pt x="177" y="22"/>
                    </a:lnTo>
                    <a:lnTo>
                      <a:pt x="177" y="24"/>
                    </a:lnTo>
                    <a:lnTo>
                      <a:pt x="178" y="24"/>
                    </a:lnTo>
                    <a:lnTo>
                      <a:pt x="177" y="24"/>
                    </a:lnTo>
                    <a:lnTo>
                      <a:pt x="177" y="26"/>
                    </a:lnTo>
                    <a:lnTo>
                      <a:pt x="177" y="28"/>
                    </a:lnTo>
                    <a:lnTo>
                      <a:pt x="178" y="26"/>
                    </a:lnTo>
                    <a:lnTo>
                      <a:pt x="178" y="28"/>
                    </a:lnTo>
                    <a:lnTo>
                      <a:pt x="177" y="29"/>
                    </a:lnTo>
                    <a:lnTo>
                      <a:pt x="180" y="29"/>
                    </a:lnTo>
                    <a:lnTo>
                      <a:pt x="178" y="31"/>
                    </a:lnTo>
                    <a:lnTo>
                      <a:pt x="180" y="31"/>
                    </a:lnTo>
                    <a:lnTo>
                      <a:pt x="180" y="33"/>
                    </a:lnTo>
                    <a:lnTo>
                      <a:pt x="178" y="31"/>
                    </a:lnTo>
                    <a:lnTo>
                      <a:pt x="178" y="33"/>
                    </a:lnTo>
                    <a:lnTo>
                      <a:pt x="180" y="33"/>
                    </a:lnTo>
                    <a:lnTo>
                      <a:pt x="180" y="34"/>
                    </a:lnTo>
                    <a:lnTo>
                      <a:pt x="184" y="33"/>
                    </a:lnTo>
                    <a:lnTo>
                      <a:pt x="182" y="34"/>
                    </a:lnTo>
                    <a:lnTo>
                      <a:pt x="184" y="36"/>
                    </a:lnTo>
                    <a:lnTo>
                      <a:pt x="185" y="36"/>
                    </a:lnTo>
                    <a:lnTo>
                      <a:pt x="185" y="38"/>
                    </a:lnTo>
                    <a:lnTo>
                      <a:pt x="184" y="38"/>
                    </a:lnTo>
                    <a:lnTo>
                      <a:pt x="185" y="39"/>
                    </a:lnTo>
                    <a:lnTo>
                      <a:pt x="185" y="41"/>
                    </a:lnTo>
                    <a:lnTo>
                      <a:pt x="184" y="43"/>
                    </a:lnTo>
                    <a:lnTo>
                      <a:pt x="187" y="45"/>
                    </a:lnTo>
                    <a:lnTo>
                      <a:pt x="187" y="43"/>
                    </a:lnTo>
                    <a:lnTo>
                      <a:pt x="189" y="45"/>
                    </a:lnTo>
                    <a:lnTo>
                      <a:pt x="192" y="45"/>
                    </a:lnTo>
                    <a:lnTo>
                      <a:pt x="192" y="46"/>
                    </a:lnTo>
                    <a:lnTo>
                      <a:pt x="194" y="46"/>
                    </a:lnTo>
                    <a:lnTo>
                      <a:pt x="194" y="50"/>
                    </a:lnTo>
                    <a:lnTo>
                      <a:pt x="192" y="50"/>
                    </a:lnTo>
                    <a:lnTo>
                      <a:pt x="194" y="51"/>
                    </a:lnTo>
                    <a:lnTo>
                      <a:pt x="195" y="50"/>
                    </a:lnTo>
                    <a:lnTo>
                      <a:pt x="195" y="51"/>
                    </a:lnTo>
                    <a:lnTo>
                      <a:pt x="199" y="55"/>
                    </a:lnTo>
                    <a:lnTo>
                      <a:pt x="201" y="53"/>
                    </a:lnTo>
                    <a:lnTo>
                      <a:pt x="202" y="53"/>
                    </a:lnTo>
                    <a:lnTo>
                      <a:pt x="202" y="51"/>
                    </a:lnTo>
                    <a:lnTo>
                      <a:pt x="204" y="53"/>
                    </a:lnTo>
                    <a:lnTo>
                      <a:pt x="206" y="51"/>
                    </a:lnTo>
                    <a:lnTo>
                      <a:pt x="207" y="50"/>
                    </a:lnTo>
                    <a:lnTo>
                      <a:pt x="207" y="51"/>
                    </a:lnTo>
                    <a:lnTo>
                      <a:pt x="207" y="55"/>
                    </a:lnTo>
                    <a:lnTo>
                      <a:pt x="207" y="56"/>
                    </a:lnTo>
                    <a:lnTo>
                      <a:pt x="211" y="55"/>
                    </a:lnTo>
                    <a:lnTo>
                      <a:pt x="214" y="58"/>
                    </a:lnTo>
                    <a:lnTo>
                      <a:pt x="214" y="56"/>
                    </a:lnTo>
                    <a:lnTo>
                      <a:pt x="216" y="56"/>
                    </a:lnTo>
                    <a:lnTo>
                      <a:pt x="218" y="58"/>
                    </a:lnTo>
                    <a:lnTo>
                      <a:pt x="219" y="56"/>
                    </a:lnTo>
                    <a:lnTo>
                      <a:pt x="219" y="53"/>
                    </a:lnTo>
                    <a:lnTo>
                      <a:pt x="221" y="51"/>
                    </a:lnTo>
                    <a:lnTo>
                      <a:pt x="219" y="51"/>
                    </a:lnTo>
                    <a:lnTo>
                      <a:pt x="219" y="50"/>
                    </a:lnTo>
                    <a:lnTo>
                      <a:pt x="224" y="50"/>
                    </a:lnTo>
                    <a:lnTo>
                      <a:pt x="226" y="46"/>
                    </a:lnTo>
                    <a:lnTo>
                      <a:pt x="228" y="46"/>
                    </a:lnTo>
                    <a:lnTo>
                      <a:pt x="231" y="48"/>
                    </a:lnTo>
                    <a:lnTo>
                      <a:pt x="233" y="46"/>
                    </a:lnTo>
                    <a:lnTo>
                      <a:pt x="235" y="46"/>
                    </a:lnTo>
                    <a:lnTo>
                      <a:pt x="235" y="45"/>
                    </a:lnTo>
                    <a:lnTo>
                      <a:pt x="236" y="45"/>
                    </a:lnTo>
                    <a:lnTo>
                      <a:pt x="238" y="43"/>
                    </a:lnTo>
                    <a:lnTo>
                      <a:pt x="243" y="43"/>
                    </a:lnTo>
                    <a:lnTo>
                      <a:pt x="245" y="41"/>
                    </a:lnTo>
                    <a:lnTo>
                      <a:pt x="250" y="41"/>
                    </a:lnTo>
                    <a:lnTo>
                      <a:pt x="252" y="39"/>
                    </a:lnTo>
                    <a:lnTo>
                      <a:pt x="253" y="41"/>
                    </a:lnTo>
                    <a:lnTo>
                      <a:pt x="260" y="41"/>
                    </a:lnTo>
                    <a:lnTo>
                      <a:pt x="262" y="41"/>
                    </a:lnTo>
                    <a:lnTo>
                      <a:pt x="263" y="41"/>
                    </a:lnTo>
                    <a:lnTo>
                      <a:pt x="265" y="43"/>
                    </a:lnTo>
                    <a:lnTo>
                      <a:pt x="269" y="43"/>
                    </a:lnTo>
                    <a:lnTo>
                      <a:pt x="269" y="45"/>
                    </a:lnTo>
                    <a:lnTo>
                      <a:pt x="270" y="46"/>
                    </a:lnTo>
                    <a:lnTo>
                      <a:pt x="274" y="41"/>
                    </a:lnTo>
                    <a:lnTo>
                      <a:pt x="275" y="46"/>
                    </a:lnTo>
                    <a:lnTo>
                      <a:pt x="277" y="45"/>
                    </a:lnTo>
                    <a:lnTo>
                      <a:pt x="277" y="46"/>
                    </a:lnTo>
                    <a:lnTo>
                      <a:pt x="279" y="48"/>
                    </a:lnTo>
                    <a:lnTo>
                      <a:pt x="279" y="50"/>
                    </a:lnTo>
                    <a:lnTo>
                      <a:pt x="280" y="51"/>
                    </a:lnTo>
                    <a:lnTo>
                      <a:pt x="284" y="51"/>
                    </a:lnTo>
                    <a:lnTo>
                      <a:pt x="287" y="60"/>
                    </a:lnTo>
                    <a:lnTo>
                      <a:pt x="292" y="65"/>
                    </a:lnTo>
                    <a:lnTo>
                      <a:pt x="296" y="68"/>
                    </a:lnTo>
                    <a:lnTo>
                      <a:pt x="299" y="63"/>
                    </a:lnTo>
                    <a:lnTo>
                      <a:pt x="301" y="70"/>
                    </a:lnTo>
                    <a:lnTo>
                      <a:pt x="297" y="72"/>
                    </a:lnTo>
                    <a:lnTo>
                      <a:pt x="297" y="74"/>
                    </a:lnTo>
                    <a:lnTo>
                      <a:pt x="301" y="75"/>
                    </a:lnTo>
                    <a:lnTo>
                      <a:pt x="299" y="79"/>
                    </a:lnTo>
                    <a:lnTo>
                      <a:pt x="297" y="80"/>
                    </a:lnTo>
                    <a:lnTo>
                      <a:pt x="296" y="82"/>
                    </a:lnTo>
                    <a:lnTo>
                      <a:pt x="296" y="84"/>
                    </a:lnTo>
                    <a:lnTo>
                      <a:pt x="296" y="85"/>
                    </a:lnTo>
                    <a:lnTo>
                      <a:pt x="297" y="87"/>
                    </a:lnTo>
                    <a:lnTo>
                      <a:pt x="301" y="87"/>
                    </a:lnTo>
                    <a:lnTo>
                      <a:pt x="301" y="92"/>
                    </a:lnTo>
                    <a:lnTo>
                      <a:pt x="303" y="92"/>
                    </a:lnTo>
                    <a:lnTo>
                      <a:pt x="303" y="96"/>
                    </a:lnTo>
                    <a:lnTo>
                      <a:pt x="304" y="97"/>
                    </a:lnTo>
                    <a:lnTo>
                      <a:pt x="303" y="99"/>
                    </a:lnTo>
                    <a:lnTo>
                      <a:pt x="304" y="99"/>
                    </a:lnTo>
                    <a:lnTo>
                      <a:pt x="308" y="113"/>
                    </a:lnTo>
                    <a:lnTo>
                      <a:pt x="309" y="123"/>
                    </a:lnTo>
                    <a:lnTo>
                      <a:pt x="309" y="128"/>
                    </a:lnTo>
                    <a:lnTo>
                      <a:pt x="308" y="130"/>
                    </a:lnTo>
                    <a:lnTo>
                      <a:pt x="304" y="131"/>
                    </a:lnTo>
                    <a:lnTo>
                      <a:pt x="303" y="133"/>
                    </a:lnTo>
                    <a:lnTo>
                      <a:pt x="304" y="135"/>
                    </a:lnTo>
                    <a:lnTo>
                      <a:pt x="304" y="136"/>
                    </a:lnTo>
                    <a:lnTo>
                      <a:pt x="301" y="138"/>
                    </a:lnTo>
                    <a:lnTo>
                      <a:pt x="297" y="143"/>
                    </a:lnTo>
                    <a:lnTo>
                      <a:pt x="296" y="142"/>
                    </a:lnTo>
                    <a:lnTo>
                      <a:pt x="294" y="147"/>
                    </a:lnTo>
                    <a:lnTo>
                      <a:pt x="292" y="148"/>
                    </a:lnTo>
                    <a:lnTo>
                      <a:pt x="287" y="159"/>
                    </a:lnTo>
                    <a:lnTo>
                      <a:pt x="287" y="165"/>
                    </a:lnTo>
                    <a:lnTo>
                      <a:pt x="286" y="174"/>
                    </a:lnTo>
                    <a:lnTo>
                      <a:pt x="286" y="176"/>
                    </a:lnTo>
                    <a:lnTo>
                      <a:pt x="287" y="179"/>
                    </a:lnTo>
                    <a:lnTo>
                      <a:pt x="282" y="182"/>
                    </a:lnTo>
                    <a:lnTo>
                      <a:pt x="282" y="186"/>
                    </a:lnTo>
                    <a:lnTo>
                      <a:pt x="279" y="187"/>
                    </a:lnTo>
                    <a:lnTo>
                      <a:pt x="272" y="199"/>
                    </a:lnTo>
                    <a:lnTo>
                      <a:pt x="272" y="201"/>
                    </a:lnTo>
                    <a:lnTo>
                      <a:pt x="274" y="204"/>
                    </a:lnTo>
                    <a:lnTo>
                      <a:pt x="270" y="210"/>
                    </a:lnTo>
                    <a:lnTo>
                      <a:pt x="272" y="210"/>
                    </a:lnTo>
                    <a:lnTo>
                      <a:pt x="272" y="215"/>
                    </a:lnTo>
                    <a:lnTo>
                      <a:pt x="275" y="225"/>
                    </a:lnTo>
                    <a:lnTo>
                      <a:pt x="275" y="228"/>
                    </a:lnTo>
                    <a:lnTo>
                      <a:pt x="279" y="233"/>
                    </a:lnTo>
                    <a:lnTo>
                      <a:pt x="280" y="242"/>
                    </a:lnTo>
                    <a:lnTo>
                      <a:pt x="280" y="244"/>
                    </a:lnTo>
                    <a:lnTo>
                      <a:pt x="282" y="249"/>
                    </a:lnTo>
                    <a:lnTo>
                      <a:pt x="282" y="256"/>
                    </a:lnTo>
                    <a:lnTo>
                      <a:pt x="286" y="256"/>
                    </a:lnTo>
                    <a:lnTo>
                      <a:pt x="286" y="259"/>
                    </a:lnTo>
                    <a:lnTo>
                      <a:pt x="287" y="261"/>
                    </a:lnTo>
                    <a:lnTo>
                      <a:pt x="291" y="259"/>
                    </a:lnTo>
                    <a:lnTo>
                      <a:pt x="292" y="259"/>
                    </a:lnTo>
                    <a:lnTo>
                      <a:pt x="294" y="259"/>
                    </a:lnTo>
                    <a:lnTo>
                      <a:pt x="296" y="261"/>
                    </a:lnTo>
                    <a:lnTo>
                      <a:pt x="296" y="262"/>
                    </a:lnTo>
                    <a:lnTo>
                      <a:pt x="296" y="269"/>
                    </a:lnTo>
                    <a:lnTo>
                      <a:pt x="297" y="271"/>
                    </a:lnTo>
                    <a:lnTo>
                      <a:pt x="297" y="274"/>
                    </a:lnTo>
                    <a:lnTo>
                      <a:pt x="296" y="273"/>
                    </a:lnTo>
                    <a:lnTo>
                      <a:pt x="296" y="276"/>
                    </a:lnTo>
                    <a:lnTo>
                      <a:pt x="294" y="276"/>
                    </a:lnTo>
                    <a:lnTo>
                      <a:pt x="296" y="278"/>
                    </a:lnTo>
                    <a:lnTo>
                      <a:pt x="296" y="281"/>
                    </a:lnTo>
                    <a:lnTo>
                      <a:pt x="297" y="284"/>
                    </a:lnTo>
                    <a:lnTo>
                      <a:pt x="296" y="286"/>
                    </a:lnTo>
                    <a:lnTo>
                      <a:pt x="294" y="284"/>
                    </a:lnTo>
                    <a:lnTo>
                      <a:pt x="292" y="286"/>
                    </a:lnTo>
                    <a:lnTo>
                      <a:pt x="292" y="284"/>
                    </a:lnTo>
                    <a:lnTo>
                      <a:pt x="292" y="286"/>
                    </a:lnTo>
                    <a:lnTo>
                      <a:pt x="289" y="284"/>
                    </a:lnTo>
                    <a:lnTo>
                      <a:pt x="287" y="286"/>
                    </a:lnTo>
                    <a:lnTo>
                      <a:pt x="282" y="284"/>
                    </a:lnTo>
                    <a:lnTo>
                      <a:pt x="280" y="284"/>
                    </a:lnTo>
                    <a:lnTo>
                      <a:pt x="279" y="286"/>
                    </a:lnTo>
                    <a:lnTo>
                      <a:pt x="262" y="283"/>
                    </a:lnTo>
                    <a:lnTo>
                      <a:pt x="248" y="281"/>
                    </a:lnTo>
                    <a:lnTo>
                      <a:pt x="235" y="278"/>
                    </a:lnTo>
                    <a:lnTo>
                      <a:pt x="233" y="279"/>
                    </a:lnTo>
                    <a:lnTo>
                      <a:pt x="229" y="279"/>
                    </a:lnTo>
                    <a:lnTo>
                      <a:pt x="223" y="279"/>
                    </a:lnTo>
                    <a:lnTo>
                      <a:pt x="206" y="281"/>
                    </a:lnTo>
                    <a:lnTo>
                      <a:pt x="195" y="283"/>
                    </a:lnTo>
                    <a:lnTo>
                      <a:pt x="173" y="284"/>
                    </a:lnTo>
                    <a:lnTo>
                      <a:pt x="168" y="286"/>
                    </a:lnTo>
                    <a:lnTo>
                      <a:pt x="156" y="286"/>
                    </a:lnTo>
                    <a:lnTo>
                      <a:pt x="143" y="290"/>
                    </a:lnTo>
                    <a:lnTo>
                      <a:pt x="129" y="293"/>
                    </a:lnTo>
                    <a:lnTo>
                      <a:pt x="127" y="295"/>
                    </a:lnTo>
                    <a:lnTo>
                      <a:pt x="122" y="296"/>
                    </a:lnTo>
                    <a:lnTo>
                      <a:pt x="110" y="301"/>
                    </a:lnTo>
                    <a:lnTo>
                      <a:pt x="109" y="301"/>
                    </a:lnTo>
                    <a:lnTo>
                      <a:pt x="102" y="303"/>
                    </a:lnTo>
                    <a:lnTo>
                      <a:pt x="102" y="305"/>
                    </a:lnTo>
                    <a:lnTo>
                      <a:pt x="100" y="303"/>
                    </a:lnTo>
                    <a:lnTo>
                      <a:pt x="100" y="305"/>
                    </a:lnTo>
                    <a:lnTo>
                      <a:pt x="97" y="307"/>
                    </a:lnTo>
                    <a:lnTo>
                      <a:pt x="85" y="308"/>
                    </a:lnTo>
                    <a:lnTo>
                      <a:pt x="85" y="310"/>
                    </a:lnTo>
                    <a:lnTo>
                      <a:pt x="82" y="313"/>
                    </a:lnTo>
                    <a:lnTo>
                      <a:pt x="80" y="313"/>
                    </a:lnTo>
                    <a:lnTo>
                      <a:pt x="71" y="315"/>
                    </a:lnTo>
                    <a:lnTo>
                      <a:pt x="70" y="317"/>
                    </a:lnTo>
                    <a:lnTo>
                      <a:pt x="68" y="318"/>
                    </a:lnTo>
                    <a:lnTo>
                      <a:pt x="66" y="318"/>
                    </a:lnTo>
                    <a:lnTo>
                      <a:pt x="61" y="322"/>
                    </a:lnTo>
                    <a:lnTo>
                      <a:pt x="54" y="324"/>
                    </a:lnTo>
                    <a:lnTo>
                      <a:pt x="53" y="322"/>
                    </a:lnTo>
                    <a:lnTo>
                      <a:pt x="54" y="320"/>
                    </a:lnTo>
                    <a:lnTo>
                      <a:pt x="53" y="318"/>
                    </a:lnTo>
                    <a:lnTo>
                      <a:pt x="53" y="317"/>
                    </a:lnTo>
                    <a:lnTo>
                      <a:pt x="53" y="315"/>
                    </a:lnTo>
                    <a:lnTo>
                      <a:pt x="53" y="313"/>
                    </a:lnTo>
                    <a:lnTo>
                      <a:pt x="53" y="312"/>
                    </a:lnTo>
                    <a:lnTo>
                      <a:pt x="54" y="312"/>
                    </a:lnTo>
                    <a:lnTo>
                      <a:pt x="53" y="308"/>
                    </a:lnTo>
                    <a:lnTo>
                      <a:pt x="53" y="307"/>
                    </a:lnTo>
                    <a:lnTo>
                      <a:pt x="53" y="301"/>
                    </a:lnTo>
                    <a:lnTo>
                      <a:pt x="51" y="301"/>
                    </a:lnTo>
                    <a:lnTo>
                      <a:pt x="53" y="300"/>
                    </a:lnTo>
                    <a:lnTo>
                      <a:pt x="51" y="296"/>
                    </a:lnTo>
                    <a:lnTo>
                      <a:pt x="53" y="295"/>
                    </a:lnTo>
                    <a:lnTo>
                      <a:pt x="54" y="295"/>
                    </a:lnTo>
                    <a:lnTo>
                      <a:pt x="54" y="293"/>
                    </a:lnTo>
                    <a:lnTo>
                      <a:pt x="53" y="293"/>
                    </a:lnTo>
                    <a:lnTo>
                      <a:pt x="54" y="291"/>
                    </a:lnTo>
                    <a:lnTo>
                      <a:pt x="53" y="288"/>
                    </a:lnTo>
                    <a:lnTo>
                      <a:pt x="54" y="286"/>
                    </a:lnTo>
                    <a:lnTo>
                      <a:pt x="56" y="286"/>
                    </a:lnTo>
                    <a:lnTo>
                      <a:pt x="58" y="284"/>
                    </a:lnTo>
                    <a:lnTo>
                      <a:pt x="58" y="281"/>
                    </a:lnTo>
                    <a:lnTo>
                      <a:pt x="56" y="279"/>
                    </a:lnTo>
                    <a:lnTo>
                      <a:pt x="58" y="279"/>
                    </a:lnTo>
                    <a:lnTo>
                      <a:pt x="58" y="278"/>
                    </a:lnTo>
                    <a:lnTo>
                      <a:pt x="61" y="276"/>
                    </a:lnTo>
                    <a:lnTo>
                      <a:pt x="59" y="278"/>
                    </a:lnTo>
                    <a:lnTo>
                      <a:pt x="61" y="276"/>
                    </a:lnTo>
                    <a:lnTo>
                      <a:pt x="63" y="274"/>
                    </a:lnTo>
                    <a:lnTo>
                      <a:pt x="61" y="274"/>
                    </a:lnTo>
                    <a:lnTo>
                      <a:pt x="63" y="271"/>
                    </a:lnTo>
                    <a:lnTo>
                      <a:pt x="61" y="273"/>
                    </a:lnTo>
                    <a:lnTo>
                      <a:pt x="58" y="269"/>
                    </a:lnTo>
                    <a:lnTo>
                      <a:pt x="59" y="269"/>
                    </a:lnTo>
                    <a:lnTo>
                      <a:pt x="59" y="267"/>
                    </a:lnTo>
                    <a:lnTo>
                      <a:pt x="61" y="266"/>
                    </a:lnTo>
                    <a:lnTo>
                      <a:pt x="61" y="264"/>
                    </a:lnTo>
                    <a:lnTo>
                      <a:pt x="63" y="264"/>
                    </a:lnTo>
                    <a:lnTo>
                      <a:pt x="61" y="264"/>
                    </a:lnTo>
                    <a:lnTo>
                      <a:pt x="61" y="262"/>
                    </a:lnTo>
                    <a:lnTo>
                      <a:pt x="63" y="262"/>
                    </a:lnTo>
                    <a:lnTo>
                      <a:pt x="63" y="259"/>
                    </a:lnTo>
                    <a:lnTo>
                      <a:pt x="61" y="259"/>
                    </a:lnTo>
                    <a:lnTo>
                      <a:pt x="59" y="252"/>
                    </a:lnTo>
                    <a:lnTo>
                      <a:pt x="59" y="250"/>
                    </a:lnTo>
                    <a:lnTo>
                      <a:pt x="59" y="249"/>
                    </a:lnTo>
                    <a:lnTo>
                      <a:pt x="58" y="247"/>
                    </a:lnTo>
                    <a:lnTo>
                      <a:pt x="58" y="250"/>
                    </a:lnTo>
                    <a:lnTo>
                      <a:pt x="54" y="249"/>
                    </a:lnTo>
                    <a:lnTo>
                      <a:pt x="56" y="249"/>
                    </a:lnTo>
                    <a:lnTo>
                      <a:pt x="54" y="247"/>
                    </a:lnTo>
                    <a:lnTo>
                      <a:pt x="54" y="249"/>
                    </a:lnTo>
                    <a:lnTo>
                      <a:pt x="53" y="247"/>
                    </a:lnTo>
                    <a:lnTo>
                      <a:pt x="53" y="245"/>
                    </a:lnTo>
                    <a:lnTo>
                      <a:pt x="51" y="247"/>
                    </a:lnTo>
                    <a:lnTo>
                      <a:pt x="51" y="245"/>
                    </a:lnTo>
                    <a:lnTo>
                      <a:pt x="48" y="245"/>
                    </a:lnTo>
                    <a:lnTo>
                      <a:pt x="48" y="244"/>
                    </a:lnTo>
                    <a:lnTo>
                      <a:pt x="46" y="244"/>
                    </a:lnTo>
                    <a:lnTo>
                      <a:pt x="48" y="245"/>
                    </a:lnTo>
                    <a:lnTo>
                      <a:pt x="46" y="245"/>
                    </a:lnTo>
                    <a:lnTo>
                      <a:pt x="42" y="244"/>
                    </a:lnTo>
                    <a:lnTo>
                      <a:pt x="42" y="242"/>
                    </a:lnTo>
                    <a:lnTo>
                      <a:pt x="41" y="240"/>
                    </a:lnTo>
                    <a:lnTo>
                      <a:pt x="42" y="239"/>
                    </a:lnTo>
                    <a:lnTo>
                      <a:pt x="41" y="237"/>
                    </a:lnTo>
                    <a:lnTo>
                      <a:pt x="39" y="235"/>
                    </a:lnTo>
                    <a:lnTo>
                      <a:pt x="39" y="237"/>
                    </a:lnTo>
                    <a:lnTo>
                      <a:pt x="37" y="235"/>
                    </a:lnTo>
                    <a:lnTo>
                      <a:pt x="39" y="233"/>
                    </a:lnTo>
                    <a:lnTo>
                      <a:pt x="39" y="232"/>
                    </a:lnTo>
                    <a:lnTo>
                      <a:pt x="39" y="230"/>
                    </a:lnTo>
                    <a:lnTo>
                      <a:pt x="36" y="227"/>
                    </a:lnTo>
                    <a:lnTo>
                      <a:pt x="34" y="225"/>
                    </a:lnTo>
                    <a:lnTo>
                      <a:pt x="34" y="227"/>
                    </a:lnTo>
                    <a:lnTo>
                      <a:pt x="34" y="225"/>
                    </a:lnTo>
                    <a:lnTo>
                      <a:pt x="32" y="227"/>
                    </a:lnTo>
                    <a:lnTo>
                      <a:pt x="32" y="225"/>
                    </a:lnTo>
                    <a:lnTo>
                      <a:pt x="31" y="225"/>
                    </a:lnTo>
                    <a:lnTo>
                      <a:pt x="22" y="227"/>
                    </a:lnTo>
                    <a:lnTo>
                      <a:pt x="20" y="225"/>
                    </a:lnTo>
                    <a:lnTo>
                      <a:pt x="17" y="225"/>
                    </a:lnTo>
                    <a:lnTo>
                      <a:pt x="17" y="223"/>
                    </a:lnTo>
                    <a:lnTo>
                      <a:pt x="15" y="223"/>
                    </a:lnTo>
                    <a:lnTo>
                      <a:pt x="14" y="222"/>
                    </a:lnTo>
                    <a:lnTo>
                      <a:pt x="10" y="223"/>
                    </a:lnTo>
                    <a:lnTo>
                      <a:pt x="10" y="222"/>
                    </a:lnTo>
                    <a:lnTo>
                      <a:pt x="12" y="222"/>
                    </a:lnTo>
                    <a:lnTo>
                      <a:pt x="10" y="218"/>
                    </a:lnTo>
                    <a:lnTo>
                      <a:pt x="8" y="216"/>
                    </a:lnTo>
                    <a:lnTo>
                      <a:pt x="7" y="216"/>
                    </a:lnTo>
                    <a:lnTo>
                      <a:pt x="7" y="218"/>
                    </a:lnTo>
                    <a:lnTo>
                      <a:pt x="2" y="215"/>
                    </a:lnTo>
                    <a:lnTo>
                      <a:pt x="0" y="215"/>
                    </a:lnTo>
                    <a:lnTo>
                      <a:pt x="2" y="215"/>
                    </a:lnTo>
                    <a:lnTo>
                      <a:pt x="2" y="211"/>
                    </a:lnTo>
                    <a:lnTo>
                      <a:pt x="3" y="211"/>
                    </a:lnTo>
                    <a:lnTo>
                      <a:pt x="3" y="210"/>
                    </a:lnTo>
                    <a:lnTo>
                      <a:pt x="5" y="210"/>
                    </a:lnTo>
                    <a:lnTo>
                      <a:pt x="7" y="210"/>
                    </a:lnTo>
                    <a:lnTo>
                      <a:pt x="7" y="208"/>
                    </a:lnTo>
                    <a:lnTo>
                      <a:pt x="8" y="208"/>
                    </a:lnTo>
                    <a:lnTo>
                      <a:pt x="8" y="206"/>
                    </a:lnTo>
                    <a:lnTo>
                      <a:pt x="8" y="208"/>
                    </a:lnTo>
                    <a:lnTo>
                      <a:pt x="8" y="206"/>
                    </a:lnTo>
                    <a:lnTo>
                      <a:pt x="10" y="206"/>
                    </a:lnTo>
                    <a:lnTo>
                      <a:pt x="10" y="204"/>
                    </a:lnTo>
                    <a:lnTo>
                      <a:pt x="12" y="204"/>
                    </a:lnTo>
                    <a:lnTo>
                      <a:pt x="12" y="203"/>
                    </a:lnTo>
                    <a:lnTo>
                      <a:pt x="12" y="201"/>
                    </a:lnTo>
                    <a:lnTo>
                      <a:pt x="14" y="203"/>
                    </a:lnTo>
                    <a:lnTo>
                      <a:pt x="14" y="199"/>
                    </a:lnTo>
                    <a:lnTo>
                      <a:pt x="15" y="199"/>
                    </a:lnTo>
                    <a:lnTo>
                      <a:pt x="14" y="198"/>
                    </a:lnTo>
                    <a:lnTo>
                      <a:pt x="15" y="196"/>
                    </a:lnTo>
                    <a:lnTo>
                      <a:pt x="15" y="198"/>
                    </a:lnTo>
                    <a:lnTo>
                      <a:pt x="14" y="196"/>
                    </a:lnTo>
                    <a:lnTo>
                      <a:pt x="15" y="194"/>
                    </a:lnTo>
                    <a:lnTo>
                      <a:pt x="14" y="191"/>
                    </a:lnTo>
                    <a:lnTo>
                      <a:pt x="17" y="191"/>
                    </a:lnTo>
                    <a:lnTo>
                      <a:pt x="17" y="189"/>
                    </a:lnTo>
                    <a:lnTo>
                      <a:pt x="15" y="189"/>
                    </a:lnTo>
                    <a:lnTo>
                      <a:pt x="15" y="186"/>
                    </a:lnTo>
                    <a:lnTo>
                      <a:pt x="17" y="181"/>
                    </a:lnTo>
                    <a:lnTo>
                      <a:pt x="14" y="179"/>
                    </a:lnTo>
                    <a:lnTo>
                      <a:pt x="12" y="177"/>
                    </a:lnTo>
                    <a:lnTo>
                      <a:pt x="14" y="176"/>
                    </a:lnTo>
                    <a:lnTo>
                      <a:pt x="10" y="174"/>
                    </a:lnTo>
                    <a:lnTo>
                      <a:pt x="10" y="165"/>
                    </a:lnTo>
                    <a:lnTo>
                      <a:pt x="10" y="164"/>
                    </a:lnTo>
                    <a:lnTo>
                      <a:pt x="7" y="164"/>
                    </a:lnTo>
                    <a:lnTo>
                      <a:pt x="7" y="162"/>
                    </a:lnTo>
                    <a:lnTo>
                      <a:pt x="10" y="159"/>
                    </a:lnTo>
                    <a:lnTo>
                      <a:pt x="12" y="159"/>
                    </a:lnTo>
                    <a:lnTo>
                      <a:pt x="12" y="160"/>
                    </a:lnTo>
                    <a:lnTo>
                      <a:pt x="15" y="159"/>
                    </a:lnTo>
                    <a:lnTo>
                      <a:pt x="17" y="160"/>
                    </a:lnTo>
                    <a:lnTo>
                      <a:pt x="20" y="162"/>
                    </a:lnTo>
                    <a:lnTo>
                      <a:pt x="22" y="160"/>
                    </a:lnTo>
                    <a:lnTo>
                      <a:pt x="24" y="155"/>
                    </a:lnTo>
                    <a:lnTo>
                      <a:pt x="25" y="153"/>
                    </a:lnTo>
                    <a:lnTo>
                      <a:pt x="27" y="150"/>
                    </a:lnTo>
                    <a:lnTo>
                      <a:pt x="27" y="148"/>
                    </a:lnTo>
                    <a:lnTo>
                      <a:pt x="25" y="147"/>
                    </a:lnTo>
                    <a:lnTo>
                      <a:pt x="27" y="142"/>
                    </a:lnTo>
                    <a:lnTo>
                      <a:pt x="29" y="136"/>
                    </a:lnTo>
                    <a:lnTo>
                      <a:pt x="31" y="138"/>
                    </a:lnTo>
                    <a:lnTo>
                      <a:pt x="31" y="136"/>
                    </a:lnTo>
                    <a:lnTo>
                      <a:pt x="32" y="138"/>
                    </a:lnTo>
                    <a:lnTo>
                      <a:pt x="34" y="138"/>
                    </a:lnTo>
                    <a:lnTo>
                      <a:pt x="34" y="136"/>
                    </a:lnTo>
                    <a:lnTo>
                      <a:pt x="31" y="133"/>
                    </a:lnTo>
                    <a:lnTo>
                      <a:pt x="31" y="130"/>
                    </a:lnTo>
                    <a:lnTo>
                      <a:pt x="29" y="130"/>
                    </a:lnTo>
                    <a:lnTo>
                      <a:pt x="27" y="131"/>
                    </a:lnTo>
                    <a:lnTo>
                      <a:pt x="24" y="130"/>
                    </a:lnTo>
                    <a:lnTo>
                      <a:pt x="22" y="130"/>
                    </a:lnTo>
                    <a:lnTo>
                      <a:pt x="20" y="128"/>
                    </a:lnTo>
                    <a:lnTo>
                      <a:pt x="19" y="128"/>
                    </a:lnTo>
                    <a:lnTo>
                      <a:pt x="19" y="125"/>
                    </a:lnTo>
                    <a:lnTo>
                      <a:pt x="19" y="116"/>
                    </a:lnTo>
                    <a:lnTo>
                      <a:pt x="20" y="116"/>
                    </a:lnTo>
                    <a:lnTo>
                      <a:pt x="20" y="113"/>
                    </a:lnTo>
                    <a:lnTo>
                      <a:pt x="24" y="114"/>
                    </a:lnTo>
                    <a:lnTo>
                      <a:pt x="25" y="114"/>
                    </a:lnTo>
                    <a:lnTo>
                      <a:pt x="25" y="113"/>
                    </a:lnTo>
                    <a:lnTo>
                      <a:pt x="31" y="114"/>
                    </a:lnTo>
                    <a:lnTo>
                      <a:pt x="32" y="114"/>
                    </a:lnTo>
                    <a:lnTo>
                      <a:pt x="34" y="113"/>
                    </a:lnTo>
                    <a:lnTo>
                      <a:pt x="36" y="114"/>
                    </a:lnTo>
                    <a:lnTo>
                      <a:pt x="34" y="114"/>
                    </a:lnTo>
                    <a:lnTo>
                      <a:pt x="36" y="116"/>
                    </a:lnTo>
                    <a:lnTo>
                      <a:pt x="34" y="116"/>
                    </a:lnTo>
                    <a:lnTo>
                      <a:pt x="36" y="116"/>
                    </a:lnTo>
                    <a:lnTo>
                      <a:pt x="37" y="116"/>
                    </a:lnTo>
                    <a:lnTo>
                      <a:pt x="37" y="118"/>
                    </a:lnTo>
                    <a:lnTo>
                      <a:pt x="39" y="118"/>
                    </a:lnTo>
                    <a:lnTo>
                      <a:pt x="39" y="116"/>
                    </a:lnTo>
                    <a:lnTo>
                      <a:pt x="39" y="114"/>
                    </a:lnTo>
                    <a:lnTo>
                      <a:pt x="41" y="114"/>
                    </a:lnTo>
                    <a:lnTo>
                      <a:pt x="44" y="119"/>
                    </a:lnTo>
                    <a:lnTo>
                      <a:pt x="49" y="119"/>
                    </a:lnTo>
                    <a:lnTo>
                      <a:pt x="48" y="116"/>
                    </a:lnTo>
                    <a:lnTo>
                      <a:pt x="48" y="114"/>
                    </a:lnTo>
                    <a:lnTo>
                      <a:pt x="46" y="111"/>
                    </a:lnTo>
                    <a:lnTo>
                      <a:pt x="46" y="108"/>
                    </a:lnTo>
                    <a:lnTo>
                      <a:pt x="42" y="101"/>
                    </a:lnTo>
                    <a:lnTo>
                      <a:pt x="37" y="101"/>
                    </a:lnTo>
                    <a:lnTo>
                      <a:pt x="37" y="99"/>
                    </a:lnTo>
                    <a:lnTo>
                      <a:pt x="34" y="101"/>
                    </a:lnTo>
                    <a:lnTo>
                      <a:pt x="32" y="97"/>
                    </a:lnTo>
                    <a:lnTo>
                      <a:pt x="36" y="91"/>
                    </a:lnTo>
                    <a:lnTo>
                      <a:pt x="34" y="87"/>
                    </a:lnTo>
                    <a:lnTo>
                      <a:pt x="36" y="87"/>
                    </a:lnTo>
                    <a:lnTo>
                      <a:pt x="37" y="85"/>
                    </a:lnTo>
                    <a:lnTo>
                      <a:pt x="39" y="84"/>
                    </a:lnTo>
                    <a:lnTo>
                      <a:pt x="44" y="85"/>
                    </a:lnTo>
                    <a:lnTo>
                      <a:pt x="42" y="84"/>
                    </a:lnTo>
                    <a:lnTo>
                      <a:pt x="39" y="79"/>
                    </a:lnTo>
                    <a:lnTo>
                      <a:pt x="37" y="80"/>
                    </a:lnTo>
                    <a:lnTo>
                      <a:pt x="34" y="79"/>
                    </a:lnTo>
                    <a:lnTo>
                      <a:pt x="37" y="74"/>
                    </a:lnTo>
                    <a:lnTo>
                      <a:pt x="37" y="72"/>
                    </a:lnTo>
                    <a:lnTo>
                      <a:pt x="39" y="67"/>
                    </a:lnTo>
                    <a:lnTo>
                      <a:pt x="37" y="67"/>
                    </a:lnTo>
                    <a:lnTo>
                      <a:pt x="36" y="67"/>
                    </a:lnTo>
                    <a:lnTo>
                      <a:pt x="32" y="68"/>
                    </a:lnTo>
                    <a:lnTo>
                      <a:pt x="29" y="68"/>
                    </a:lnTo>
                    <a:lnTo>
                      <a:pt x="25" y="65"/>
                    </a:lnTo>
                    <a:lnTo>
                      <a:pt x="24" y="60"/>
                    </a:lnTo>
                    <a:lnTo>
                      <a:pt x="24" y="58"/>
                    </a:lnTo>
                    <a:lnTo>
                      <a:pt x="24" y="56"/>
                    </a:lnTo>
                    <a:lnTo>
                      <a:pt x="25" y="55"/>
                    </a:lnTo>
                    <a:lnTo>
                      <a:pt x="24" y="53"/>
                    </a:lnTo>
                    <a:lnTo>
                      <a:pt x="25" y="53"/>
                    </a:lnTo>
                    <a:lnTo>
                      <a:pt x="24" y="50"/>
                    </a:lnTo>
                    <a:lnTo>
                      <a:pt x="25" y="50"/>
                    </a:lnTo>
                    <a:lnTo>
                      <a:pt x="25" y="48"/>
                    </a:lnTo>
                    <a:lnTo>
                      <a:pt x="25" y="46"/>
                    </a:lnTo>
                    <a:lnTo>
                      <a:pt x="25" y="45"/>
                    </a:lnTo>
                    <a:lnTo>
                      <a:pt x="24" y="45"/>
                    </a:lnTo>
                    <a:lnTo>
                      <a:pt x="25" y="43"/>
                    </a:lnTo>
                    <a:lnTo>
                      <a:pt x="24" y="41"/>
                    </a:lnTo>
                    <a:lnTo>
                      <a:pt x="24" y="43"/>
                    </a:lnTo>
                    <a:lnTo>
                      <a:pt x="22" y="41"/>
                    </a:lnTo>
                    <a:lnTo>
                      <a:pt x="24" y="41"/>
                    </a:lnTo>
                    <a:lnTo>
                      <a:pt x="22" y="41"/>
                    </a:lnTo>
                    <a:lnTo>
                      <a:pt x="25" y="39"/>
                    </a:lnTo>
                    <a:lnTo>
                      <a:pt x="24" y="39"/>
                    </a:lnTo>
                    <a:lnTo>
                      <a:pt x="24" y="36"/>
                    </a:lnTo>
                    <a:lnTo>
                      <a:pt x="31" y="33"/>
                    </a:lnTo>
                    <a:lnTo>
                      <a:pt x="31" y="29"/>
                    </a:lnTo>
                    <a:lnTo>
                      <a:pt x="32" y="29"/>
                    </a:lnTo>
                    <a:lnTo>
                      <a:pt x="34" y="29"/>
                    </a:lnTo>
                    <a:lnTo>
                      <a:pt x="36" y="28"/>
                    </a:lnTo>
                    <a:lnTo>
                      <a:pt x="37" y="28"/>
                    </a:lnTo>
                    <a:lnTo>
                      <a:pt x="41" y="26"/>
                    </a:lnTo>
                    <a:lnTo>
                      <a:pt x="41" y="24"/>
                    </a:lnTo>
                    <a:lnTo>
                      <a:pt x="44" y="22"/>
                    </a:lnTo>
                    <a:lnTo>
                      <a:pt x="42" y="22"/>
                    </a:lnTo>
                    <a:lnTo>
                      <a:pt x="44" y="21"/>
                    </a:lnTo>
                    <a:lnTo>
                      <a:pt x="42" y="21"/>
                    </a:lnTo>
                    <a:lnTo>
                      <a:pt x="44" y="21"/>
                    </a:lnTo>
                    <a:lnTo>
                      <a:pt x="44" y="19"/>
                    </a:lnTo>
                    <a:lnTo>
                      <a:pt x="46" y="17"/>
                    </a:lnTo>
                    <a:lnTo>
                      <a:pt x="44" y="17"/>
                    </a:lnTo>
                    <a:lnTo>
                      <a:pt x="48" y="16"/>
                    </a:lnTo>
                    <a:lnTo>
                      <a:pt x="49" y="14"/>
                    </a:lnTo>
                    <a:lnTo>
                      <a:pt x="51" y="16"/>
                    </a:lnTo>
                    <a:lnTo>
                      <a:pt x="53" y="16"/>
                    </a:lnTo>
                    <a:lnTo>
                      <a:pt x="54" y="14"/>
                    </a:lnTo>
                    <a:lnTo>
                      <a:pt x="56" y="14"/>
                    </a:lnTo>
                    <a:lnTo>
                      <a:pt x="58" y="14"/>
                    </a:lnTo>
                    <a:lnTo>
                      <a:pt x="59" y="17"/>
                    </a:lnTo>
                    <a:lnTo>
                      <a:pt x="63" y="19"/>
                    </a:lnTo>
                    <a:lnTo>
                      <a:pt x="63" y="24"/>
                    </a:lnTo>
                    <a:lnTo>
                      <a:pt x="65" y="24"/>
                    </a:lnTo>
                    <a:lnTo>
                      <a:pt x="66" y="22"/>
                    </a:lnTo>
                    <a:lnTo>
                      <a:pt x="68" y="24"/>
                    </a:lnTo>
                    <a:lnTo>
                      <a:pt x="73" y="24"/>
                    </a:lnTo>
                    <a:lnTo>
                      <a:pt x="76" y="26"/>
                    </a:lnTo>
                    <a:lnTo>
                      <a:pt x="78" y="29"/>
                    </a:lnTo>
                    <a:lnTo>
                      <a:pt x="80" y="29"/>
                    </a:lnTo>
                    <a:lnTo>
                      <a:pt x="83" y="28"/>
                    </a:lnTo>
                    <a:lnTo>
                      <a:pt x="82" y="22"/>
                    </a:lnTo>
                    <a:lnTo>
                      <a:pt x="83" y="19"/>
                    </a:lnTo>
                    <a:lnTo>
                      <a:pt x="88" y="19"/>
                    </a:lnTo>
                    <a:lnTo>
                      <a:pt x="93" y="17"/>
                    </a:lnTo>
                    <a:lnTo>
                      <a:pt x="97" y="19"/>
                    </a:lnTo>
                    <a:lnTo>
                      <a:pt x="100" y="17"/>
                    </a:lnTo>
                    <a:lnTo>
                      <a:pt x="100" y="16"/>
                    </a:lnTo>
                    <a:lnTo>
                      <a:pt x="99" y="14"/>
                    </a:lnTo>
                    <a:lnTo>
                      <a:pt x="97" y="11"/>
                    </a:lnTo>
                    <a:lnTo>
                      <a:pt x="99" y="11"/>
                    </a:lnTo>
                    <a:lnTo>
                      <a:pt x="99" y="7"/>
                    </a:lnTo>
                    <a:lnTo>
                      <a:pt x="99" y="5"/>
                    </a:lnTo>
                    <a:lnTo>
                      <a:pt x="100" y="4"/>
                    </a:lnTo>
                    <a:lnTo>
                      <a:pt x="102" y="5"/>
                    </a:lnTo>
                    <a:lnTo>
                      <a:pt x="104" y="7"/>
                    </a:lnTo>
                    <a:lnTo>
                      <a:pt x="105" y="7"/>
                    </a:lnTo>
                    <a:lnTo>
                      <a:pt x="109" y="9"/>
                    </a:lnTo>
                    <a:lnTo>
                      <a:pt x="112" y="7"/>
                    </a:lnTo>
                    <a:lnTo>
                      <a:pt x="110" y="7"/>
                    </a:lnTo>
                    <a:lnTo>
                      <a:pt x="110" y="2"/>
                    </a:lnTo>
                    <a:lnTo>
                      <a:pt x="112" y="2"/>
                    </a:lnTo>
                    <a:lnTo>
                      <a:pt x="116" y="2"/>
                    </a:lnTo>
                    <a:lnTo>
                      <a:pt x="119" y="0"/>
                    </a:lnTo>
                    <a:lnTo>
                      <a:pt x="121" y="0"/>
                    </a:lnTo>
                    <a:lnTo>
                      <a:pt x="121" y="2"/>
                    </a:lnTo>
                    <a:lnTo>
                      <a:pt x="121" y="4"/>
                    </a:lnTo>
                    <a:lnTo>
                      <a:pt x="122" y="5"/>
                    </a:lnTo>
                    <a:lnTo>
                      <a:pt x="121" y="7"/>
                    </a:lnTo>
                    <a:lnTo>
                      <a:pt x="122" y="7"/>
                    </a:lnTo>
                    <a:lnTo>
                      <a:pt x="122" y="9"/>
                    </a:lnTo>
                    <a:lnTo>
                      <a:pt x="119" y="11"/>
                    </a:lnTo>
                    <a:lnTo>
                      <a:pt x="121" y="12"/>
                    </a:lnTo>
                    <a:lnTo>
                      <a:pt x="121" y="11"/>
                    </a:lnTo>
                    <a:lnTo>
                      <a:pt x="122" y="12"/>
                    </a:lnTo>
                    <a:lnTo>
                      <a:pt x="124" y="14"/>
                    </a:lnTo>
                    <a:lnTo>
                      <a:pt x="122" y="14"/>
                    </a:lnTo>
                    <a:lnTo>
                      <a:pt x="124" y="17"/>
                    </a:lnTo>
                    <a:lnTo>
                      <a:pt x="122" y="17"/>
                    </a:lnTo>
                    <a:lnTo>
                      <a:pt x="124" y="19"/>
                    </a:lnTo>
                    <a:lnTo>
                      <a:pt x="122" y="21"/>
                    </a:lnTo>
                    <a:lnTo>
                      <a:pt x="122" y="22"/>
                    </a:lnTo>
                    <a:lnTo>
                      <a:pt x="121" y="22"/>
                    </a:lnTo>
                    <a:lnTo>
                      <a:pt x="121" y="24"/>
                    </a:lnTo>
                    <a:lnTo>
                      <a:pt x="122" y="24"/>
                    </a:lnTo>
                    <a:lnTo>
                      <a:pt x="122" y="26"/>
                    </a:lnTo>
                    <a:lnTo>
                      <a:pt x="126" y="28"/>
                    </a:lnTo>
                    <a:lnTo>
                      <a:pt x="131" y="28"/>
                    </a:lnTo>
                    <a:lnTo>
                      <a:pt x="133" y="26"/>
                    </a:lnTo>
                    <a:lnTo>
                      <a:pt x="133" y="24"/>
                    </a:lnTo>
                    <a:lnTo>
                      <a:pt x="136" y="24"/>
                    </a:lnTo>
                    <a:lnTo>
                      <a:pt x="138" y="19"/>
                    </a:lnTo>
                    <a:lnTo>
                      <a:pt x="139" y="19"/>
                    </a:lnTo>
                    <a:lnTo>
                      <a:pt x="144" y="16"/>
                    </a:lnTo>
                    <a:lnTo>
                      <a:pt x="148" y="14"/>
                    </a:lnTo>
                    <a:lnTo>
                      <a:pt x="151" y="16"/>
                    </a:lnTo>
                    <a:lnTo>
                      <a:pt x="155" y="14"/>
                    </a:lnTo>
                    <a:lnTo>
                      <a:pt x="156" y="16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84" name="Freeform 34">
                <a:extLst>
                  <a:ext uri="{FF2B5EF4-FFF2-40B4-BE49-F238E27FC236}">
                    <a16:creationId xmlns:a16="http://schemas.microsoft.com/office/drawing/2014/main" id="{A00FF6B9-35AB-4A78-91A7-FF1C3891DB7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303880" y="3011363"/>
                <a:ext cx="641332" cy="817530"/>
              </a:xfrm>
              <a:custGeom>
                <a:avLst/>
                <a:gdLst>
                  <a:gd name="T0" fmla="*/ 358 w 404"/>
                  <a:gd name="T1" fmla="*/ 144 h 515"/>
                  <a:gd name="T2" fmla="*/ 358 w 404"/>
                  <a:gd name="T3" fmla="*/ 207 h 515"/>
                  <a:gd name="T4" fmla="*/ 358 w 404"/>
                  <a:gd name="T5" fmla="*/ 279 h 515"/>
                  <a:gd name="T6" fmla="*/ 386 w 404"/>
                  <a:gd name="T7" fmla="*/ 359 h 515"/>
                  <a:gd name="T8" fmla="*/ 379 w 404"/>
                  <a:gd name="T9" fmla="*/ 372 h 515"/>
                  <a:gd name="T10" fmla="*/ 370 w 404"/>
                  <a:gd name="T11" fmla="*/ 377 h 515"/>
                  <a:gd name="T12" fmla="*/ 360 w 404"/>
                  <a:gd name="T13" fmla="*/ 381 h 515"/>
                  <a:gd name="T14" fmla="*/ 357 w 404"/>
                  <a:gd name="T15" fmla="*/ 377 h 515"/>
                  <a:gd name="T16" fmla="*/ 353 w 404"/>
                  <a:gd name="T17" fmla="*/ 379 h 515"/>
                  <a:gd name="T18" fmla="*/ 357 w 404"/>
                  <a:gd name="T19" fmla="*/ 396 h 515"/>
                  <a:gd name="T20" fmla="*/ 347 w 404"/>
                  <a:gd name="T21" fmla="*/ 398 h 515"/>
                  <a:gd name="T22" fmla="*/ 340 w 404"/>
                  <a:gd name="T23" fmla="*/ 408 h 515"/>
                  <a:gd name="T24" fmla="*/ 316 w 404"/>
                  <a:gd name="T25" fmla="*/ 418 h 515"/>
                  <a:gd name="T26" fmla="*/ 316 w 404"/>
                  <a:gd name="T27" fmla="*/ 435 h 515"/>
                  <a:gd name="T28" fmla="*/ 301 w 404"/>
                  <a:gd name="T29" fmla="*/ 462 h 515"/>
                  <a:gd name="T30" fmla="*/ 292 w 404"/>
                  <a:gd name="T31" fmla="*/ 485 h 515"/>
                  <a:gd name="T32" fmla="*/ 290 w 404"/>
                  <a:gd name="T33" fmla="*/ 486 h 515"/>
                  <a:gd name="T34" fmla="*/ 279 w 404"/>
                  <a:gd name="T35" fmla="*/ 512 h 515"/>
                  <a:gd name="T36" fmla="*/ 272 w 404"/>
                  <a:gd name="T37" fmla="*/ 512 h 515"/>
                  <a:gd name="T38" fmla="*/ 248 w 404"/>
                  <a:gd name="T39" fmla="*/ 500 h 515"/>
                  <a:gd name="T40" fmla="*/ 192 w 404"/>
                  <a:gd name="T41" fmla="*/ 457 h 515"/>
                  <a:gd name="T42" fmla="*/ 185 w 404"/>
                  <a:gd name="T43" fmla="*/ 452 h 515"/>
                  <a:gd name="T44" fmla="*/ 144 w 404"/>
                  <a:gd name="T45" fmla="*/ 408 h 515"/>
                  <a:gd name="T46" fmla="*/ 49 w 404"/>
                  <a:gd name="T47" fmla="*/ 354 h 515"/>
                  <a:gd name="T48" fmla="*/ 10 w 404"/>
                  <a:gd name="T49" fmla="*/ 331 h 515"/>
                  <a:gd name="T50" fmla="*/ 0 w 404"/>
                  <a:gd name="T51" fmla="*/ 304 h 515"/>
                  <a:gd name="T52" fmla="*/ 7 w 404"/>
                  <a:gd name="T53" fmla="*/ 262 h 515"/>
                  <a:gd name="T54" fmla="*/ 10 w 404"/>
                  <a:gd name="T55" fmla="*/ 250 h 515"/>
                  <a:gd name="T56" fmla="*/ 20 w 404"/>
                  <a:gd name="T57" fmla="*/ 240 h 515"/>
                  <a:gd name="T58" fmla="*/ 29 w 404"/>
                  <a:gd name="T59" fmla="*/ 224 h 515"/>
                  <a:gd name="T60" fmla="*/ 44 w 404"/>
                  <a:gd name="T61" fmla="*/ 217 h 515"/>
                  <a:gd name="T62" fmla="*/ 47 w 404"/>
                  <a:gd name="T63" fmla="*/ 206 h 515"/>
                  <a:gd name="T64" fmla="*/ 54 w 404"/>
                  <a:gd name="T65" fmla="*/ 187 h 515"/>
                  <a:gd name="T66" fmla="*/ 49 w 404"/>
                  <a:gd name="T67" fmla="*/ 151 h 515"/>
                  <a:gd name="T68" fmla="*/ 39 w 404"/>
                  <a:gd name="T69" fmla="*/ 132 h 515"/>
                  <a:gd name="T70" fmla="*/ 29 w 404"/>
                  <a:gd name="T71" fmla="*/ 119 h 515"/>
                  <a:gd name="T72" fmla="*/ 25 w 404"/>
                  <a:gd name="T73" fmla="*/ 102 h 515"/>
                  <a:gd name="T74" fmla="*/ 18 w 404"/>
                  <a:gd name="T75" fmla="*/ 92 h 515"/>
                  <a:gd name="T76" fmla="*/ 12 w 404"/>
                  <a:gd name="T77" fmla="*/ 86 h 515"/>
                  <a:gd name="T78" fmla="*/ 10 w 404"/>
                  <a:gd name="T79" fmla="*/ 78 h 515"/>
                  <a:gd name="T80" fmla="*/ 5 w 404"/>
                  <a:gd name="T81" fmla="*/ 66 h 515"/>
                  <a:gd name="T82" fmla="*/ 58 w 404"/>
                  <a:gd name="T83" fmla="*/ 15 h 515"/>
                  <a:gd name="T84" fmla="*/ 69 w 404"/>
                  <a:gd name="T85" fmla="*/ 7 h 515"/>
                  <a:gd name="T86" fmla="*/ 86 w 404"/>
                  <a:gd name="T87" fmla="*/ 7 h 515"/>
                  <a:gd name="T88" fmla="*/ 95 w 404"/>
                  <a:gd name="T89" fmla="*/ 20 h 515"/>
                  <a:gd name="T90" fmla="*/ 102 w 404"/>
                  <a:gd name="T91" fmla="*/ 51 h 515"/>
                  <a:gd name="T92" fmla="*/ 146 w 404"/>
                  <a:gd name="T93" fmla="*/ 52 h 515"/>
                  <a:gd name="T94" fmla="*/ 192 w 404"/>
                  <a:gd name="T95" fmla="*/ 81 h 515"/>
                  <a:gd name="T96" fmla="*/ 233 w 404"/>
                  <a:gd name="T97" fmla="*/ 95 h 515"/>
                  <a:gd name="T98" fmla="*/ 241 w 404"/>
                  <a:gd name="T99" fmla="*/ 95 h 515"/>
                  <a:gd name="T100" fmla="*/ 267 w 404"/>
                  <a:gd name="T101" fmla="*/ 102 h 515"/>
                  <a:gd name="T102" fmla="*/ 282 w 404"/>
                  <a:gd name="T103" fmla="*/ 103 h 515"/>
                  <a:gd name="T104" fmla="*/ 316 w 404"/>
                  <a:gd name="T105" fmla="*/ 76 h 515"/>
                  <a:gd name="T106" fmla="*/ 352 w 404"/>
                  <a:gd name="T107" fmla="*/ 64 h 515"/>
                  <a:gd name="T108" fmla="*/ 370 w 404"/>
                  <a:gd name="T109" fmla="*/ 78 h 515"/>
                  <a:gd name="T110" fmla="*/ 386 w 404"/>
                  <a:gd name="T111" fmla="*/ 76 h 515"/>
                  <a:gd name="T112" fmla="*/ 398 w 404"/>
                  <a:gd name="T113" fmla="*/ 76 h 515"/>
                  <a:gd name="T114" fmla="*/ 367 w 404"/>
                  <a:gd name="T115" fmla="*/ 386 h 515"/>
                  <a:gd name="T116" fmla="*/ 358 w 404"/>
                  <a:gd name="T117" fmla="*/ 391 h 515"/>
                  <a:gd name="T118" fmla="*/ 364 w 404"/>
                  <a:gd name="T119" fmla="*/ 382 h 515"/>
                  <a:gd name="T120" fmla="*/ 370 w 404"/>
                  <a:gd name="T121" fmla="*/ 379 h 515"/>
                  <a:gd name="T122" fmla="*/ 372 w 404"/>
                  <a:gd name="T123" fmla="*/ 377 h 515"/>
                  <a:gd name="T124" fmla="*/ 384 w 404"/>
                  <a:gd name="T125" fmla="*/ 367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04" h="515">
                    <a:moveTo>
                      <a:pt x="404" y="76"/>
                    </a:moveTo>
                    <a:lnTo>
                      <a:pt x="401" y="80"/>
                    </a:lnTo>
                    <a:lnTo>
                      <a:pt x="375" y="119"/>
                    </a:lnTo>
                    <a:lnTo>
                      <a:pt x="360" y="132"/>
                    </a:lnTo>
                    <a:lnTo>
                      <a:pt x="358" y="136"/>
                    </a:lnTo>
                    <a:lnTo>
                      <a:pt x="358" y="144"/>
                    </a:lnTo>
                    <a:lnTo>
                      <a:pt x="358" y="160"/>
                    </a:lnTo>
                    <a:lnTo>
                      <a:pt x="358" y="161"/>
                    </a:lnTo>
                    <a:lnTo>
                      <a:pt x="358" y="168"/>
                    </a:lnTo>
                    <a:lnTo>
                      <a:pt x="358" y="178"/>
                    </a:lnTo>
                    <a:lnTo>
                      <a:pt x="358" y="192"/>
                    </a:lnTo>
                    <a:lnTo>
                      <a:pt x="358" y="207"/>
                    </a:lnTo>
                    <a:lnTo>
                      <a:pt x="358" y="216"/>
                    </a:lnTo>
                    <a:lnTo>
                      <a:pt x="358" y="228"/>
                    </a:lnTo>
                    <a:lnTo>
                      <a:pt x="358" y="231"/>
                    </a:lnTo>
                    <a:lnTo>
                      <a:pt x="358" y="245"/>
                    </a:lnTo>
                    <a:lnTo>
                      <a:pt x="358" y="258"/>
                    </a:lnTo>
                    <a:lnTo>
                      <a:pt x="358" y="279"/>
                    </a:lnTo>
                    <a:lnTo>
                      <a:pt x="358" y="289"/>
                    </a:lnTo>
                    <a:lnTo>
                      <a:pt x="358" y="318"/>
                    </a:lnTo>
                    <a:lnTo>
                      <a:pt x="358" y="321"/>
                    </a:lnTo>
                    <a:lnTo>
                      <a:pt x="364" y="330"/>
                    </a:lnTo>
                    <a:lnTo>
                      <a:pt x="369" y="337"/>
                    </a:lnTo>
                    <a:lnTo>
                      <a:pt x="386" y="359"/>
                    </a:lnTo>
                    <a:lnTo>
                      <a:pt x="386" y="362"/>
                    </a:lnTo>
                    <a:lnTo>
                      <a:pt x="382" y="369"/>
                    </a:lnTo>
                    <a:lnTo>
                      <a:pt x="381" y="371"/>
                    </a:lnTo>
                    <a:lnTo>
                      <a:pt x="381" y="369"/>
                    </a:lnTo>
                    <a:lnTo>
                      <a:pt x="381" y="371"/>
                    </a:lnTo>
                    <a:lnTo>
                      <a:pt x="379" y="372"/>
                    </a:lnTo>
                    <a:lnTo>
                      <a:pt x="381" y="372"/>
                    </a:lnTo>
                    <a:lnTo>
                      <a:pt x="377" y="374"/>
                    </a:lnTo>
                    <a:lnTo>
                      <a:pt x="379" y="372"/>
                    </a:lnTo>
                    <a:lnTo>
                      <a:pt x="372" y="379"/>
                    </a:lnTo>
                    <a:lnTo>
                      <a:pt x="372" y="377"/>
                    </a:lnTo>
                    <a:lnTo>
                      <a:pt x="370" y="377"/>
                    </a:lnTo>
                    <a:lnTo>
                      <a:pt x="370" y="379"/>
                    </a:lnTo>
                    <a:lnTo>
                      <a:pt x="369" y="377"/>
                    </a:lnTo>
                    <a:lnTo>
                      <a:pt x="369" y="379"/>
                    </a:lnTo>
                    <a:lnTo>
                      <a:pt x="367" y="379"/>
                    </a:lnTo>
                    <a:lnTo>
                      <a:pt x="365" y="379"/>
                    </a:lnTo>
                    <a:lnTo>
                      <a:pt x="360" y="381"/>
                    </a:lnTo>
                    <a:lnTo>
                      <a:pt x="360" y="382"/>
                    </a:lnTo>
                    <a:lnTo>
                      <a:pt x="358" y="382"/>
                    </a:lnTo>
                    <a:lnTo>
                      <a:pt x="357" y="381"/>
                    </a:lnTo>
                    <a:lnTo>
                      <a:pt x="357" y="377"/>
                    </a:lnTo>
                    <a:lnTo>
                      <a:pt x="358" y="376"/>
                    </a:lnTo>
                    <a:lnTo>
                      <a:pt x="357" y="377"/>
                    </a:lnTo>
                    <a:lnTo>
                      <a:pt x="357" y="379"/>
                    </a:lnTo>
                    <a:lnTo>
                      <a:pt x="357" y="381"/>
                    </a:lnTo>
                    <a:lnTo>
                      <a:pt x="357" y="382"/>
                    </a:lnTo>
                    <a:lnTo>
                      <a:pt x="355" y="384"/>
                    </a:lnTo>
                    <a:lnTo>
                      <a:pt x="353" y="381"/>
                    </a:lnTo>
                    <a:lnTo>
                      <a:pt x="353" y="379"/>
                    </a:lnTo>
                    <a:lnTo>
                      <a:pt x="348" y="377"/>
                    </a:lnTo>
                    <a:lnTo>
                      <a:pt x="353" y="381"/>
                    </a:lnTo>
                    <a:lnTo>
                      <a:pt x="353" y="391"/>
                    </a:lnTo>
                    <a:lnTo>
                      <a:pt x="357" y="391"/>
                    </a:lnTo>
                    <a:lnTo>
                      <a:pt x="357" y="393"/>
                    </a:lnTo>
                    <a:lnTo>
                      <a:pt x="357" y="396"/>
                    </a:lnTo>
                    <a:lnTo>
                      <a:pt x="355" y="396"/>
                    </a:lnTo>
                    <a:lnTo>
                      <a:pt x="353" y="394"/>
                    </a:lnTo>
                    <a:lnTo>
                      <a:pt x="352" y="394"/>
                    </a:lnTo>
                    <a:lnTo>
                      <a:pt x="348" y="398"/>
                    </a:lnTo>
                    <a:lnTo>
                      <a:pt x="348" y="396"/>
                    </a:lnTo>
                    <a:lnTo>
                      <a:pt x="347" y="398"/>
                    </a:lnTo>
                    <a:lnTo>
                      <a:pt x="350" y="398"/>
                    </a:lnTo>
                    <a:lnTo>
                      <a:pt x="348" y="399"/>
                    </a:lnTo>
                    <a:lnTo>
                      <a:pt x="347" y="401"/>
                    </a:lnTo>
                    <a:lnTo>
                      <a:pt x="347" y="403"/>
                    </a:lnTo>
                    <a:lnTo>
                      <a:pt x="343" y="405"/>
                    </a:lnTo>
                    <a:lnTo>
                      <a:pt x="340" y="408"/>
                    </a:lnTo>
                    <a:lnTo>
                      <a:pt x="338" y="408"/>
                    </a:lnTo>
                    <a:lnTo>
                      <a:pt x="335" y="406"/>
                    </a:lnTo>
                    <a:lnTo>
                      <a:pt x="330" y="408"/>
                    </a:lnTo>
                    <a:lnTo>
                      <a:pt x="323" y="411"/>
                    </a:lnTo>
                    <a:lnTo>
                      <a:pt x="319" y="415"/>
                    </a:lnTo>
                    <a:lnTo>
                      <a:pt x="316" y="418"/>
                    </a:lnTo>
                    <a:lnTo>
                      <a:pt x="316" y="422"/>
                    </a:lnTo>
                    <a:lnTo>
                      <a:pt x="316" y="427"/>
                    </a:lnTo>
                    <a:lnTo>
                      <a:pt x="318" y="430"/>
                    </a:lnTo>
                    <a:lnTo>
                      <a:pt x="319" y="430"/>
                    </a:lnTo>
                    <a:lnTo>
                      <a:pt x="318" y="432"/>
                    </a:lnTo>
                    <a:lnTo>
                      <a:pt x="316" y="435"/>
                    </a:lnTo>
                    <a:lnTo>
                      <a:pt x="316" y="437"/>
                    </a:lnTo>
                    <a:lnTo>
                      <a:pt x="314" y="440"/>
                    </a:lnTo>
                    <a:lnTo>
                      <a:pt x="314" y="444"/>
                    </a:lnTo>
                    <a:lnTo>
                      <a:pt x="314" y="445"/>
                    </a:lnTo>
                    <a:lnTo>
                      <a:pt x="306" y="451"/>
                    </a:lnTo>
                    <a:lnTo>
                      <a:pt x="301" y="462"/>
                    </a:lnTo>
                    <a:lnTo>
                      <a:pt x="301" y="466"/>
                    </a:lnTo>
                    <a:lnTo>
                      <a:pt x="299" y="473"/>
                    </a:lnTo>
                    <a:lnTo>
                      <a:pt x="296" y="478"/>
                    </a:lnTo>
                    <a:lnTo>
                      <a:pt x="294" y="481"/>
                    </a:lnTo>
                    <a:lnTo>
                      <a:pt x="294" y="483"/>
                    </a:lnTo>
                    <a:lnTo>
                      <a:pt x="292" y="485"/>
                    </a:lnTo>
                    <a:lnTo>
                      <a:pt x="290" y="481"/>
                    </a:lnTo>
                    <a:lnTo>
                      <a:pt x="289" y="483"/>
                    </a:lnTo>
                    <a:lnTo>
                      <a:pt x="285" y="483"/>
                    </a:lnTo>
                    <a:lnTo>
                      <a:pt x="285" y="485"/>
                    </a:lnTo>
                    <a:lnTo>
                      <a:pt x="289" y="485"/>
                    </a:lnTo>
                    <a:lnTo>
                      <a:pt x="290" y="486"/>
                    </a:lnTo>
                    <a:lnTo>
                      <a:pt x="287" y="491"/>
                    </a:lnTo>
                    <a:lnTo>
                      <a:pt x="284" y="503"/>
                    </a:lnTo>
                    <a:lnTo>
                      <a:pt x="282" y="503"/>
                    </a:lnTo>
                    <a:lnTo>
                      <a:pt x="280" y="507"/>
                    </a:lnTo>
                    <a:lnTo>
                      <a:pt x="280" y="510"/>
                    </a:lnTo>
                    <a:lnTo>
                      <a:pt x="279" y="512"/>
                    </a:lnTo>
                    <a:lnTo>
                      <a:pt x="279" y="510"/>
                    </a:lnTo>
                    <a:lnTo>
                      <a:pt x="277" y="512"/>
                    </a:lnTo>
                    <a:lnTo>
                      <a:pt x="279" y="513"/>
                    </a:lnTo>
                    <a:lnTo>
                      <a:pt x="277" y="513"/>
                    </a:lnTo>
                    <a:lnTo>
                      <a:pt x="272" y="513"/>
                    </a:lnTo>
                    <a:lnTo>
                      <a:pt x="272" y="512"/>
                    </a:lnTo>
                    <a:lnTo>
                      <a:pt x="270" y="513"/>
                    </a:lnTo>
                    <a:lnTo>
                      <a:pt x="268" y="515"/>
                    </a:lnTo>
                    <a:lnTo>
                      <a:pt x="268" y="513"/>
                    </a:lnTo>
                    <a:lnTo>
                      <a:pt x="267" y="513"/>
                    </a:lnTo>
                    <a:lnTo>
                      <a:pt x="263" y="510"/>
                    </a:lnTo>
                    <a:lnTo>
                      <a:pt x="248" y="500"/>
                    </a:lnTo>
                    <a:lnTo>
                      <a:pt x="231" y="488"/>
                    </a:lnTo>
                    <a:lnTo>
                      <a:pt x="228" y="486"/>
                    </a:lnTo>
                    <a:lnTo>
                      <a:pt x="205" y="471"/>
                    </a:lnTo>
                    <a:lnTo>
                      <a:pt x="195" y="464"/>
                    </a:lnTo>
                    <a:lnTo>
                      <a:pt x="194" y="457"/>
                    </a:lnTo>
                    <a:lnTo>
                      <a:pt x="192" y="457"/>
                    </a:lnTo>
                    <a:lnTo>
                      <a:pt x="190" y="456"/>
                    </a:lnTo>
                    <a:lnTo>
                      <a:pt x="188" y="457"/>
                    </a:lnTo>
                    <a:lnTo>
                      <a:pt x="187" y="457"/>
                    </a:lnTo>
                    <a:lnTo>
                      <a:pt x="187" y="454"/>
                    </a:lnTo>
                    <a:lnTo>
                      <a:pt x="185" y="454"/>
                    </a:lnTo>
                    <a:lnTo>
                      <a:pt x="185" y="452"/>
                    </a:lnTo>
                    <a:lnTo>
                      <a:pt x="190" y="449"/>
                    </a:lnTo>
                    <a:lnTo>
                      <a:pt x="190" y="447"/>
                    </a:lnTo>
                    <a:lnTo>
                      <a:pt x="192" y="445"/>
                    </a:lnTo>
                    <a:lnTo>
                      <a:pt x="190" y="434"/>
                    </a:lnTo>
                    <a:lnTo>
                      <a:pt x="171" y="422"/>
                    </a:lnTo>
                    <a:lnTo>
                      <a:pt x="144" y="408"/>
                    </a:lnTo>
                    <a:lnTo>
                      <a:pt x="115" y="391"/>
                    </a:lnTo>
                    <a:lnTo>
                      <a:pt x="105" y="386"/>
                    </a:lnTo>
                    <a:lnTo>
                      <a:pt x="105" y="384"/>
                    </a:lnTo>
                    <a:lnTo>
                      <a:pt x="69" y="365"/>
                    </a:lnTo>
                    <a:lnTo>
                      <a:pt x="56" y="357"/>
                    </a:lnTo>
                    <a:lnTo>
                      <a:pt x="49" y="354"/>
                    </a:lnTo>
                    <a:lnTo>
                      <a:pt x="41" y="348"/>
                    </a:lnTo>
                    <a:lnTo>
                      <a:pt x="27" y="342"/>
                    </a:lnTo>
                    <a:lnTo>
                      <a:pt x="20" y="337"/>
                    </a:lnTo>
                    <a:lnTo>
                      <a:pt x="17" y="337"/>
                    </a:lnTo>
                    <a:lnTo>
                      <a:pt x="17" y="335"/>
                    </a:lnTo>
                    <a:lnTo>
                      <a:pt x="10" y="331"/>
                    </a:lnTo>
                    <a:lnTo>
                      <a:pt x="8" y="330"/>
                    </a:lnTo>
                    <a:lnTo>
                      <a:pt x="5" y="331"/>
                    </a:lnTo>
                    <a:lnTo>
                      <a:pt x="5" y="330"/>
                    </a:lnTo>
                    <a:lnTo>
                      <a:pt x="0" y="330"/>
                    </a:lnTo>
                    <a:lnTo>
                      <a:pt x="0" y="325"/>
                    </a:lnTo>
                    <a:lnTo>
                      <a:pt x="0" y="304"/>
                    </a:lnTo>
                    <a:lnTo>
                      <a:pt x="0" y="303"/>
                    </a:lnTo>
                    <a:lnTo>
                      <a:pt x="3" y="289"/>
                    </a:lnTo>
                    <a:lnTo>
                      <a:pt x="3" y="286"/>
                    </a:lnTo>
                    <a:lnTo>
                      <a:pt x="0" y="274"/>
                    </a:lnTo>
                    <a:lnTo>
                      <a:pt x="5" y="265"/>
                    </a:lnTo>
                    <a:lnTo>
                      <a:pt x="7" y="262"/>
                    </a:lnTo>
                    <a:lnTo>
                      <a:pt x="8" y="262"/>
                    </a:lnTo>
                    <a:lnTo>
                      <a:pt x="8" y="260"/>
                    </a:lnTo>
                    <a:lnTo>
                      <a:pt x="8" y="255"/>
                    </a:lnTo>
                    <a:lnTo>
                      <a:pt x="10" y="255"/>
                    </a:lnTo>
                    <a:lnTo>
                      <a:pt x="10" y="251"/>
                    </a:lnTo>
                    <a:lnTo>
                      <a:pt x="10" y="250"/>
                    </a:lnTo>
                    <a:lnTo>
                      <a:pt x="13" y="248"/>
                    </a:lnTo>
                    <a:lnTo>
                      <a:pt x="13" y="246"/>
                    </a:lnTo>
                    <a:lnTo>
                      <a:pt x="18" y="246"/>
                    </a:lnTo>
                    <a:lnTo>
                      <a:pt x="18" y="245"/>
                    </a:lnTo>
                    <a:lnTo>
                      <a:pt x="20" y="243"/>
                    </a:lnTo>
                    <a:lnTo>
                      <a:pt x="20" y="240"/>
                    </a:lnTo>
                    <a:lnTo>
                      <a:pt x="25" y="238"/>
                    </a:lnTo>
                    <a:lnTo>
                      <a:pt x="24" y="236"/>
                    </a:lnTo>
                    <a:lnTo>
                      <a:pt x="25" y="234"/>
                    </a:lnTo>
                    <a:lnTo>
                      <a:pt x="27" y="233"/>
                    </a:lnTo>
                    <a:lnTo>
                      <a:pt x="29" y="231"/>
                    </a:lnTo>
                    <a:lnTo>
                      <a:pt x="29" y="224"/>
                    </a:lnTo>
                    <a:lnTo>
                      <a:pt x="30" y="223"/>
                    </a:lnTo>
                    <a:lnTo>
                      <a:pt x="32" y="223"/>
                    </a:lnTo>
                    <a:lnTo>
                      <a:pt x="34" y="221"/>
                    </a:lnTo>
                    <a:lnTo>
                      <a:pt x="37" y="219"/>
                    </a:lnTo>
                    <a:lnTo>
                      <a:pt x="37" y="217"/>
                    </a:lnTo>
                    <a:lnTo>
                      <a:pt x="44" y="217"/>
                    </a:lnTo>
                    <a:lnTo>
                      <a:pt x="44" y="216"/>
                    </a:lnTo>
                    <a:lnTo>
                      <a:pt x="46" y="214"/>
                    </a:lnTo>
                    <a:lnTo>
                      <a:pt x="46" y="212"/>
                    </a:lnTo>
                    <a:lnTo>
                      <a:pt x="44" y="209"/>
                    </a:lnTo>
                    <a:lnTo>
                      <a:pt x="44" y="207"/>
                    </a:lnTo>
                    <a:lnTo>
                      <a:pt x="47" y="206"/>
                    </a:lnTo>
                    <a:lnTo>
                      <a:pt x="47" y="202"/>
                    </a:lnTo>
                    <a:lnTo>
                      <a:pt x="49" y="200"/>
                    </a:lnTo>
                    <a:lnTo>
                      <a:pt x="51" y="199"/>
                    </a:lnTo>
                    <a:lnTo>
                      <a:pt x="52" y="195"/>
                    </a:lnTo>
                    <a:lnTo>
                      <a:pt x="54" y="195"/>
                    </a:lnTo>
                    <a:lnTo>
                      <a:pt x="54" y="187"/>
                    </a:lnTo>
                    <a:lnTo>
                      <a:pt x="56" y="182"/>
                    </a:lnTo>
                    <a:lnTo>
                      <a:pt x="52" y="178"/>
                    </a:lnTo>
                    <a:lnTo>
                      <a:pt x="49" y="156"/>
                    </a:lnTo>
                    <a:lnTo>
                      <a:pt x="52" y="155"/>
                    </a:lnTo>
                    <a:lnTo>
                      <a:pt x="51" y="151"/>
                    </a:lnTo>
                    <a:lnTo>
                      <a:pt x="49" y="151"/>
                    </a:lnTo>
                    <a:lnTo>
                      <a:pt x="49" y="148"/>
                    </a:lnTo>
                    <a:lnTo>
                      <a:pt x="47" y="148"/>
                    </a:lnTo>
                    <a:lnTo>
                      <a:pt x="42" y="143"/>
                    </a:lnTo>
                    <a:lnTo>
                      <a:pt x="42" y="139"/>
                    </a:lnTo>
                    <a:lnTo>
                      <a:pt x="42" y="136"/>
                    </a:lnTo>
                    <a:lnTo>
                      <a:pt x="39" y="132"/>
                    </a:lnTo>
                    <a:lnTo>
                      <a:pt x="37" y="134"/>
                    </a:lnTo>
                    <a:lnTo>
                      <a:pt x="35" y="131"/>
                    </a:lnTo>
                    <a:lnTo>
                      <a:pt x="34" y="131"/>
                    </a:lnTo>
                    <a:lnTo>
                      <a:pt x="32" y="122"/>
                    </a:lnTo>
                    <a:lnTo>
                      <a:pt x="30" y="119"/>
                    </a:lnTo>
                    <a:lnTo>
                      <a:pt x="29" y="119"/>
                    </a:lnTo>
                    <a:lnTo>
                      <a:pt x="27" y="117"/>
                    </a:lnTo>
                    <a:lnTo>
                      <a:pt x="25" y="112"/>
                    </a:lnTo>
                    <a:lnTo>
                      <a:pt x="24" y="107"/>
                    </a:lnTo>
                    <a:lnTo>
                      <a:pt x="24" y="103"/>
                    </a:lnTo>
                    <a:lnTo>
                      <a:pt x="24" y="102"/>
                    </a:lnTo>
                    <a:lnTo>
                      <a:pt x="25" y="102"/>
                    </a:lnTo>
                    <a:lnTo>
                      <a:pt x="25" y="100"/>
                    </a:lnTo>
                    <a:lnTo>
                      <a:pt x="27" y="93"/>
                    </a:lnTo>
                    <a:lnTo>
                      <a:pt x="24" y="92"/>
                    </a:lnTo>
                    <a:lnTo>
                      <a:pt x="22" y="90"/>
                    </a:lnTo>
                    <a:lnTo>
                      <a:pt x="20" y="90"/>
                    </a:lnTo>
                    <a:lnTo>
                      <a:pt x="18" y="92"/>
                    </a:lnTo>
                    <a:lnTo>
                      <a:pt x="18" y="90"/>
                    </a:lnTo>
                    <a:lnTo>
                      <a:pt x="15" y="86"/>
                    </a:lnTo>
                    <a:lnTo>
                      <a:pt x="12" y="88"/>
                    </a:lnTo>
                    <a:lnTo>
                      <a:pt x="12" y="86"/>
                    </a:lnTo>
                    <a:lnTo>
                      <a:pt x="13" y="86"/>
                    </a:lnTo>
                    <a:lnTo>
                      <a:pt x="12" y="86"/>
                    </a:lnTo>
                    <a:lnTo>
                      <a:pt x="12" y="85"/>
                    </a:lnTo>
                    <a:lnTo>
                      <a:pt x="15" y="85"/>
                    </a:lnTo>
                    <a:lnTo>
                      <a:pt x="13" y="81"/>
                    </a:lnTo>
                    <a:lnTo>
                      <a:pt x="8" y="83"/>
                    </a:lnTo>
                    <a:lnTo>
                      <a:pt x="8" y="81"/>
                    </a:lnTo>
                    <a:lnTo>
                      <a:pt x="10" y="78"/>
                    </a:lnTo>
                    <a:lnTo>
                      <a:pt x="7" y="75"/>
                    </a:lnTo>
                    <a:lnTo>
                      <a:pt x="8" y="75"/>
                    </a:lnTo>
                    <a:lnTo>
                      <a:pt x="8" y="73"/>
                    </a:lnTo>
                    <a:lnTo>
                      <a:pt x="5" y="69"/>
                    </a:lnTo>
                    <a:lnTo>
                      <a:pt x="7" y="69"/>
                    </a:lnTo>
                    <a:lnTo>
                      <a:pt x="5" y="66"/>
                    </a:lnTo>
                    <a:lnTo>
                      <a:pt x="3" y="64"/>
                    </a:lnTo>
                    <a:lnTo>
                      <a:pt x="10" y="58"/>
                    </a:lnTo>
                    <a:lnTo>
                      <a:pt x="25" y="42"/>
                    </a:lnTo>
                    <a:lnTo>
                      <a:pt x="34" y="35"/>
                    </a:lnTo>
                    <a:lnTo>
                      <a:pt x="49" y="22"/>
                    </a:lnTo>
                    <a:lnTo>
                      <a:pt x="58" y="15"/>
                    </a:lnTo>
                    <a:lnTo>
                      <a:pt x="61" y="12"/>
                    </a:lnTo>
                    <a:lnTo>
                      <a:pt x="68" y="1"/>
                    </a:lnTo>
                    <a:lnTo>
                      <a:pt x="69" y="0"/>
                    </a:lnTo>
                    <a:lnTo>
                      <a:pt x="71" y="3"/>
                    </a:lnTo>
                    <a:lnTo>
                      <a:pt x="69" y="3"/>
                    </a:lnTo>
                    <a:lnTo>
                      <a:pt x="69" y="7"/>
                    </a:lnTo>
                    <a:lnTo>
                      <a:pt x="71" y="8"/>
                    </a:lnTo>
                    <a:lnTo>
                      <a:pt x="75" y="7"/>
                    </a:lnTo>
                    <a:lnTo>
                      <a:pt x="80" y="5"/>
                    </a:lnTo>
                    <a:lnTo>
                      <a:pt x="81" y="3"/>
                    </a:lnTo>
                    <a:lnTo>
                      <a:pt x="85" y="5"/>
                    </a:lnTo>
                    <a:lnTo>
                      <a:pt x="86" y="7"/>
                    </a:lnTo>
                    <a:lnTo>
                      <a:pt x="90" y="5"/>
                    </a:lnTo>
                    <a:lnTo>
                      <a:pt x="93" y="8"/>
                    </a:lnTo>
                    <a:lnTo>
                      <a:pt x="98" y="8"/>
                    </a:lnTo>
                    <a:lnTo>
                      <a:pt x="97" y="12"/>
                    </a:lnTo>
                    <a:lnTo>
                      <a:pt x="98" y="17"/>
                    </a:lnTo>
                    <a:lnTo>
                      <a:pt x="95" y="20"/>
                    </a:lnTo>
                    <a:lnTo>
                      <a:pt x="95" y="27"/>
                    </a:lnTo>
                    <a:lnTo>
                      <a:pt x="95" y="35"/>
                    </a:lnTo>
                    <a:lnTo>
                      <a:pt x="102" y="44"/>
                    </a:lnTo>
                    <a:lnTo>
                      <a:pt x="102" y="46"/>
                    </a:lnTo>
                    <a:lnTo>
                      <a:pt x="103" y="47"/>
                    </a:lnTo>
                    <a:lnTo>
                      <a:pt x="102" y="51"/>
                    </a:lnTo>
                    <a:lnTo>
                      <a:pt x="103" y="52"/>
                    </a:lnTo>
                    <a:lnTo>
                      <a:pt x="117" y="52"/>
                    </a:lnTo>
                    <a:lnTo>
                      <a:pt x="132" y="52"/>
                    </a:lnTo>
                    <a:lnTo>
                      <a:pt x="136" y="52"/>
                    </a:lnTo>
                    <a:lnTo>
                      <a:pt x="137" y="52"/>
                    </a:lnTo>
                    <a:lnTo>
                      <a:pt x="146" y="52"/>
                    </a:lnTo>
                    <a:lnTo>
                      <a:pt x="156" y="56"/>
                    </a:lnTo>
                    <a:lnTo>
                      <a:pt x="158" y="58"/>
                    </a:lnTo>
                    <a:lnTo>
                      <a:pt x="160" y="58"/>
                    </a:lnTo>
                    <a:lnTo>
                      <a:pt x="161" y="61"/>
                    </a:lnTo>
                    <a:lnTo>
                      <a:pt x="178" y="71"/>
                    </a:lnTo>
                    <a:lnTo>
                      <a:pt x="192" y="81"/>
                    </a:lnTo>
                    <a:lnTo>
                      <a:pt x="202" y="86"/>
                    </a:lnTo>
                    <a:lnTo>
                      <a:pt x="205" y="90"/>
                    </a:lnTo>
                    <a:lnTo>
                      <a:pt x="212" y="95"/>
                    </a:lnTo>
                    <a:lnTo>
                      <a:pt x="216" y="95"/>
                    </a:lnTo>
                    <a:lnTo>
                      <a:pt x="229" y="97"/>
                    </a:lnTo>
                    <a:lnTo>
                      <a:pt x="233" y="95"/>
                    </a:lnTo>
                    <a:lnTo>
                      <a:pt x="233" y="93"/>
                    </a:lnTo>
                    <a:lnTo>
                      <a:pt x="234" y="93"/>
                    </a:lnTo>
                    <a:lnTo>
                      <a:pt x="236" y="97"/>
                    </a:lnTo>
                    <a:lnTo>
                      <a:pt x="238" y="95"/>
                    </a:lnTo>
                    <a:lnTo>
                      <a:pt x="239" y="97"/>
                    </a:lnTo>
                    <a:lnTo>
                      <a:pt x="241" y="95"/>
                    </a:lnTo>
                    <a:lnTo>
                      <a:pt x="243" y="98"/>
                    </a:lnTo>
                    <a:lnTo>
                      <a:pt x="253" y="100"/>
                    </a:lnTo>
                    <a:lnTo>
                      <a:pt x="255" y="100"/>
                    </a:lnTo>
                    <a:lnTo>
                      <a:pt x="258" y="100"/>
                    </a:lnTo>
                    <a:lnTo>
                      <a:pt x="262" y="100"/>
                    </a:lnTo>
                    <a:lnTo>
                      <a:pt x="267" y="102"/>
                    </a:lnTo>
                    <a:lnTo>
                      <a:pt x="270" y="103"/>
                    </a:lnTo>
                    <a:lnTo>
                      <a:pt x="272" y="102"/>
                    </a:lnTo>
                    <a:lnTo>
                      <a:pt x="273" y="102"/>
                    </a:lnTo>
                    <a:lnTo>
                      <a:pt x="273" y="103"/>
                    </a:lnTo>
                    <a:lnTo>
                      <a:pt x="280" y="103"/>
                    </a:lnTo>
                    <a:lnTo>
                      <a:pt x="282" y="103"/>
                    </a:lnTo>
                    <a:lnTo>
                      <a:pt x="284" y="105"/>
                    </a:lnTo>
                    <a:lnTo>
                      <a:pt x="285" y="107"/>
                    </a:lnTo>
                    <a:lnTo>
                      <a:pt x="287" y="102"/>
                    </a:lnTo>
                    <a:lnTo>
                      <a:pt x="296" y="93"/>
                    </a:lnTo>
                    <a:lnTo>
                      <a:pt x="301" y="83"/>
                    </a:lnTo>
                    <a:lnTo>
                      <a:pt x="316" y="76"/>
                    </a:lnTo>
                    <a:lnTo>
                      <a:pt x="330" y="69"/>
                    </a:lnTo>
                    <a:lnTo>
                      <a:pt x="343" y="64"/>
                    </a:lnTo>
                    <a:lnTo>
                      <a:pt x="345" y="64"/>
                    </a:lnTo>
                    <a:lnTo>
                      <a:pt x="347" y="63"/>
                    </a:lnTo>
                    <a:lnTo>
                      <a:pt x="348" y="63"/>
                    </a:lnTo>
                    <a:lnTo>
                      <a:pt x="352" y="64"/>
                    </a:lnTo>
                    <a:lnTo>
                      <a:pt x="353" y="68"/>
                    </a:lnTo>
                    <a:lnTo>
                      <a:pt x="355" y="68"/>
                    </a:lnTo>
                    <a:lnTo>
                      <a:pt x="358" y="69"/>
                    </a:lnTo>
                    <a:lnTo>
                      <a:pt x="365" y="78"/>
                    </a:lnTo>
                    <a:lnTo>
                      <a:pt x="369" y="80"/>
                    </a:lnTo>
                    <a:lnTo>
                      <a:pt x="370" y="78"/>
                    </a:lnTo>
                    <a:lnTo>
                      <a:pt x="375" y="80"/>
                    </a:lnTo>
                    <a:lnTo>
                      <a:pt x="375" y="78"/>
                    </a:lnTo>
                    <a:lnTo>
                      <a:pt x="377" y="78"/>
                    </a:lnTo>
                    <a:lnTo>
                      <a:pt x="379" y="78"/>
                    </a:lnTo>
                    <a:lnTo>
                      <a:pt x="384" y="78"/>
                    </a:lnTo>
                    <a:lnTo>
                      <a:pt x="386" y="76"/>
                    </a:lnTo>
                    <a:lnTo>
                      <a:pt x="387" y="78"/>
                    </a:lnTo>
                    <a:lnTo>
                      <a:pt x="391" y="76"/>
                    </a:lnTo>
                    <a:lnTo>
                      <a:pt x="392" y="78"/>
                    </a:lnTo>
                    <a:lnTo>
                      <a:pt x="394" y="76"/>
                    </a:lnTo>
                    <a:lnTo>
                      <a:pt x="396" y="78"/>
                    </a:lnTo>
                    <a:lnTo>
                      <a:pt x="398" y="76"/>
                    </a:lnTo>
                    <a:lnTo>
                      <a:pt x="399" y="78"/>
                    </a:lnTo>
                    <a:lnTo>
                      <a:pt x="401" y="78"/>
                    </a:lnTo>
                    <a:lnTo>
                      <a:pt x="404" y="76"/>
                    </a:lnTo>
                    <a:close/>
                    <a:moveTo>
                      <a:pt x="364" y="382"/>
                    </a:moveTo>
                    <a:lnTo>
                      <a:pt x="367" y="384"/>
                    </a:lnTo>
                    <a:lnTo>
                      <a:pt x="367" y="386"/>
                    </a:lnTo>
                    <a:lnTo>
                      <a:pt x="365" y="386"/>
                    </a:lnTo>
                    <a:lnTo>
                      <a:pt x="364" y="386"/>
                    </a:lnTo>
                    <a:lnTo>
                      <a:pt x="364" y="388"/>
                    </a:lnTo>
                    <a:lnTo>
                      <a:pt x="360" y="388"/>
                    </a:lnTo>
                    <a:lnTo>
                      <a:pt x="358" y="388"/>
                    </a:lnTo>
                    <a:lnTo>
                      <a:pt x="358" y="391"/>
                    </a:lnTo>
                    <a:lnTo>
                      <a:pt x="357" y="389"/>
                    </a:lnTo>
                    <a:lnTo>
                      <a:pt x="357" y="388"/>
                    </a:lnTo>
                    <a:lnTo>
                      <a:pt x="357" y="386"/>
                    </a:lnTo>
                    <a:lnTo>
                      <a:pt x="360" y="384"/>
                    </a:lnTo>
                    <a:lnTo>
                      <a:pt x="362" y="382"/>
                    </a:lnTo>
                    <a:lnTo>
                      <a:pt x="364" y="382"/>
                    </a:lnTo>
                    <a:close/>
                    <a:moveTo>
                      <a:pt x="289" y="483"/>
                    </a:moveTo>
                    <a:lnTo>
                      <a:pt x="292" y="483"/>
                    </a:lnTo>
                    <a:lnTo>
                      <a:pt x="292" y="485"/>
                    </a:lnTo>
                    <a:lnTo>
                      <a:pt x="289" y="485"/>
                    </a:lnTo>
                    <a:lnTo>
                      <a:pt x="289" y="483"/>
                    </a:lnTo>
                    <a:close/>
                    <a:moveTo>
                      <a:pt x="370" y="379"/>
                    </a:moveTo>
                    <a:lnTo>
                      <a:pt x="372" y="379"/>
                    </a:lnTo>
                    <a:lnTo>
                      <a:pt x="374" y="379"/>
                    </a:lnTo>
                    <a:lnTo>
                      <a:pt x="370" y="382"/>
                    </a:lnTo>
                    <a:lnTo>
                      <a:pt x="372" y="381"/>
                    </a:lnTo>
                    <a:lnTo>
                      <a:pt x="370" y="379"/>
                    </a:lnTo>
                    <a:lnTo>
                      <a:pt x="372" y="377"/>
                    </a:lnTo>
                    <a:lnTo>
                      <a:pt x="370" y="379"/>
                    </a:lnTo>
                    <a:close/>
                    <a:moveTo>
                      <a:pt x="365" y="381"/>
                    </a:moveTo>
                    <a:lnTo>
                      <a:pt x="369" y="381"/>
                    </a:lnTo>
                    <a:lnTo>
                      <a:pt x="365" y="381"/>
                    </a:lnTo>
                    <a:close/>
                    <a:moveTo>
                      <a:pt x="382" y="367"/>
                    </a:moveTo>
                    <a:lnTo>
                      <a:pt x="384" y="367"/>
                    </a:lnTo>
                    <a:lnTo>
                      <a:pt x="384" y="369"/>
                    </a:lnTo>
                    <a:lnTo>
                      <a:pt x="382" y="369"/>
                    </a:lnTo>
                    <a:lnTo>
                      <a:pt x="382" y="367"/>
                    </a:lnTo>
                    <a:close/>
                  </a:path>
                </a:pathLst>
              </a:custGeom>
              <a:solidFill>
                <a:schemeClr val="accent2"/>
              </a:solidFill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85" name="Freeform 35">
                <a:extLst>
                  <a:ext uri="{FF2B5EF4-FFF2-40B4-BE49-F238E27FC236}">
                    <a16:creationId xmlns:a16="http://schemas.microsoft.com/office/drawing/2014/main" id="{572E4124-D3DE-4C81-8BED-092FC9A701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48270" y="5751275"/>
                <a:ext cx="196844" cy="169856"/>
              </a:xfrm>
              <a:custGeom>
                <a:avLst/>
                <a:gdLst>
                  <a:gd name="T0" fmla="*/ 91 w 124"/>
                  <a:gd name="T1" fmla="*/ 7 h 107"/>
                  <a:gd name="T2" fmla="*/ 95 w 124"/>
                  <a:gd name="T3" fmla="*/ 11 h 107"/>
                  <a:gd name="T4" fmla="*/ 96 w 124"/>
                  <a:gd name="T5" fmla="*/ 12 h 107"/>
                  <a:gd name="T6" fmla="*/ 98 w 124"/>
                  <a:gd name="T7" fmla="*/ 14 h 107"/>
                  <a:gd name="T8" fmla="*/ 100 w 124"/>
                  <a:gd name="T9" fmla="*/ 17 h 107"/>
                  <a:gd name="T10" fmla="*/ 105 w 124"/>
                  <a:gd name="T11" fmla="*/ 17 h 107"/>
                  <a:gd name="T12" fmla="*/ 112 w 124"/>
                  <a:gd name="T13" fmla="*/ 24 h 107"/>
                  <a:gd name="T14" fmla="*/ 117 w 124"/>
                  <a:gd name="T15" fmla="*/ 26 h 107"/>
                  <a:gd name="T16" fmla="*/ 119 w 124"/>
                  <a:gd name="T17" fmla="*/ 33 h 107"/>
                  <a:gd name="T18" fmla="*/ 122 w 124"/>
                  <a:gd name="T19" fmla="*/ 36 h 107"/>
                  <a:gd name="T20" fmla="*/ 122 w 124"/>
                  <a:gd name="T21" fmla="*/ 39 h 107"/>
                  <a:gd name="T22" fmla="*/ 120 w 124"/>
                  <a:gd name="T23" fmla="*/ 45 h 107"/>
                  <a:gd name="T24" fmla="*/ 117 w 124"/>
                  <a:gd name="T25" fmla="*/ 50 h 107"/>
                  <a:gd name="T26" fmla="*/ 115 w 124"/>
                  <a:gd name="T27" fmla="*/ 51 h 107"/>
                  <a:gd name="T28" fmla="*/ 108 w 124"/>
                  <a:gd name="T29" fmla="*/ 56 h 107"/>
                  <a:gd name="T30" fmla="*/ 107 w 124"/>
                  <a:gd name="T31" fmla="*/ 63 h 107"/>
                  <a:gd name="T32" fmla="*/ 108 w 124"/>
                  <a:gd name="T33" fmla="*/ 68 h 107"/>
                  <a:gd name="T34" fmla="*/ 105 w 124"/>
                  <a:gd name="T35" fmla="*/ 70 h 107"/>
                  <a:gd name="T36" fmla="*/ 93 w 124"/>
                  <a:gd name="T37" fmla="*/ 77 h 107"/>
                  <a:gd name="T38" fmla="*/ 83 w 124"/>
                  <a:gd name="T39" fmla="*/ 80 h 107"/>
                  <a:gd name="T40" fmla="*/ 69 w 124"/>
                  <a:gd name="T41" fmla="*/ 80 h 107"/>
                  <a:gd name="T42" fmla="*/ 66 w 124"/>
                  <a:gd name="T43" fmla="*/ 84 h 107"/>
                  <a:gd name="T44" fmla="*/ 61 w 124"/>
                  <a:gd name="T45" fmla="*/ 87 h 107"/>
                  <a:gd name="T46" fmla="*/ 62 w 124"/>
                  <a:gd name="T47" fmla="*/ 94 h 107"/>
                  <a:gd name="T48" fmla="*/ 57 w 124"/>
                  <a:gd name="T49" fmla="*/ 96 h 107"/>
                  <a:gd name="T50" fmla="*/ 57 w 124"/>
                  <a:gd name="T51" fmla="*/ 101 h 107"/>
                  <a:gd name="T52" fmla="*/ 56 w 124"/>
                  <a:gd name="T53" fmla="*/ 107 h 107"/>
                  <a:gd name="T54" fmla="*/ 47 w 124"/>
                  <a:gd name="T55" fmla="*/ 106 h 107"/>
                  <a:gd name="T56" fmla="*/ 37 w 124"/>
                  <a:gd name="T57" fmla="*/ 104 h 107"/>
                  <a:gd name="T58" fmla="*/ 30 w 124"/>
                  <a:gd name="T59" fmla="*/ 96 h 107"/>
                  <a:gd name="T60" fmla="*/ 23 w 124"/>
                  <a:gd name="T61" fmla="*/ 92 h 107"/>
                  <a:gd name="T62" fmla="*/ 18 w 124"/>
                  <a:gd name="T63" fmla="*/ 89 h 107"/>
                  <a:gd name="T64" fmla="*/ 20 w 124"/>
                  <a:gd name="T65" fmla="*/ 80 h 107"/>
                  <a:gd name="T66" fmla="*/ 13 w 124"/>
                  <a:gd name="T67" fmla="*/ 75 h 107"/>
                  <a:gd name="T68" fmla="*/ 5 w 124"/>
                  <a:gd name="T69" fmla="*/ 60 h 107"/>
                  <a:gd name="T70" fmla="*/ 0 w 124"/>
                  <a:gd name="T71" fmla="*/ 53 h 107"/>
                  <a:gd name="T72" fmla="*/ 3 w 124"/>
                  <a:gd name="T73" fmla="*/ 53 h 107"/>
                  <a:gd name="T74" fmla="*/ 10 w 124"/>
                  <a:gd name="T75" fmla="*/ 50 h 107"/>
                  <a:gd name="T76" fmla="*/ 15 w 124"/>
                  <a:gd name="T77" fmla="*/ 50 h 107"/>
                  <a:gd name="T78" fmla="*/ 17 w 124"/>
                  <a:gd name="T79" fmla="*/ 45 h 107"/>
                  <a:gd name="T80" fmla="*/ 22 w 124"/>
                  <a:gd name="T81" fmla="*/ 41 h 107"/>
                  <a:gd name="T82" fmla="*/ 22 w 124"/>
                  <a:gd name="T83" fmla="*/ 38 h 107"/>
                  <a:gd name="T84" fmla="*/ 27 w 124"/>
                  <a:gd name="T85" fmla="*/ 36 h 107"/>
                  <a:gd name="T86" fmla="*/ 25 w 124"/>
                  <a:gd name="T87" fmla="*/ 33 h 107"/>
                  <a:gd name="T88" fmla="*/ 30 w 124"/>
                  <a:gd name="T89" fmla="*/ 29 h 107"/>
                  <a:gd name="T90" fmla="*/ 34 w 124"/>
                  <a:gd name="T91" fmla="*/ 26 h 107"/>
                  <a:gd name="T92" fmla="*/ 34 w 124"/>
                  <a:gd name="T93" fmla="*/ 22 h 107"/>
                  <a:gd name="T94" fmla="*/ 35 w 124"/>
                  <a:gd name="T95" fmla="*/ 19 h 107"/>
                  <a:gd name="T96" fmla="*/ 40 w 124"/>
                  <a:gd name="T97" fmla="*/ 17 h 107"/>
                  <a:gd name="T98" fmla="*/ 44 w 124"/>
                  <a:gd name="T99" fmla="*/ 16 h 107"/>
                  <a:gd name="T100" fmla="*/ 49 w 124"/>
                  <a:gd name="T101" fmla="*/ 16 h 107"/>
                  <a:gd name="T102" fmla="*/ 52 w 124"/>
                  <a:gd name="T103" fmla="*/ 12 h 107"/>
                  <a:gd name="T104" fmla="*/ 57 w 124"/>
                  <a:gd name="T105" fmla="*/ 9 h 107"/>
                  <a:gd name="T106" fmla="*/ 64 w 124"/>
                  <a:gd name="T107" fmla="*/ 7 h 107"/>
                  <a:gd name="T108" fmla="*/ 69 w 124"/>
                  <a:gd name="T109" fmla="*/ 5 h 107"/>
                  <a:gd name="T110" fmla="*/ 69 w 124"/>
                  <a:gd name="T111" fmla="*/ 4 h 107"/>
                  <a:gd name="T112" fmla="*/ 79 w 124"/>
                  <a:gd name="T113" fmla="*/ 2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4" h="107">
                    <a:moveTo>
                      <a:pt x="85" y="2"/>
                    </a:moveTo>
                    <a:lnTo>
                      <a:pt x="86" y="5"/>
                    </a:lnTo>
                    <a:lnTo>
                      <a:pt x="91" y="7"/>
                    </a:lnTo>
                    <a:lnTo>
                      <a:pt x="91" y="11"/>
                    </a:lnTo>
                    <a:lnTo>
                      <a:pt x="93" y="11"/>
                    </a:lnTo>
                    <a:lnTo>
                      <a:pt x="95" y="11"/>
                    </a:lnTo>
                    <a:lnTo>
                      <a:pt x="96" y="11"/>
                    </a:lnTo>
                    <a:lnTo>
                      <a:pt x="98" y="11"/>
                    </a:lnTo>
                    <a:lnTo>
                      <a:pt x="96" y="12"/>
                    </a:lnTo>
                    <a:lnTo>
                      <a:pt x="98" y="12"/>
                    </a:lnTo>
                    <a:lnTo>
                      <a:pt x="96" y="12"/>
                    </a:lnTo>
                    <a:lnTo>
                      <a:pt x="98" y="14"/>
                    </a:lnTo>
                    <a:lnTo>
                      <a:pt x="96" y="16"/>
                    </a:lnTo>
                    <a:lnTo>
                      <a:pt x="98" y="16"/>
                    </a:lnTo>
                    <a:lnTo>
                      <a:pt x="100" y="17"/>
                    </a:lnTo>
                    <a:lnTo>
                      <a:pt x="102" y="16"/>
                    </a:lnTo>
                    <a:lnTo>
                      <a:pt x="103" y="17"/>
                    </a:lnTo>
                    <a:lnTo>
                      <a:pt x="105" y="17"/>
                    </a:lnTo>
                    <a:lnTo>
                      <a:pt x="105" y="19"/>
                    </a:lnTo>
                    <a:lnTo>
                      <a:pt x="107" y="21"/>
                    </a:lnTo>
                    <a:lnTo>
                      <a:pt x="112" y="24"/>
                    </a:lnTo>
                    <a:lnTo>
                      <a:pt x="113" y="26"/>
                    </a:lnTo>
                    <a:lnTo>
                      <a:pt x="115" y="26"/>
                    </a:lnTo>
                    <a:lnTo>
                      <a:pt x="117" y="26"/>
                    </a:lnTo>
                    <a:lnTo>
                      <a:pt x="119" y="29"/>
                    </a:lnTo>
                    <a:lnTo>
                      <a:pt x="119" y="31"/>
                    </a:lnTo>
                    <a:lnTo>
                      <a:pt x="119" y="33"/>
                    </a:lnTo>
                    <a:lnTo>
                      <a:pt x="120" y="33"/>
                    </a:lnTo>
                    <a:lnTo>
                      <a:pt x="122" y="34"/>
                    </a:lnTo>
                    <a:lnTo>
                      <a:pt x="122" y="36"/>
                    </a:lnTo>
                    <a:lnTo>
                      <a:pt x="122" y="38"/>
                    </a:lnTo>
                    <a:lnTo>
                      <a:pt x="124" y="39"/>
                    </a:lnTo>
                    <a:lnTo>
                      <a:pt x="122" y="39"/>
                    </a:lnTo>
                    <a:lnTo>
                      <a:pt x="124" y="41"/>
                    </a:lnTo>
                    <a:lnTo>
                      <a:pt x="122" y="43"/>
                    </a:lnTo>
                    <a:lnTo>
                      <a:pt x="120" y="45"/>
                    </a:lnTo>
                    <a:lnTo>
                      <a:pt x="115" y="46"/>
                    </a:lnTo>
                    <a:lnTo>
                      <a:pt x="115" y="48"/>
                    </a:lnTo>
                    <a:lnTo>
                      <a:pt x="117" y="50"/>
                    </a:lnTo>
                    <a:lnTo>
                      <a:pt x="115" y="50"/>
                    </a:lnTo>
                    <a:lnTo>
                      <a:pt x="117" y="51"/>
                    </a:lnTo>
                    <a:lnTo>
                      <a:pt x="115" y="51"/>
                    </a:lnTo>
                    <a:lnTo>
                      <a:pt x="115" y="55"/>
                    </a:lnTo>
                    <a:lnTo>
                      <a:pt x="112" y="55"/>
                    </a:lnTo>
                    <a:lnTo>
                      <a:pt x="108" y="56"/>
                    </a:lnTo>
                    <a:lnTo>
                      <a:pt x="108" y="60"/>
                    </a:lnTo>
                    <a:lnTo>
                      <a:pt x="107" y="62"/>
                    </a:lnTo>
                    <a:lnTo>
                      <a:pt x="107" y="63"/>
                    </a:lnTo>
                    <a:lnTo>
                      <a:pt x="105" y="65"/>
                    </a:lnTo>
                    <a:lnTo>
                      <a:pt x="108" y="67"/>
                    </a:lnTo>
                    <a:lnTo>
                      <a:pt x="108" y="68"/>
                    </a:lnTo>
                    <a:lnTo>
                      <a:pt x="107" y="70"/>
                    </a:lnTo>
                    <a:lnTo>
                      <a:pt x="105" y="72"/>
                    </a:lnTo>
                    <a:lnTo>
                      <a:pt x="105" y="70"/>
                    </a:lnTo>
                    <a:lnTo>
                      <a:pt x="100" y="73"/>
                    </a:lnTo>
                    <a:lnTo>
                      <a:pt x="98" y="75"/>
                    </a:lnTo>
                    <a:lnTo>
                      <a:pt x="93" y="77"/>
                    </a:lnTo>
                    <a:lnTo>
                      <a:pt x="90" y="79"/>
                    </a:lnTo>
                    <a:lnTo>
                      <a:pt x="88" y="79"/>
                    </a:lnTo>
                    <a:lnTo>
                      <a:pt x="83" y="80"/>
                    </a:lnTo>
                    <a:lnTo>
                      <a:pt x="78" y="79"/>
                    </a:lnTo>
                    <a:lnTo>
                      <a:pt x="74" y="80"/>
                    </a:lnTo>
                    <a:lnTo>
                      <a:pt x="69" y="80"/>
                    </a:lnTo>
                    <a:lnTo>
                      <a:pt x="68" y="82"/>
                    </a:lnTo>
                    <a:lnTo>
                      <a:pt x="68" y="84"/>
                    </a:lnTo>
                    <a:lnTo>
                      <a:pt x="66" y="84"/>
                    </a:lnTo>
                    <a:lnTo>
                      <a:pt x="66" y="85"/>
                    </a:lnTo>
                    <a:lnTo>
                      <a:pt x="62" y="85"/>
                    </a:lnTo>
                    <a:lnTo>
                      <a:pt x="61" y="87"/>
                    </a:lnTo>
                    <a:lnTo>
                      <a:pt x="62" y="89"/>
                    </a:lnTo>
                    <a:lnTo>
                      <a:pt x="64" y="92"/>
                    </a:lnTo>
                    <a:lnTo>
                      <a:pt x="62" y="94"/>
                    </a:lnTo>
                    <a:lnTo>
                      <a:pt x="61" y="94"/>
                    </a:lnTo>
                    <a:lnTo>
                      <a:pt x="59" y="96"/>
                    </a:lnTo>
                    <a:lnTo>
                      <a:pt x="57" y="96"/>
                    </a:lnTo>
                    <a:lnTo>
                      <a:pt x="59" y="97"/>
                    </a:lnTo>
                    <a:lnTo>
                      <a:pt x="59" y="99"/>
                    </a:lnTo>
                    <a:lnTo>
                      <a:pt x="57" y="101"/>
                    </a:lnTo>
                    <a:lnTo>
                      <a:pt x="57" y="102"/>
                    </a:lnTo>
                    <a:lnTo>
                      <a:pt x="56" y="102"/>
                    </a:lnTo>
                    <a:lnTo>
                      <a:pt x="56" y="107"/>
                    </a:lnTo>
                    <a:lnTo>
                      <a:pt x="54" y="106"/>
                    </a:lnTo>
                    <a:lnTo>
                      <a:pt x="51" y="106"/>
                    </a:lnTo>
                    <a:lnTo>
                      <a:pt x="47" y="106"/>
                    </a:lnTo>
                    <a:lnTo>
                      <a:pt x="45" y="102"/>
                    </a:lnTo>
                    <a:lnTo>
                      <a:pt x="39" y="104"/>
                    </a:lnTo>
                    <a:lnTo>
                      <a:pt x="37" y="104"/>
                    </a:lnTo>
                    <a:lnTo>
                      <a:pt x="34" y="101"/>
                    </a:lnTo>
                    <a:lnTo>
                      <a:pt x="30" y="97"/>
                    </a:lnTo>
                    <a:lnTo>
                      <a:pt x="30" y="96"/>
                    </a:lnTo>
                    <a:lnTo>
                      <a:pt x="28" y="96"/>
                    </a:lnTo>
                    <a:lnTo>
                      <a:pt x="27" y="94"/>
                    </a:lnTo>
                    <a:lnTo>
                      <a:pt x="23" y="92"/>
                    </a:lnTo>
                    <a:lnTo>
                      <a:pt x="23" y="89"/>
                    </a:lnTo>
                    <a:lnTo>
                      <a:pt x="18" y="90"/>
                    </a:lnTo>
                    <a:lnTo>
                      <a:pt x="18" y="89"/>
                    </a:lnTo>
                    <a:lnTo>
                      <a:pt x="18" y="87"/>
                    </a:lnTo>
                    <a:lnTo>
                      <a:pt x="18" y="82"/>
                    </a:lnTo>
                    <a:lnTo>
                      <a:pt x="20" y="80"/>
                    </a:lnTo>
                    <a:lnTo>
                      <a:pt x="15" y="80"/>
                    </a:lnTo>
                    <a:lnTo>
                      <a:pt x="15" y="75"/>
                    </a:lnTo>
                    <a:lnTo>
                      <a:pt x="13" y="75"/>
                    </a:lnTo>
                    <a:lnTo>
                      <a:pt x="13" y="73"/>
                    </a:lnTo>
                    <a:lnTo>
                      <a:pt x="10" y="73"/>
                    </a:lnTo>
                    <a:lnTo>
                      <a:pt x="5" y="60"/>
                    </a:lnTo>
                    <a:lnTo>
                      <a:pt x="0" y="55"/>
                    </a:lnTo>
                    <a:lnTo>
                      <a:pt x="1" y="55"/>
                    </a:lnTo>
                    <a:lnTo>
                      <a:pt x="0" y="53"/>
                    </a:lnTo>
                    <a:lnTo>
                      <a:pt x="1" y="53"/>
                    </a:lnTo>
                    <a:lnTo>
                      <a:pt x="1" y="55"/>
                    </a:lnTo>
                    <a:lnTo>
                      <a:pt x="3" y="53"/>
                    </a:lnTo>
                    <a:lnTo>
                      <a:pt x="6" y="51"/>
                    </a:lnTo>
                    <a:lnTo>
                      <a:pt x="10" y="51"/>
                    </a:lnTo>
                    <a:lnTo>
                      <a:pt x="10" y="50"/>
                    </a:lnTo>
                    <a:lnTo>
                      <a:pt x="11" y="50"/>
                    </a:lnTo>
                    <a:lnTo>
                      <a:pt x="13" y="48"/>
                    </a:lnTo>
                    <a:lnTo>
                      <a:pt x="15" y="50"/>
                    </a:lnTo>
                    <a:lnTo>
                      <a:pt x="15" y="48"/>
                    </a:lnTo>
                    <a:lnTo>
                      <a:pt x="17" y="46"/>
                    </a:lnTo>
                    <a:lnTo>
                      <a:pt x="17" y="45"/>
                    </a:lnTo>
                    <a:lnTo>
                      <a:pt x="20" y="43"/>
                    </a:lnTo>
                    <a:lnTo>
                      <a:pt x="20" y="41"/>
                    </a:lnTo>
                    <a:lnTo>
                      <a:pt x="22" y="41"/>
                    </a:lnTo>
                    <a:lnTo>
                      <a:pt x="22" y="39"/>
                    </a:lnTo>
                    <a:lnTo>
                      <a:pt x="23" y="38"/>
                    </a:lnTo>
                    <a:lnTo>
                      <a:pt x="22" y="38"/>
                    </a:lnTo>
                    <a:lnTo>
                      <a:pt x="23" y="38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27" y="34"/>
                    </a:lnTo>
                    <a:lnTo>
                      <a:pt x="25" y="34"/>
                    </a:lnTo>
                    <a:lnTo>
                      <a:pt x="25" y="33"/>
                    </a:lnTo>
                    <a:lnTo>
                      <a:pt x="28" y="31"/>
                    </a:lnTo>
                    <a:lnTo>
                      <a:pt x="30" y="31"/>
                    </a:lnTo>
                    <a:lnTo>
                      <a:pt x="30" y="29"/>
                    </a:lnTo>
                    <a:lnTo>
                      <a:pt x="32" y="28"/>
                    </a:lnTo>
                    <a:lnTo>
                      <a:pt x="32" y="26"/>
                    </a:lnTo>
                    <a:lnTo>
                      <a:pt x="34" y="26"/>
                    </a:lnTo>
                    <a:lnTo>
                      <a:pt x="32" y="24"/>
                    </a:lnTo>
                    <a:lnTo>
                      <a:pt x="34" y="24"/>
                    </a:lnTo>
                    <a:lnTo>
                      <a:pt x="34" y="22"/>
                    </a:lnTo>
                    <a:lnTo>
                      <a:pt x="35" y="22"/>
                    </a:lnTo>
                    <a:lnTo>
                      <a:pt x="35" y="21"/>
                    </a:lnTo>
                    <a:lnTo>
                      <a:pt x="35" y="19"/>
                    </a:lnTo>
                    <a:lnTo>
                      <a:pt x="37" y="19"/>
                    </a:lnTo>
                    <a:lnTo>
                      <a:pt x="37" y="17"/>
                    </a:lnTo>
                    <a:lnTo>
                      <a:pt x="40" y="17"/>
                    </a:lnTo>
                    <a:lnTo>
                      <a:pt x="42" y="17"/>
                    </a:lnTo>
                    <a:lnTo>
                      <a:pt x="44" y="17"/>
                    </a:lnTo>
                    <a:lnTo>
                      <a:pt x="44" y="16"/>
                    </a:lnTo>
                    <a:lnTo>
                      <a:pt x="45" y="16"/>
                    </a:lnTo>
                    <a:lnTo>
                      <a:pt x="47" y="14"/>
                    </a:lnTo>
                    <a:lnTo>
                      <a:pt x="49" y="16"/>
                    </a:lnTo>
                    <a:lnTo>
                      <a:pt x="51" y="16"/>
                    </a:lnTo>
                    <a:lnTo>
                      <a:pt x="52" y="14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6" y="9"/>
                    </a:lnTo>
                    <a:lnTo>
                      <a:pt x="57" y="9"/>
                    </a:lnTo>
                    <a:lnTo>
                      <a:pt x="59" y="7"/>
                    </a:lnTo>
                    <a:lnTo>
                      <a:pt x="61" y="7"/>
                    </a:lnTo>
                    <a:lnTo>
                      <a:pt x="64" y="7"/>
                    </a:lnTo>
                    <a:lnTo>
                      <a:pt x="66" y="7"/>
                    </a:lnTo>
                    <a:lnTo>
                      <a:pt x="68" y="7"/>
                    </a:lnTo>
                    <a:lnTo>
                      <a:pt x="69" y="5"/>
                    </a:lnTo>
                    <a:lnTo>
                      <a:pt x="68" y="5"/>
                    </a:lnTo>
                    <a:lnTo>
                      <a:pt x="71" y="4"/>
                    </a:lnTo>
                    <a:lnTo>
                      <a:pt x="69" y="4"/>
                    </a:lnTo>
                    <a:lnTo>
                      <a:pt x="74" y="2"/>
                    </a:lnTo>
                    <a:lnTo>
                      <a:pt x="76" y="2"/>
                    </a:lnTo>
                    <a:lnTo>
                      <a:pt x="79" y="2"/>
                    </a:lnTo>
                    <a:lnTo>
                      <a:pt x="83" y="0"/>
                    </a:lnTo>
                    <a:lnTo>
                      <a:pt x="85" y="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86" name="Freeform 36">
                <a:extLst>
                  <a:ext uri="{FF2B5EF4-FFF2-40B4-BE49-F238E27FC236}">
                    <a16:creationId xmlns:a16="http://schemas.microsoft.com/office/drawing/2014/main" id="{3555D56B-9A12-4B77-93AC-155303F67C1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52734" y="2765311"/>
                <a:ext cx="331777" cy="338125"/>
              </a:xfrm>
              <a:custGeom>
                <a:avLst/>
                <a:gdLst>
                  <a:gd name="T0" fmla="*/ 163 w 209"/>
                  <a:gd name="T1" fmla="*/ 70 h 213"/>
                  <a:gd name="T2" fmla="*/ 161 w 209"/>
                  <a:gd name="T3" fmla="*/ 83 h 213"/>
                  <a:gd name="T4" fmla="*/ 160 w 209"/>
                  <a:gd name="T5" fmla="*/ 88 h 213"/>
                  <a:gd name="T6" fmla="*/ 156 w 209"/>
                  <a:gd name="T7" fmla="*/ 95 h 213"/>
                  <a:gd name="T8" fmla="*/ 153 w 209"/>
                  <a:gd name="T9" fmla="*/ 99 h 213"/>
                  <a:gd name="T10" fmla="*/ 146 w 209"/>
                  <a:gd name="T11" fmla="*/ 104 h 213"/>
                  <a:gd name="T12" fmla="*/ 158 w 209"/>
                  <a:gd name="T13" fmla="*/ 111 h 213"/>
                  <a:gd name="T14" fmla="*/ 163 w 209"/>
                  <a:gd name="T15" fmla="*/ 114 h 213"/>
                  <a:gd name="T16" fmla="*/ 180 w 209"/>
                  <a:gd name="T17" fmla="*/ 114 h 213"/>
                  <a:gd name="T18" fmla="*/ 185 w 209"/>
                  <a:gd name="T19" fmla="*/ 122 h 213"/>
                  <a:gd name="T20" fmla="*/ 187 w 209"/>
                  <a:gd name="T21" fmla="*/ 129 h 213"/>
                  <a:gd name="T22" fmla="*/ 194 w 209"/>
                  <a:gd name="T23" fmla="*/ 133 h 213"/>
                  <a:gd name="T24" fmla="*/ 200 w 209"/>
                  <a:gd name="T25" fmla="*/ 138 h 213"/>
                  <a:gd name="T26" fmla="*/ 205 w 209"/>
                  <a:gd name="T27" fmla="*/ 138 h 213"/>
                  <a:gd name="T28" fmla="*/ 207 w 209"/>
                  <a:gd name="T29" fmla="*/ 151 h 213"/>
                  <a:gd name="T30" fmla="*/ 205 w 209"/>
                  <a:gd name="T31" fmla="*/ 158 h 213"/>
                  <a:gd name="T32" fmla="*/ 207 w 209"/>
                  <a:gd name="T33" fmla="*/ 165 h 213"/>
                  <a:gd name="T34" fmla="*/ 204 w 209"/>
                  <a:gd name="T35" fmla="*/ 170 h 213"/>
                  <a:gd name="T36" fmla="*/ 199 w 209"/>
                  <a:gd name="T37" fmla="*/ 182 h 213"/>
                  <a:gd name="T38" fmla="*/ 197 w 209"/>
                  <a:gd name="T39" fmla="*/ 190 h 213"/>
                  <a:gd name="T40" fmla="*/ 199 w 209"/>
                  <a:gd name="T41" fmla="*/ 202 h 213"/>
                  <a:gd name="T42" fmla="*/ 200 w 209"/>
                  <a:gd name="T43" fmla="*/ 213 h 213"/>
                  <a:gd name="T44" fmla="*/ 185 w 209"/>
                  <a:gd name="T45" fmla="*/ 209 h 213"/>
                  <a:gd name="T46" fmla="*/ 154 w 209"/>
                  <a:gd name="T47" fmla="*/ 197 h 213"/>
                  <a:gd name="T48" fmla="*/ 132 w 209"/>
                  <a:gd name="T49" fmla="*/ 184 h 213"/>
                  <a:gd name="T50" fmla="*/ 112 w 209"/>
                  <a:gd name="T51" fmla="*/ 173 h 213"/>
                  <a:gd name="T52" fmla="*/ 97 w 209"/>
                  <a:gd name="T53" fmla="*/ 156 h 213"/>
                  <a:gd name="T54" fmla="*/ 66 w 209"/>
                  <a:gd name="T55" fmla="*/ 131 h 213"/>
                  <a:gd name="T56" fmla="*/ 34 w 209"/>
                  <a:gd name="T57" fmla="*/ 114 h 213"/>
                  <a:gd name="T58" fmla="*/ 32 w 209"/>
                  <a:gd name="T59" fmla="*/ 105 h 213"/>
                  <a:gd name="T60" fmla="*/ 8 w 209"/>
                  <a:gd name="T61" fmla="*/ 92 h 213"/>
                  <a:gd name="T62" fmla="*/ 13 w 209"/>
                  <a:gd name="T63" fmla="*/ 90 h 213"/>
                  <a:gd name="T64" fmla="*/ 3 w 209"/>
                  <a:gd name="T65" fmla="*/ 82 h 213"/>
                  <a:gd name="T66" fmla="*/ 8 w 209"/>
                  <a:gd name="T67" fmla="*/ 71 h 213"/>
                  <a:gd name="T68" fmla="*/ 15 w 209"/>
                  <a:gd name="T69" fmla="*/ 66 h 213"/>
                  <a:gd name="T70" fmla="*/ 29 w 209"/>
                  <a:gd name="T71" fmla="*/ 54 h 213"/>
                  <a:gd name="T72" fmla="*/ 37 w 209"/>
                  <a:gd name="T73" fmla="*/ 46 h 213"/>
                  <a:gd name="T74" fmla="*/ 51 w 209"/>
                  <a:gd name="T75" fmla="*/ 20 h 213"/>
                  <a:gd name="T76" fmla="*/ 59 w 209"/>
                  <a:gd name="T77" fmla="*/ 14 h 213"/>
                  <a:gd name="T78" fmla="*/ 69 w 209"/>
                  <a:gd name="T79" fmla="*/ 2 h 213"/>
                  <a:gd name="T80" fmla="*/ 80 w 209"/>
                  <a:gd name="T81" fmla="*/ 3 h 213"/>
                  <a:gd name="T82" fmla="*/ 88 w 209"/>
                  <a:gd name="T83" fmla="*/ 0 h 213"/>
                  <a:gd name="T84" fmla="*/ 92 w 209"/>
                  <a:gd name="T85" fmla="*/ 3 h 213"/>
                  <a:gd name="T86" fmla="*/ 97 w 209"/>
                  <a:gd name="T87" fmla="*/ 7 h 213"/>
                  <a:gd name="T88" fmla="*/ 100 w 209"/>
                  <a:gd name="T89" fmla="*/ 15 h 213"/>
                  <a:gd name="T90" fmla="*/ 105 w 209"/>
                  <a:gd name="T91" fmla="*/ 25 h 213"/>
                  <a:gd name="T92" fmla="*/ 107 w 209"/>
                  <a:gd name="T93" fmla="*/ 46 h 213"/>
                  <a:gd name="T94" fmla="*/ 105 w 209"/>
                  <a:gd name="T95" fmla="*/ 59 h 213"/>
                  <a:gd name="T96" fmla="*/ 115 w 209"/>
                  <a:gd name="T97" fmla="*/ 63 h 213"/>
                  <a:gd name="T98" fmla="*/ 122 w 209"/>
                  <a:gd name="T99" fmla="*/ 68 h 213"/>
                  <a:gd name="T100" fmla="*/ 131 w 209"/>
                  <a:gd name="T101" fmla="*/ 66 h 213"/>
                  <a:gd name="T102" fmla="*/ 137 w 209"/>
                  <a:gd name="T103" fmla="*/ 58 h 213"/>
                  <a:gd name="T104" fmla="*/ 143 w 209"/>
                  <a:gd name="T105" fmla="*/ 4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09" h="213">
                    <a:moveTo>
                      <a:pt x="156" y="54"/>
                    </a:moveTo>
                    <a:lnTo>
                      <a:pt x="156" y="63"/>
                    </a:lnTo>
                    <a:lnTo>
                      <a:pt x="160" y="65"/>
                    </a:lnTo>
                    <a:lnTo>
                      <a:pt x="158" y="66"/>
                    </a:lnTo>
                    <a:lnTo>
                      <a:pt x="160" y="68"/>
                    </a:lnTo>
                    <a:lnTo>
                      <a:pt x="163" y="70"/>
                    </a:lnTo>
                    <a:lnTo>
                      <a:pt x="161" y="75"/>
                    </a:lnTo>
                    <a:lnTo>
                      <a:pt x="161" y="78"/>
                    </a:lnTo>
                    <a:lnTo>
                      <a:pt x="163" y="78"/>
                    </a:lnTo>
                    <a:lnTo>
                      <a:pt x="163" y="80"/>
                    </a:lnTo>
                    <a:lnTo>
                      <a:pt x="160" y="80"/>
                    </a:lnTo>
                    <a:lnTo>
                      <a:pt x="161" y="83"/>
                    </a:lnTo>
                    <a:lnTo>
                      <a:pt x="160" y="85"/>
                    </a:lnTo>
                    <a:lnTo>
                      <a:pt x="161" y="87"/>
                    </a:lnTo>
                    <a:lnTo>
                      <a:pt x="161" y="85"/>
                    </a:lnTo>
                    <a:lnTo>
                      <a:pt x="160" y="87"/>
                    </a:lnTo>
                    <a:lnTo>
                      <a:pt x="161" y="88"/>
                    </a:lnTo>
                    <a:lnTo>
                      <a:pt x="160" y="88"/>
                    </a:lnTo>
                    <a:lnTo>
                      <a:pt x="160" y="92"/>
                    </a:lnTo>
                    <a:lnTo>
                      <a:pt x="158" y="90"/>
                    </a:lnTo>
                    <a:lnTo>
                      <a:pt x="158" y="92"/>
                    </a:lnTo>
                    <a:lnTo>
                      <a:pt x="158" y="93"/>
                    </a:lnTo>
                    <a:lnTo>
                      <a:pt x="156" y="93"/>
                    </a:lnTo>
                    <a:lnTo>
                      <a:pt x="156" y="95"/>
                    </a:lnTo>
                    <a:lnTo>
                      <a:pt x="154" y="95"/>
                    </a:lnTo>
                    <a:lnTo>
                      <a:pt x="154" y="97"/>
                    </a:lnTo>
                    <a:lnTo>
                      <a:pt x="154" y="95"/>
                    </a:lnTo>
                    <a:lnTo>
                      <a:pt x="154" y="97"/>
                    </a:lnTo>
                    <a:lnTo>
                      <a:pt x="153" y="97"/>
                    </a:lnTo>
                    <a:lnTo>
                      <a:pt x="153" y="99"/>
                    </a:lnTo>
                    <a:lnTo>
                      <a:pt x="151" y="99"/>
                    </a:lnTo>
                    <a:lnTo>
                      <a:pt x="149" y="99"/>
                    </a:lnTo>
                    <a:lnTo>
                      <a:pt x="149" y="100"/>
                    </a:lnTo>
                    <a:lnTo>
                      <a:pt x="148" y="100"/>
                    </a:lnTo>
                    <a:lnTo>
                      <a:pt x="148" y="104"/>
                    </a:lnTo>
                    <a:lnTo>
                      <a:pt x="146" y="104"/>
                    </a:lnTo>
                    <a:lnTo>
                      <a:pt x="148" y="104"/>
                    </a:lnTo>
                    <a:lnTo>
                      <a:pt x="153" y="107"/>
                    </a:lnTo>
                    <a:lnTo>
                      <a:pt x="153" y="105"/>
                    </a:lnTo>
                    <a:lnTo>
                      <a:pt x="154" y="105"/>
                    </a:lnTo>
                    <a:lnTo>
                      <a:pt x="156" y="107"/>
                    </a:lnTo>
                    <a:lnTo>
                      <a:pt x="158" y="111"/>
                    </a:lnTo>
                    <a:lnTo>
                      <a:pt x="156" y="111"/>
                    </a:lnTo>
                    <a:lnTo>
                      <a:pt x="156" y="112"/>
                    </a:lnTo>
                    <a:lnTo>
                      <a:pt x="160" y="111"/>
                    </a:lnTo>
                    <a:lnTo>
                      <a:pt x="161" y="112"/>
                    </a:lnTo>
                    <a:lnTo>
                      <a:pt x="163" y="112"/>
                    </a:lnTo>
                    <a:lnTo>
                      <a:pt x="163" y="114"/>
                    </a:lnTo>
                    <a:lnTo>
                      <a:pt x="166" y="114"/>
                    </a:lnTo>
                    <a:lnTo>
                      <a:pt x="168" y="116"/>
                    </a:lnTo>
                    <a:lnTo>
                      <a:pt x="177" y="114"/>
                    </a:lnTo>
                    <a:lnTo>
                      <a:pt x="178" y="114"/>
                    </a:lnTo>
                    <a:lnTo>
                      <a:pt x="178" y="116"/>
                    </a:lnTo>
                    <a:lnTo>
                      <a:pt x="180" y="114"/>
                    </a:lnTo>
                    <a:lnTo>
                      <a:pt x="180" y="116"/>
                    </a:lnTo>
                    <a:lnTo>
                      <a:pt x="180" y="114"/>
                    </a:lnTo>
                    <a:lnTo>
                      <a:pt x="182" y="116"/>
                    </a:lnTo>
                    <a:lnTo>
                      <a:pt x="185" y="119"/>
                    </a:lnTo>
                    <a:lnTo>
                      <a:pt x="185" y="121"/>
                    </a:lnTo>
                    <a:lnTo>
                      <a:pt x="185" y="122"/>
                    </a:lnTo>
                    <a:lnTo>
                      <a:pt x="183" y="124"/>
                    </a:lnTo>
                    <a:lnTo>
                      <a:pt x="185" y="126"/>
                    </a:lnTo>
                    <a:lnTo>
                      <a:pt x="185" y="124"/>
                    </a:lnTo>
                    <a:lnTo>
                      <a:pt x="187" y="126"/>
                    </a:lnTo>
                    <a:lnTo>
                      <a:pt x="188" y="128"/>
                    </a:lnTo>
                    <a:lnTo>
                      <a:pt x="187" y="129"/>
                    </a:lnTo>
                    <a:lnTo>
                      <a:pt x="188" y="131"/>
                    </a:lnTo>
                    <a:lnTo>
                      <a:pt x="188" y="133"/>
                    </a:lnTo>
                    <a:lnTo>
                      <a:pt x="192" y="134"/>
                    </a:lnTo>
                    <a:lnTo>
                      <a:pt x="194" y="134"/>
                    </a:lnTo>
                    <a:lnTo>
                      <a:pt x="192" y="133"/>
                    </a:lnTo>
                    <a:lnTo>
                      <a:pt x="194" y="133"/>
                    </a:lnTo>
                    <a:lnTo>
                      <a:pt x="194" y="134"/>
                    </a:lnTo>
                    <a:lnTo>
                      <a:pt x="197" y="134"/>
                    </a:lnTo>
                    <a:lnTo>
                      <a:pt x="197" y="136"/>
                    </a:lnTo>
                    <a:lnTo>
                      <a:pt x="199" y="134"/>
                    </a:lnTo>
                    <a:lnTo>
                      <a:pt x="199" y="136"/>
                    </a:lnTo>
                    <a:lnTo>
                      <a:pt x="200" y="138"/>
                    </a:lnTo>
                    <a:lnTo>
                      <a:pt x="200" y="136"/>
                    </a:lnTo>
                    <a:lnTo>
                      <a:pt x="202" y="138"/>
                    </a:lnTo>
                    <a:lnTo>
                      <a:pt x="200" y="138"/>
                    </a:lnTo>
                    <a:lnTo>
                      <a:pt x="204" y="139"/>
                    </a:lnTo>
                    <a:lnTo>
                      <a:pt x="204" y="136"/>
                    </a:lnTo>
                    <a:lnTo>
                      <a:pt x="205" y="138"/>
                    </a:lnTo>
                    <a:lnTo>
                      <a:pt x="205" y="139"/>
                    </a:lnTo>
                    <a:lnTo>
                      <a:pt x="205" y="141"/>
                    </a:lnTo>
                    <a:lnTo>
                      <a:pt x="207" y="148"/>
                    </a:lnTo>
                    <a:lnTo>
                      <a:pt x="209" y="148"/>
                    </a:lnTo>
                    <a:lnTo>
                      <a:pt x="209" y="151"/>
                    </a:lnTo>
                    <a:lnTo>
                      <a:pt x="207" y="151"/>
                    </a:lnTo>
                    <a:lnTo>
                      <a:pt x="207" y="153"/>
                    </a:lnTo>
                    <a:lnTo>
                      <a:pt x="209" y="153"/>
                    </a:lnTo>
                    <a:lnTo>
                      <a:pt x="207" y="153"/>
                    </a:lnTo>
                    <a:lnTo>
                      <a:pt x="207" y="155"/>
                    </a:lnTo>
                    <a:lnTo>
                      <a:pt x="205" y="156"/>
                    </a:lnTo>
                    <a:lnTo>
                      <a:pt x="205" y="158"/>
                    </a:lnTo>
                    <a:lnTo>
                      <a:pt x="204" y="158"/>
                    </a:lnTo>
                    <a:lnTo>
                      <a:pt x="207" y="162"/>
                    </a:lnTo>
                    <a:lnTo>
                      <a:pt x="209" y="160"/>
                    </a:lnTo>
                    <a:lnTo>
                      <a:pt x="207" y="163"/>
                    </a:lnTo>
                    <a:lnTo>
                      <a:pt x="209" y="163"/>
                    </a:lnTo>
                    <a:lnTo>
                      <a:pt x="207" y="165"/>
                    </a:lnTo>
                    <a:lnTo>
                      <a:pt x="205" y="167"/>
                    </a:lnTo>
                    <a:lnTo>
                      <a:pt x="207" y="165"/>
                    </a:lnTo>
                    <a:lnTo>
                      <a:pt x="204" y="167"/>
                    </a:lnTo>
                    <a:lnTo>
                      <a:pt x="204" y="168"/>
                    </a:lnTo>
                    <a:lnTo>
                      <a:pt x="202" y="168"/>
                    </a:lnTo>
                    <a:lnTo>
                      <a:pt x="204" y="170"/>
                    </a:lnTo>
                    <a:lnTo>
                      <a:pt x="204" y="173"/>
                    </a:lnTo>
                    <a:lnTo>
                      <a:pt x="202" y="175"/>
                    </a:lnTo>
                    <a:lnTo>
                      <a:pt x="200" y="175"/>
                    </a:lnTo>
                    <a:lnTo>
                      <a:pt x="199" y="177"/>
                    </a:lnTo>
                    <a:lnTo>
                      <a:pt x="200" y="180"/>
                    </a:lnTo>
                    <a:lnTo>
                      <a:pt x="199" y="182"/>
                    </a:lnTo>
                    <a:lnTo>
                      <a:pt x="200" y="182"/>
                    </a:lnTo>
                    <a:lnTo>
                      <a:pt x="200" y="184"/>
                    </a:lnTo>
                    <a:lnTo>
                      <a:pt x="199" y="184"/>
                    </a:lnTo>
                    <a:lnTo>
                      <a:pt x="197" y="185"/>
                    </a:lnTo>
                    <a:lnTo>
                      <a:pt x="199" y="189"/>
                    </a:lnTo>
                    <a:lnTo>
                      <a:pt x="197" y="190"/>
                    </a:lnTo>
                    <a:lnTo>
                      <a:pt x="199" y="190"/>
                    </a:lnTo>
                    <a:lnTo>
                      <a:pt x="199" y="196"/>
                    </a:lnTo>
                    <a:lnTo>
                      <a:pt x="199" y="197"/>
                    </a:lnTo>
                    <a:lnTo>
                      <a:pt x="200" y="201"/>
                    </a:lnTo>
                    <a:lnTo>
                      <a:pt x="199" y="201"/>
                    </a:lnTo>
                    <a:lnTo>
                      <a:pt x="199" y="202"/>
                    </a:lnTo>
                    <a:lnTo>
                      <a:pt x="199" y="204"/>
                    </a:lnTo>
                    <a:lnTo>
                      <a:pt x="199" y="206"/>
                    </a:lnTo>
                    <a:lnTo>
                      <a:pt x="199" y="207"/>
                    </a:lnTo>
                    <a:lnTo>
                      <a:pt x="200" y="209"/>
                    </a:lnTo>
                    <a:lnTo>
                      <a:pt x="199" y="211"/>
                    </a:lnTo>
                    <a:lnTo>
                      <a:pt x="200" y="213"/>
                    </a:lnTo>
                    <a:lnTo>
                      <a:pt x="195" y="213"/>
                    </a:lnTo>
                    <a:lnTo>
                      <a:pt x="190" y="213"/>
                    </a:lnTo>
                    <a:lnTo>
                      <a:pt x="190" y="211"/>
                    </a:lnTo>
                    <a:lnTo>
                      <a:pt x="188" y="211"/>
                    </a:lnTo>
                    <a:lnTo>
                      <a:pt x="187" y="211"/>
                    </a:lnTo>
                    <a:lnTo>
                      <a:pt x="185" y="209"/>
                    </a:lnTo>
                    <a:lnTo>
                      <a:pt x="187" y="209"/>
                    </a:lnTo>
                    <a:lnTo>
                      <a:pt x="185" y="207"/>
                    </a:lnTo>
                    <a:lnTo>
                      <a:pt x="180" y="206"/>
                    </a:lnTo>
                    <a:lnTo>
                      <a:pt x="165" y="202"/>
                    </a:lnTo>
                    <a:lnTo>
                      <a:pt x="160" y="199"/>
                    </a:lnTo>
                    <a:lnTo>
                      <a:pt x="154" y="197"/>
                    </a:lnTo>
                    <a:lnTo>
                      <a:pt x="151" y="194"/>
                    </a:lnTo>
                    <a:lnTo>
                      <a:pt x="146" y="192"/>
                    </a:lnTo>
                    <a:lnTo>
                      <a:pt x="141" y="190"/>
                    </a:lnTo>
                    <a:lnTo>
                      <a:pt x="139" y="189"/>
                    </a:lnTo>
                    <a:lnTo>
                      <a:pt x="136" y="187"/>
                    </a:lnTo>
                    <a:lnTo>
                      <a:pt x="132" y="184"/>
                    </a:lnTo>
                    <a:lnTo>
                      <a:pt x="124" y="182"/>
                    </a:lnTo>
                    <a:lnTo>
                      <a:pt x="124" y="180"/>
                    </a:lnTo>
                    <a:lnTo>
                      <a:pt x="120" y="179"/>
                    </a:lnTo>
                    <a:lnTo>
                      <a:pt x="120" y="177"/>
                    </a:lnTo>
                    <a:lnTo>
                      <a:pt x="115" y="175"/>
                    </a:lnTo>
                    <a:lnTo>
                      <a:pt x="112" y="173"/>
                    </a:lnTo>
                    <a:lnTo>
                      <a:pt x="112" y="172"/>
                    </a:lnTo>
                    <a:lnTo>
                      <a:pt x="107" y="168"/>
                    </a:lnTo>
                    <a:lnTo>
                      <a:pt x="103" y="165"/>
                    </a:lnTo>
                    <a:lnTo>
                      <a:pt x="100" y="162"/>
                    </a:lnTo>
                    <a:lnTo>
                      <a:pt x="97" y="158"/>
                    </a:lnTo>
                    <a:lnTo>
                      <a:pt x="97" y="156"/>
                    </a:lnTo>
                    <a:lnTo>
                      <a:pt x="86" y="150"/>
                    </a:lnTo>
                    <a:lnTo>
                      <a:pt x="83" y="145"/>
                    </a:lnTo>
                    <a:lnTo>
                      <a:pt x="73" y="136"/>
                    </a:lnTo>
                    <a:lnTo>
                      <a:pt x="73" y="134"/>
                    </a:lnTo>
                    <a:lnTo>
                      <a:pt x="71" y="134"/>
                    </a:lnTo>
                    <a:lnTo>
                      <a:pt x="66" y="131"/>
                    </a:lnTo>
                    <a:lnTo>
                      <a:pt x="63" y="128"/>
                    </a:lnTo>
                    <a:lnTo>
                      <a:pt x="58" y="124"/>
                    </a:lnTo>
                    <a:lnTo>
                      <a:pt x="56" y="122"/>
                    </a:lnTo>
                    <a:lnTo>
                      <a:pt x="41" y="117"/>
                    </a:lnTo>
                    <a:lnTo>
                      <a:pt x="39" y="117"/>
                    </a:lnTo>
                    <a:lnTo>
                      <a:pt x="34" y="114"/>
                    </a:lnTo>
                    <a:lnTo>
                      <a:pt x="34" y="112"/>
                    </a:lnTo>
                    <a:lnTo>
                      <a:pt x="35" y="112"/>
                    </a:lnTo>
                    <a:lnTo>
                      <a:pt x="34" y="112"/>
                    </a:lnTo>
                    <a:lnTo>
                      <a:pt x="35" y="111"/>
                    </a:lnTo>
                    <a:lnTo>
                      <a:pt x="34" y="109"/>
                    </a:lnTo>
                    <a:lnTo>
                      <a:pt x="32" y="105"/>
                    </a:lnTo>
                    <a:lnTo>
                      <a:pt x="25" y="102"/>
                    </a:lnTo>
                    <a:lnTo>
                      <a:pt x="7" y="93"/>
                    </a:lnTo>
                    <a:lnTo>
                      <a:pt x="5" y="92"/>
                    </a:lnTo>
                    <a:lnTo>
                      <a:pt x="7" y="90"/>
                    </a:lnTo>
                    <a:lnTo>
                      <a:pt x="7" y="92"/>
                    </a:lnTo>
                    <a:lnTo>
                      <a:pt x="8" y="92"/>
                    </a:lnTo>
                    <a:lnTo>
                      <a:pt x="13" y="95"/>
                    </a:lnTo>
                    <a:lnTo>
                      <a:pt x="15" y="95"/>
                    </a:lnTo>
                    <a:lnTo>
                      <a:pt x="15" y="93"/>
                    </a:lnTo>
                    <a:lnTo>
                      <a:pt x="13" y="92"/>
                    </a:lnTo>
                    <a:lnTo>
                      <a:pt x="15" y="92"/>
                    </a:lnTo>
                    <a:lnTo>
                      <a:pt x="13" y="90"/>
                    </a:lnTo>
                    <a:lnTo>
                      <a:pt x="8" y="92"/>
                    </a:lnTo>
                    <a:lnTo>
                      <a:pt x="7" y="90"/>
                    </a:lnTo>
                    <a:lnTo>
                      <a:pt x="5" y="87"/>
                    </a:lnTo>
                    <a:lnTo>
                      <a:pt x="0" y="83"/>
                    </a:lnTo>
                    <a:lnTo>
                      <a:pt x="1" y="83"/>
                    </a:lnTo>
                    <a:lnTo>
                      <a:pt x="3" y="82"/>
                    </a:lnTo>
                    <a:lnTo>
                      <a:pt x="3" y="80"/>
                    </a:lnTo>
                    <a:lnTo>
                      <a:pt x="7" y="78"/>
                    </a:lnTo>
                    <a:lnTo>
                      <a:pt x="7" y="75"/>
                    </a:lnTo>
                    <a:lnTo>
                      <a:pt x="8" y="75"/>
                    </a:lnTo>
                    <a:lnTo>
                      <a:pt x="7" y="71"/>
                    </a:lnTo>
                    <a:lnTo>
                      <a:pt x="8" y="71"/>
                    </a:lnTo>
                    <a:lnTo>
                      <a:pt x="8" y="68"/>
                    </a:lnTo>
                    <a:lnTo>
                      <a:pt x="10" y="70"/>
                    </a:lnTo>
                    <a:lnTo>
                      <a:pt x="12" y="66"/>
                    </a:lnTo>
                    <a:lnTo>
                      <a:pt x="12" y="68"/>
                    </a:lnTo>
                    <a:lnTo>
                      <a:pt x="13" y="66"/>
                    </a:lnTo>
                    <a:lnTo>
                      <a:pt x="15" y="66"/>
                    </a:lnTo>
                    <a:lnTo>
                      <a:pt x="17" y="63"/>
                    </a:lnTo>
                    <a:lnTo>
                      <a:pt x="17" y="61"/>
                    </a:lnTo>
                    <a:lnTo>
                      <a:pt x="20" y="59"/>
                    </a:lnTo>
                    <a:lnTo>
                      <a:pt x="22" y="58"/>
                    </a:lnTo>
                    <a:lnTo>
                      <a:pt x="29" y="53"/>
                    </a:lnTo>
                    <a:lnTo>
                      <a:pt x="29" y="54"/>
                    </a:lnTo>
                    <a:lnTo>
                      <a:pt x="32" y="51"/>
                    </a:lnTo>
                    <a:lnTo>
                      <a:pt x="34" y="51"/>
                    </a:lnTo>
                    <a:lnTo>
                      <a:pt x="34" y="49"/>
                    </a:lnTo>
                    <a:lnTo>
                      <a:pt x="35" y="48"/>
                    </a:lnTo>
                    <a:lnTo>
                      <a:pt x="35" y="46"/>
                    </a:lnTo>
                    <a:lnTo>
                      <a:pt x="37" y="46"/>
                    </a:lnTo>
                    <a:lnTo>
                      <a:pt x="41" y="41"/>
                    </a:lnTo>
                    <a:lnTo>
                      <a:pt x="42" y="41"/>
                    </a:lnTo>
                    <a:lnTo>
                      <a:pt x="46" y="39"/>
                    </a:lnTo>
                    <a:lnTo>
                      <a:pt x="44" y="25"/>
                    </a:lnTo>
                    <a:lnTo>
                      <a:pt x="46" y="25"/>
                    </a:lnTo>
                    <a:lnTo>
                      <a:pt x="51" y="20"/>
                    </a:lnTo>
                    <a:lnTo>
                      <a:pt x="52" y="20"/>
                    </a:lnTo>
                    <a:lnTo>
                      <a:pt x="56" y="20"/>
                    </a:lnTo>
                    <a:lnTo>
                      <a:pt x="58" y="20"/>
                    </a:lnTo>
                    <a:lnTo>
                      <a:pt x="59" y="19"/>
                    </a:lnTo>
                    <a:lnTo>
                      <a:pt x="61" y="17"/>
                    </a:lnTo>
                    <a:lnTo>
                      <a:pt x="59" y="14"/>
                    </a:lnTo>
                    <a:lnTo>
                      <a:pt x="61" y="14"/>
                    </a:lnTo>
                    <a:lnTo>
                      <a:pt x="61" y="12"/>
                    </a:lnTo>
                    <a:lnTo>
                      <a:pt x="61" y="3"/>
                    </a:lnTo>
                    <a:lnTo>
                      <a:pt x="64" y="3"/>
                    </a:lnTo>
                    <a:lnTo>
                      <a:pt x="68" y="2"/>
                    </a:lnTo>
                    <a:lnTo>
                      <a:pt x="69" y="2"/>
                    </a:lnTo>
                    <a:lnTo>
                      <a:pt x="71" y="2"/>
                    </a:lnTo>
                    <a:lnTo>
                      <a:pt x="73" y="3"/>
                    </a:lnTo>
                    <a:lnTo>
                      <a:pt x="73" y="5"/>
                    </a:lnTo>
                    <a:lnTo>
                      <a:pt x="73" y="7"/>
                    </a:lnTo>
                    <a:lnTo>
                      <a:pt x="76" y="5"/>
                    </a:lnTo>
                    <a:lnTo>
                      <a:pt x="80" y="3"/>
                    </a:lnTo>
                    <a:lnTo>
                      <a:pt x="83" y="3"/>
                    </a:lnTo>
                    <a:lnTo>
                      <a:pt x="85" y="3"/>
                    </a:lnTo>
                    <a:lnTo>
                      <a:pt x="86" y="2"/>
                    </a:lnTo>
                    <a:lnTo>
                      <a:pt x="85" y="2"/>
                    </a:lnTo>
                    <a:lnTo>
                      <a:pt x="86" y="0"/>
                    </a:lnTo>
                    <a:lnTo>
                      <a:pt x="88" y="0"/>
                    </a:lnTo>
                    <a:lnTo>
                      <a:pt x="88" y="3"/>
                    </a:lnTo>
                    <a:lnTo>
                      <a:pt x="90" y="5"/>
                    </a:lnTo>
                    <a:lnTo>
                      <a:pt x="90" y="7"/>
                    </a:lnTo>
                    <a:lnTo>
                      <a:pt x="90" y="5"/>
                    </a:lnTo>
                    <a:lnTo>
                      <a:pt x="90" y="3"/>
                    </a:lnTo>
                    <a:lnTo>
                      <a:pt x="92" y="3"/>
                    </a:lnTo>
                    <a:lnTo>
                      <a:pt x="93" y="5"/>
                    </a:lnTo>
                    <a:lnTo>
                      <a:pt x="95" y="5"/>
                    </a:lnTo>
                    <a:lnTo>
                      <a:pt x="93" y="7"/>
                    </a:lnTo>
                    <a:lnTo>
                      <a:pt x="93" y="8"/>
                    </a:lnTo>
                    <a:lnTo>
                      <a:pt x="95" y="8"/>
                    </a:lnTo>
                    <a:lnTo>
                      <a:pt x="97" y="7"/>
                    </a:lnTo>
                    <a:lnTo>
                      <a:pt x="98" y="8"/>
                    </a:lnTo>
                    <a:lnTo>
                      <a:pt x="100" y="8"/>
                    </a:lnTo>
                    <a:lnTo>
                      <a:pt x="102" y="10"/>
                    </a:lnTo>
                    <a:lnTo>
                      <a:pt x="100" y="12"/>
                    </a:lnTo>
                    <a:lnTo>
                      <a:pt x="102" y="15"/>
                    </a:lnTo>
                    <a:lnTo>
                      <a:pt x="100" y="15"/>
                    </a:lnTo>
                    <a:lnTo>
                      <a:pt x="100" y="19"/>
                    </a:lnTo>
                    <a:lnTo>
                      <a:pt x="102" y="19"/>
                    </a:lnTo>
                    <a:lnTo>
                      <a:pt x="103" y="22"/>
                    </a:lnTo>
                    <a:lnTo>
                      <a:pt x="103" y="24"/>
                    </a:lnTo>
                    <a:lnTo>
                      <a:pt x="103" y="25"/>
                    </a:lnTo>
                    <a:lnTo>
                      <a:pt x="105" y="25"/>
                    </a:lnTo>
                    <a:lnTo>
                      <a:pt x="105" y="27"/>
                    </a:lnTo>
                    <a:lnTo>
                      <a:pt x="105" y="29"/>
                    </a:lnTo>
                    <a:lnTo>
                      <a:pt x="103" y="31"/>
                    </a:lnTo>
                    <a:lnTo>
                      <a:pt x="103" y="34"/>
                    </a:lnTo>
                    <a:lnTo>
                      <a:pt x="109" y="41"/>
                    </a:lnTo>
                    <a:lnTo>
                      <a:pt x="107" y="46"/>
                    </a:lnTo>
                    <a:lnTo>
                      <a:pt x="109" y="48"/>
                    </a:lnTo>
                    <a:lnTo>
                      <a:pt x="105" y="54"/>
                    </a:lnTo>
                    <a:lnTo>
                      <a:pt x="102" y="58"/>
                    </a:lnTo>
                    <a:lnTo>
                      <a:pt x="102" y="59"/>
                    </a:lnTo>
                    <a:lnTo>
                      <a:pt x="105" y="58"/>
                    </a:lnTo>
                    <a:lnTo>
                      <a:pt x="105" y="59"/>
                    </a:lnTo>
                    <a:lnTo>
                      <a:pt x="109" y="56"/>
                    </a:lnTo>
                    <a:lnTo>
                      <a:pt x="112" y="58"/>
                    </a:lnTo>
                    <a:lnTo>
                      <a:pt x="112" y="59"/>
                    </a:lnTo>
                    <a:lnTo>
                      <a:pt x="114" y="59"/>
                    </a:lnTo>
                    <a:lnTo>
                      <a:pt x="115" y="59"/>
                    </a:lnTo>
                    <a:lnTo>
                      <a:pt x="115" y="63"/>
                    </a:lnTo>
                    <a:lnTo>
                      <a:pt x="117" y="65"/>
                    </a:lnTo>
                    <a:lnTo>
                      <a:pt x="120" y="65"/>
                    </a:lnTo>
                    <a:lnTo>
                      <a:pt x="120" y="66"/>
                    </a:lnTo>
                    <a:lnTo>
                      <a:pt x="120" y="70"/>
                    </a:lnTo>
                    <a:lnTo>
                      <a:pt x="120" y="68"/>
                    </a:lnTo>
                    <a:lnTo>
                      <a:pt x="122" y="68"/>
                    </a:lnTo>
                    <a:lnTo>
                      <a:pt x="126" y="66"/>
                    </a:lnTo>
                    <a:lnTo>
                      <a:pt x="127" y="66"/>
                    </a:lnTo>
                    <a:lnTo>
                      <a:pt x="127" y="65"/>
                    </a:lnTo>
                    <a:lnTo>
                      <a:pt x="129" y="65"/>
                    </a:lnTo>
                    <a:lnTo>
                      <a:pt x="131" y="65"/>
                    </a:lnTo>
                    <a:lnTo>
                      <a:pt x="131" y="66"/>
                    </a:lnTo>
                    <a:lnTo>
                      <a:pt x="134" y="66"/>
                    </a:lnTo>
                    <a:lnTo>
                      <a:pt x="134" y="65"/>
                    </a:lnTo>
                    <a:lnTo>
                      <a:pt x="134" y="63"/>
                    </a:lnTo>
                    <a:lnTo>
                      <a:pt x="134" y="61"/>
                    </a:lnTo>
                    <a:lnTo>
                      <a:pt x="136" y="58"/>
                    </a:lnTo>
                    <a:lnTo>
                      <a:pt x="137" y="58"/>
                    </a:lnTo>
                    <a:lnTo>
                      <a:pt x="137" y="56"/>
                    </a:lnTo>
                    <a:lnTo>
                      <a:pt x="141" y="53"/>
                    </a:lnTo>
                    <a:lnTo>
                      <a:pt x="141" y="51"/>
                    </a:lnTo>
                    <a:lnTo>
                      <a:pt x="141" y="48"/>
                    </a:lnTo>
                    <a:lnTo>
                      <a:pt x="141" y="46"/>
                    </a:lnTo>
                    <a:lnTo>
                      <a:pt x="143" y="44"/>
                    </a:lnTo>
                    <a:lnTo>
                      <a:pt x="149" y="42"/>
                    </a:lnTo>
                    <a:lnTo>
                      <a:pt x="149" y="48"/>
                    </a:lnTo>
                    <a:lnTo>
                      <a:pt x="151" y="49"/>
                    </a:lnTo>
                    <a:lnTo>
                      <a:pt x="151" y="53"/>
                    </a:lnTo>
                    <a:lnTo>
                      <a:pt x="156" y="54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87" name="Freeform 37">
                <a:extLst>
                  <a:ext uri="{FF2B5EF4-FFF2-40B4-BE49-F238E27FC236}">
                    <a16:creationId xmlns:a16="http://schemas.microsoft.com/office/drawing/2014/main" id="{2E9E8D3C-65A9-48F8-918D-6E4AB323F7D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30672" y="785779"/>
                <a:ext cx="1265201" cy="1098504"/>
              </a:xfrm>
              <a:custGeom>
                <a:avLst/>
                <a:gdLst>
                  <a:gd name="T0" fmla="*/ 784 w 797"/>
                  <a:gd name="T1" fmla="*/ 89 h 692"/>
                  <a:gd name="T2" fmla="*/ 789 w 797"/>
                  <a:gd name="T3" fmla="*/ 128 h 692"/>
                  <a:gd name="T4" fmla="*/ 775 w 797"/>
                  <a:gd name="T5" fmla="*/ 153 h 692"/>
                  <a:gd name="T6" fmla="*/ 784 w 797"/>
                  <a:gd name="T7" fmla="*/ 182 h 692"/>
                  <a:gd name="T8" fmla="*/ 791 w 797"/>
                  <a:gd name="T9" fmla="*/ 281 h 692"/>
                  <a:gd name="T10" fmla="*/ 791 w 797"/>
                  <a:gd name="T11" fmla="*/ 567 h 692"/>
                  <a:gd name="T12" fmla="*/ 648 w 797"/>
                  <a:gd name="T13" fmla="*/ 645 h 692"/>
                  <a:gd name="T14" fmla="*/ 490 w 797"/>
                  <a:gd name="T15" fmla="*/ 565 h 692"/>
                  <a:gd name="T16" fmla="*/ 284 w 797"/>
                  <a:gd name="T17" fmla="*/ 515 h 692"/>
                  <a:gd name="T18" fmla="*/ 184 w 797"/>
                  <a:gd name="T19" fmla="*/ 500 h 692"/>
                  <a:gd name="T20" fmla="*/ 85 w 797"/>
                  <a:gd name="T21" fmla="*/ 442 h 692"/>
                  <a:gd name="T22" fmla="*/ 70 w 797"/>
                  <a:gd name="T23" fmla="*/ 439 h 692"/>
                  <a:gd name="T24" fmla="*/ 49 w 797"/>
                  <a:gd name="T25" fmla="*/ 437 h 692"/>
                  <a:gd name="T26" fmla="*/ 32 w 797"/>
                  <a:gd name="T27" fmla="*/ 395 h 692"/>
                  <a:gd name="T28" fmla="*/ 7 w 797"/>
                  <a:gd name="T29" fmla="*/ 344 h 692"/>
                  <a:gd name="T30" fmla="*/ 24 w 797"/>
                  <a:gd name="T31" fmla="*/ 315 h 692"/>
                  <a:gd name="T32" fmla="*/ 22 w 797"/>
                  <a:gd name="T33" fmla="*/ 289 h 692"/>
                  <a:gd name="T34" fmla="*/ 24 w 797"/>
                  <a:gd name="T35" fmla="*/ 282 h 692"/>
                  <a:gd name="T36" fmla="*/ 29 w 797"/>
                  <a:gd name="T37" fmla="*/ 269 h 692"/>
                  <a:gd name="T38" fmla="*/ 20 w 797"/>
                  <a:gd name="T39" fmla="*/ 189 h 692"/>
                  <a:gd name="T40" fmla="*/ 9 w 797"/>
                  <a:gd name="T41" fmla="*/ 148 h 692"/>
                  <a:gd name="T42" fmla="*/ 32 w 797"/>
                  <a:gd name="T43" fmla="*/ 134 h 692"/>
                  <a:gd name="T44" fmla="*/ 44 w 797"/>
                  <a:gd name="T45" fmla="*/ 107 h 692"/>
                  <a:gd name="T46" fmla="*/ 54 w 797"/>
                  <a:gd name="T47" fmla="*/ 73 h 692"/>
                  <a:gd name="T48" fmla="*/ 63 w 797"/>
                  <a:gd name="T49" fmla="*/ 61 h 692"/>
                  <a:gd name="T50" fmla="*/ 80 w 797"/>
                  <a:gd name="T51" fmla="*/ 49 h 692"/>
                  <a:gd name="T52" fmla="*/ 112 w 797"/>
                  <a:gd name="T53" fmla="*/ 31 h 692"/>
                  <a:gd name="T54" fmla="*/ 109 w 797"/>
                  <a:gd name="T55" fmla="*/ 9 h 692"/>
                  <a:gd name="T56" fmla="*/ 121 w 797"/>
                  <a:gd name="T57" fmla="*/ 3 h 692"/>
                  <a:gd name="T58" fmla="*/ 124 w 797"/>
                  <a:gd name="T59" fmla="*/ 3 h 692"/>
                  <a:gd name="T60" fmla="*/ 182 w 797"/>
                  <a:gd name="T61" fmla="*/ 17 h 692"/>
                  <a:gd name="T62" fmla="*/ 194 w 797"/>
                  <a:gd name="T63" fmla="*/ 14 h 692"/>
                  <a:gd name="T64" fmla="*/ 224 w 797"/>
                  <a:gd name="T65" fmla="*/ 19 h 692"/>
                  <a:gd name="T66" fmla="*/ 247 w 797"/>
                  <a:gd name="T67" fmla="*/ 26 h 692"/>
                  <a:gd name="T68" fmla="*/ 279 w 797"/>
                  <a:gd name="T69" fmla="*/ 37 h 692"/>
                  <a:gd name="T70" fmla="*/ 296 w 797"/>
                  <a:gd name="T71" fmla="*/ 41 h 692"/>
                  <a:gd name="T72" fmla="*/ 303 w 797"/>
                  <a:gd name="T73" fmla="*/ 61 h 692"/>
                  <a:gd name="T74" fmla="*/ 342 w 797"/>
                  <a:gd name="T75" fmla="*/ 97 h 692"/>
                  <a:gd name="T76" fmla="*/ 406 w 797"/>
                  <a:gd name="T77" fmla="*/ 106 h 692"/>
                  <a:gd name="T78" fmla="*/ 445 w 797"/>
                  <a:gd name="T79" fmla="*/ 121 h 692"/>
                  <a:gd name="T80" fmla="*/ 466 w 797"/>
                  <a:gd name="T81" fmla="*/ 134 h 692"/>
                  <a:gd name="T82" fmla="*/ 476 w 797"/>
                  <a:gd name="T83" fmla="*/ 141 h 692"/>
                  <a:gd name="T84" fmla="*/ 496 w 797"/>
                  <a:gd name="T85" fmla="*/ 146 h 692"/>
                  <a:gd name="T86" fmla="*/ 527 w 797"/>
                  <a:gd name="T87" fmla="*/ 133 h 692"/>
                  <a:gd name="T88" fmla="*/ 546 w 797"/>
                  <a:gd name="T89" fmla="*/ 97 h 692"/>
                  <a:gd name="T90" fmla="*/ 536 w 797"/>
                  <a:gd name="T91" fmla="*/ 75 h 692"/>
                  <a:gd name="T92" fmla="*/ 541 w 797"/>
                  <a:gd name="T93" fmla="*/ 54 h 692"/>
                  <a:gd name="T94" fmla="*/ 541 w 797"/>
                  <a:gd name="T95" fmla="*/ 54 h 692"/>
                  <a:gd name="T96" fmla="*/ 544 w 797"/>
                  <a:gd name="T97" fmla="*/ 49 h 692"/>
                  <a:gd name="T98" fmla="*/ 609 w 797"/>
                  <a:gd name="T99" fmla="*/ 19 h 692"/>
                  <a:gd name="T100" fmla="*/ 641 w 797"/>
                  <a:gd name="T101" fmla="*/ 14 h 692"/>
                  <a:gd name="T102" fmla="*/ 658 w 797"/>
                  <a:gd name="T103" fmla="*/ 15 h 692"/>
                  <a:gd name="T104" fmla="*/ 680 w 797"/>
                  <a:gd name="T105" fmla="*/ 22 h 692"/>
                  <a:gd name="T106" fmla="*/ 695 w 797"/>
                  <a:gd name="T107" fmla="*/ 32 h 692"/>
                  <a:gd name="T108" fmla="*/ 697 w 797"/>
                  <a:gd name="T109" fmla="*/ 39 h 692"/>
                  <a:gd name="T110" fmla="*/ 704 w 797"/>
                  <a:gd name="T111" fmla="*/ 49 h 692"/>
                  <a:gd name="T112" fmla="*/ 726 w 797"/>
                  <a:gd name="T113" fmla="*/ 49 h 692"/>
                  <a:gd name="T114" fmla="*/ 738 w 797"/>
                  <a:gd name="T115" fmla="*/ 54 h 692"/>
                  <a:gd name="T116" fmla="*/ 760 w 797"/>
                  <a:gd name="T117" fmla="*/ 60 h 692"/>
                  <a:gd name="T118" fmla="*/ 779 w 797"/>
                  <a:gd name="T119" fmla="*/ 58 h 692"/>
                  <a:gd name="T120" fmla="*/ 796 w 797"/>
                  <a:gd name="T121" fmla="*/ 71 h 6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97" h="692">
                    <a:moveTo>
                      <a:pt x="797" y="75"/>
                    </a:moveTo>
                    <a:lnTo>
                      <a:pt x="796" y="78"/>
                    </a:lnTo>
                    <a:lnTo>
                      <a:pt x="794" y="82"/>
                    </a:lnTo>
                    <a:lnTo>
                      <a:pt x="791" y="85"/>
                    </a:lnTo>
                    <a:lnTo>
                      <a:pt x="784" y="89"/>
                    </a:lnTo>
                    <a:lnTo>
                      <a:pt x="785" y="95"/>
                    </a:lnTo>
                    <a:lnTo>
                      <a:pt x="785" y="102"/>
                    </a:lnTo>
                    <a:lnTo>
                      <a:pt x="791" y="114"/>
                    </a:lnTo>
                    <a:lnTo>
                      <a:pt x="792" y="121"/>
                    </a:lnTo>
                    <a:lnTo>
                      <a:pt x="789" y="128"/>
                    </a:lnTo>
                    <a:lnTo>
                      <a:pt x="787" y="131"/>
                    </a:lnTo>
                    <a:lnTo>
                      <a:pt x="787" y="134"/>
                    </a:lnTo>
                    <a:lnTo>
                      <a:pt x="784" y="140"/>
                    </a:lnTo>
                    <a:lnTo>
                      <a:pt x="780" y="145"/>
                    </a:lnTo>
                    <a:lnTo>
                      <a:pt x="775" y="153"/>
                    </a:lnTo>
                    <a:lnTo>
                      <a:pt x="779" y="157"/>
                    </a:lnTo>
                    <a:lnTo>
                      <a:pt x="782" y="165"/>
                    </a:lnTo>
                    <a:lnTo>
                      <a:pt x="782" y="172"/>
                    </a:lnTo>
                    <a:lnTo>
                      <a:pt x="785" y="180"/>
                    </a:lnTo>
                    <a:lnTo>
                      <a:pt x="784" y="182"/>
                    </a:lnTo>
                    <a:lnTo>
                      <a:pt x="784" y="185"/>
                    </a:lnTo>
                    <a:lnTo>
                      <a:pt x="791" y="197"/>
                    </a:lnTo>
                    <a:lnTo>
                      <a:pt x="791" y="199"/>
                    </a:lnTo>
                    <a:lnTo>
                      <a:pt x="791" y="262"/>
                    </a:lnTo>
                    <a:lnTo>
                      <a:pt x="791" y="281"/>
                    </a:lnTo>
                    <a:lnTo>
                      <a:pt x="791" y="316"/>
                    </a:lnTo>
                    <a:lnTo>
                      <a:pt x="791" y="349"/>
                    </a:lnTo>
                    <a:lnTo>
                      <a:pt x="791" y="412"/>
                    </a:lnTo>
                    <a:lnTo>
                      <a:pt x="791" y="492"/>
                    </a:lnTo>
                    <a:lnTo>
                      <a:pt x="791" y="567"/>
                    </a:lnTo>
                    <a:lnTo>
                      <a:pt x="791" y="612"/>
                    </a:lnTo>
                    <a:lnTo>
                      <a:pt x="791" y="667"/>
                    </a:lnTo>
                    <a:lnTo>
                      <a:pt x="740" y="667"/>
                    </a:lnTo>
                    <a:lnTo>
                      <a:pt x="740" y="692"/>
                    </a:lnTo>
                    <a:lnTo>
                      <a:pt x="648" y="645"/>
                    </a:lnTo>
                    <a:lnTo>
                      <a:pt x="588" y="614"/>
                    </a:lnTo>
                    <a:lnTo>
                      <a:pt x="580" y="609"/>
                    </a:lnTo>
                    <a:lnTo>
                      <a:pt x="530" y="585"/>
                    </a:lnTo>
                    <a:lnTo>
                      <a:pt x="491" y="567"/>
                    </a:lnTo>
                    <a:lnTo>
                      <a:pt x="490" y="565"/>
                    </a:lnTo>
                    <a:lnTo>
                      <a:pt x="435" y="539"/>
                    </a:lnTo>
                    <a:lnTo>
                      <a:pt x="381" y="514"/>
                    </a:lnTo>
                    <a:lnTo>
                      <a:pt x="335" y="492"/>
                    </a:lnTo>
                    <a:lnTo>
                      <a:pt x="291" y="512"/>
                    </a:lnTo>
                    <a:lnTo>
                      <a:pt x="284" y="515"/>
                    </a:lnTo>
                    <a:lnTo>
                      <a:pt x="243" y="532"/>
                    </a:lnTo>
                    <a:lnTo>
                      <a:pt x="218" y="512"/>
                    </a:lnTo>
                    <a:lnTo>
                      <a:pt x="211" y="507"/>
                    </a:lnTo>
                    <a:lnTo>
                      <a:pt x="204" y="504"/>
                    </a:lnTo>
                    <a:lnTo>
                      <a:pt x="184" y="500"/>
                    </a:lnTo>
                    <a:lnTo>
                      <a:pt x="133" y="488"/>
                    </a:lnTo>
                    <a:lnTo>
                      <a:pt x="112" y="451"/>
                    </a:lnTo>
                    <a:lnTo>
                      <a:pt x="104" y="454"/>
                    </a:lnTo>
                    <a:lnTo>
                      <a:pt x="88" y="444"/>
                    </a:lnTo>
                    <a:lnTo>
                      <a:pt x="85" y="442"/>
                    </a:lnTo>
                    <a:lnTo>
                      <a:pt x="80" y="437"/>
                    </a:lnTo>
                    <a:lnTo>
                      <a:pt x="77" y="436"/>
                    </a:lnTo>
                    <a:lnTo>
                      <a:pt x="73" y="436"/>
                    </a:lnTo>
                    <a:lnTo>
                      <a:pt x="71" y="437"/>
                    </a:lnTo>
                    <a:lnTo>
                      <a:pt x="70" y="439"/>
                    </a:lnTo>
                    <a:lnTo>
                      <a:pt x="66" y="436"/>
                    </a:lnTo>
                    <a:lnTo>
                      <a:pt x="63" y="436"/>
                    </a:lnTo>
                    <a:lnTo>
                      <a:pt x="61" y="437"/>
                    </a:lnTo>
                    <a:lnTo>
                      <a:pt x="60" y="437"/>
                    </a:lnTo>
                    <a:lnTo>
                      <a:pt x="49" y="437"/>
                    </a:lnTo>
                    <a:lnTo>
                      <a:pt x="46" y="434"/>
                    </a:lnTo>
                    <a:lnTo>
                      <a:pt x="43" y="432"/>
                    </a:lnTo>
                    <a:lnTo>
                      <a:pt x="37" y="424"/>
                    </a:lnTo>
                    <a:lnTo>
                      <a:pt x="32" y="415"/>
                    </a:lnTo>
                    <a:lnTo>
                      <a:pt x="32" y="395"/>
                    </a:lnTo>
                    <a:lnTo>
                      <a:pt x="15" y="373"/>
                    </a:lnTo>
                    <a:lnTo>
                      <a:pt x="7" y="362"/>
                    </a:lnTo>
                    <a:lnTo>
                      <a:pt x="0" y="354"/>
                    </a:lnTo>
                    <a:lnTo>
                      <a:pt x="4" y="350"/>
                    </a:lnTo>
                    <a:lnTo>
                      <a:pt x="7" y="344"/>
                    </a:lnTo>
                    <a:lnTo>
                      <a:pt x="24" y="337"/>
                    </a:lnTo>
                    <a:lnTo>
                      <a:pt x="27" y="330"/>
                    </a:lnTo>
                    <a:lnTo>
                      <a:pt x="26" y="325"/>
                    </a:lnTo>
                    <a:lnTo>
                      <a:pt x="27" y="320"/>
                    </a:lnTo>
                    <a:lnTo>
                      <a:pt x="24" y="315"/>
                    </a:lnTo>
                    <a:lnTo>
                      <a:pt x="22" y="306"/>
                    </a:lnTo>
                    <a:lnTo>
                      <a:pt x="20" y="305"/>
                    </a:lnTo>
                    <a:lnTo>
                      <a:pt x="20" y="299"/>
                    </a:lnTo>
                    <a:lnTo>
                      <a:pt x="20" y="294"/>
                    </a:lnTo>
                    <a:lnTo>
                      <a:pt x="22" y="289"/>
                    </a:lnTo>
                    <a:lnTo>
                      <a:pt x="22" y="288"/>
                    </a:lnTo>
                    <a:lnTo>
                      <a:pt x="24" y="288"/>
                    </a:lnTo>
                    <a:lnTo>
                      <a:pt x="26" y="284"/>
                    </a:lnTo>
                    <a:lnTo>
                      <a:pt x="22" y="284"/>
                    </a:lnTo>
                    <a:lnTo>
                      <a:pt x="24" y="282"/>
                    </a:lnTo>
                    <a:lnTo>
                      <a:pt x="26" y="282"/>
                    </a:lnTo>
                    <a:lnTo>
                      <a:pt x="27" y="277"/>
                    </a:lnTo>
                    <a:lnTo>
                      <a:pt x="29" y="276"/>
                    </a:lnTo>
                    <a:lnTo>
                      <a:pt x="29" y="271"/>
                    </a:lnTo>
                    <a:lnTo>
                      <a:pt x="29" y="269"/>
                    </a:lnTo>
                    <a:lnTo>
                      <a:pt x="22" y="247"/>
                    </a:lnTo>
                    <a:lnTo>
                      <a:pt x="26" y="230"/>
                    </a:lnTo>
                    <a:lnTo>
                      <a:pt x="26" y="223"/>
                    </a:lnTo>
                    <a:lnTo>
                      <a:pt x="24" y="209"/>
                    </a:lnTo>
                    <a:lnTo>
                      <a:pt x="20" y="189"/>
                    </a:lnTo>
                    <a:lnTo>
                      <a:pt x="9" y="165"/>
                    </a:lnTo>
                    <a:lnTo>
                      <a:pt x="2" y="158"/>
                    </a:lnTo>
                    <a:lnTo>
                      <a:pt x="0" y="155"/>
                    </a:lnTo>
                    <a:lnTo>
                      <a:pt x="0" y="151"/>
                    </a:lnTo>
                    <a:lnTo>
                      <a:pt x="9" y="148"/>
                    </a:lnTo>
                    <a:lnTo>
                      <a:pt x="22" y="143"/>
                    </a:lnTo>
                    <a:lnTo>
                      <a:pt x="26" y="143"/>
                    </a:lnTo>
                    <a:lnTo>
                      <a:pt x="27" y="141"/>
                    </a:lnTo>
                    <a:lnTo>
                      <a:pt x="32" y="136"/>
                    </a:lnTo>
                    <a:lnTo>
                      <a:pt x="32" y="134"/>
                    </a:lnTo>
                    <a:lnTo>
                      <a:pt x="39" y="126"/>
                    </a:lnTo>
                    <a:lnTo>
                      <a:pt x="43" y="124"/>
                    </a:lnTo>
                    <a:lnTo>
                      <a:pt x="44" y="119"/>
                    </a:lnTo>
                    <a:lnTo>
                      <a:pt x="46" y="114"/>
                    </a:lnTo>
                    <a:lnTo>
                      <a:pt x="44" y="107"/>
                    </a:lnTo>
                    <a:lnTo>
                      <a:pt x="46" y="106"/>
                    </a:lnTo>
                    <a:lnTo>
                      <a:pt x="37" y="85"/>
                    </a:lnTo>
                    <a:lnTo>
                      <a:pt x="46" y="75"/>
                    </a:lnTo>
                    <a:lnTo>
                      <a:pt x="51" y="71"/>
                    </a:lnTo>
                    <a:lnTo>
                      <a:pt x="54" y="73"/>
                    </a:lnTo>
                    <a:lnTo>
                      <a:pt x="58" y="71"/>
                    </a:lnTo>
                    <a:lnTo>
                      <a:pt x="60" y="70"/>
                    </a:lnTo>
                    <a:lnTo>
                      <a:pt x="63" y="65"/>
                    </a:lnTo>
                    <a:lnTo>
                      <a:pt x="63" y="63"/>
                    </a:lnTo>
                    <a:lnTo>
                      <a:pt x="63" y="61"/>
                    </a:lnTo>
                    <a:lnTo>
                      <a:pt x="65" y="60"/>
                    </a:lnTo>
                    <a:lnTo>
                      <a:pt x="68" y="61"/>
                    </a:lnTo>
                    <a:lnTo>
                      <a:pt x="71" y="60"/>
                    </a:lnTo>
                    <a:lnTo>
                      <a:pt x="75" y="54"/>
                    </a:lnTo>
                    <a:lnTo>
                      <a:pt x="80" y="49"/>
                    </a:lnTo>
                    <a:lnTo>
                      <a:pt x="90" y="46"/>
                    </a:lnTo>
                    <a:lnTo>
                      <a:pt x="100" y="43"/>
                    </a:lnTo>
                    <a:lnTo>
                      <a:pt x="111" y="39"/>
                    </a:lnTo>
                    <a:lnTo>
                      <a:pt x="112" y="36"/>
                    </a:lnTo>
                    <a:lnTo>
                      <a:pt x="112" y="31"/>
                    </a:lnTo>
                    <a:lnTo>
                      <a:pt x="107" y="27"/>
                    </a:lnTo>
                    <a:lnTo>
                      <a:pt x="107" y="26"/>
                    </a:lnTo>
                    <a:lnTo>
                      <a:pt x="107" y="15"/>
                    </a:lnTo>
                    <a:lnTo>
                      <a:pt x="107" y="14"/>
                    </a:lnTo>
                    <a:lnTo>
                      <a:pt x="109" y="9"/>
                    </a:lnTo>
                    <a:lnTo>
                      <a:pt x="109" y="5"/>
                    </a:lnTo>
                    <a:lnTo>
                      <a:pt x="111" y="0"/>
                    </a:lnTo>
                    <a:lnTo>
                      <a:pt x="114" y="3"/>
                    </a:lnTo>
                    <a:lnTo>
                      <a:pt x="122" y="5"/>
                    </a:lnTo>
                    <a:lnTo>
                      <a:pt x="121" y="3"/>
                    </a:lnTo>
                    <a:lnTo>
                      <a:pt x="117" y="3"/>
                    </a:lnTo>
                    <a:lnTo>
                      <a:pt x="117" y="2"/>
                    </a:lnTo>
                    <a:lnTo>
                      <a:pt x="121" y="3"/>
                    </a:lnTo>
                    <a:lnTo>
                      <a:pt x="122" y="5"/>
                    </a:lnTo>
                    <a:lnTo>
                      <a:pt x="124" y="3"/>
                    </a:lnTo>
                    <a:lnTo>
                      <a:pt x="143" y="15"/>
                    </a:lnTo>
                    <a:lnTo>
                      <a:pt x="150" y="17"/>
                    </a:lnTo>
                    <a:lnTo>
                      <a:pt x="162" y="19"/>
                    </a:lnTo>
                    <a:lnTo>
                      <a:pt x="170" y="19"/>
                    </a:lnTo>
                    <a:lnTo>
                      <a:pt x="182" y="17"/>
                    </a:lnTo>
                    <a:lnTo>
                      <a:pt x="190" y="14"/>
                    </a:lnTo>
                    <a:lnTo>
                      <a:pt x="192" y="14"/>
                    </a:lnTo>
                    <a:lnTo>
                      <a:pt x="194" y="12"/>
                    </a:lnTo>
                    <a:lnTo>
                      <a:pt x="192" y="14"/>
                    </a:lnTo>
                    <a:lnTo>
                      <a:pt x="194" y="14"/>
                    </a:lnTo>
                    <a:lnTo>
                      <a:pt x="194" y="12"/>
                    </a:lnTo>
                    <a:lnTo>
                      <a:pt x="202" y="14"/>
                    </a:lnTo>
                    <a:lnTo>
                      <a:pt x="204" y="15"/>
                    </a:lnTo>
                    <a:lnTo>
                      <a:pt x="214" y="19"/>
                    </a:lnTo>
                    <a:lnTo>
                      <a:pt x="224" y="19"/>
                    </a:lnTo>
                    <a:lnTo>
                      <a:pt x="231" y="20"/>
                    </a:lnTo>
                    <a:lnTo>
                      <a:pt x="235" y="22"/>
                    </a:lnTo>
                    <a:lnTo>
                      <a:pt x="243" y="22"/>
                    </a:lnTo>
                    <a:lnTo>
                      <a:pt x="247" y="24"/>
                    </a:lnTo>
                    <a:lnTo>
                      <a:pt x="247" y="26"/>
                    </a:lnTo>
                    <a:lnTo>
                      <a:pt x="250" y="27"/>
                    </a:lnTo>
                    <a:lnTo>
                      <a:pt x="258" y="32"/>
                    </a:lnTo>
                    <a:lnTo>
                      <a:pt x="264" y="34"/>
                    </a:lnTo>
                    <a:lnTo>
                      <a:pt x="272" y="37"/>
                    </a:lnTo>
                    <a:lnTo>
                      <a:pt x="279" y="37"/>
                    </a:lnTo>
                    <a:lnTo>
                      <a:pt x="282" y="37"/>
                    </a:lnTo>
                    <a:lnTo>
                      <a:pt x="289" y="37"/>
                    </a:lnTo>
                    <a:lnTo>
                      <a:pt x="296" y="41"/>
                    </a:lnTo>
                    <a:lnTo>
                      <a:pt x="298" y="41"/>
                    </a:lnTo>
                    <a:lnTo>
                      <a:pt x="296" y="41"/>
                    </a:lnTo>
                    <a:lnTo>
                      <a:pt x="298" y="43"/>
                    </a:lnTo>
                    <a:lnTo>
                      <a:pt x="301" y="48"/>
                    </a:lnTo>
                    <a:lnTo>
                      <a:pt x="303" y="51"/>
                    </a:lnTo>
                    <a:lnTo>
                      <a:pt x="303" y="56"/>
                    </a:lnTo>
                    <a:lnTo>
                      <a:pt x="303" y="61"/>
                    </a:lnTo>
                    <a:lnTo>
                      <a:pt x="309" y="75"/>
                    </a:lnTo>
                    <a:lnTo>
                      <a:pt x="316" y="85"/>
                    </a:lnTo>
                    <a:lnTo>
                      <a:pt x="321" y="90"/>
                    </a:lnTo>
                    <a:lnTo>
                      <a:pt x="333" y="95"/>
                    </a:lnTo>
                    <a:lnTo>
                      <a:pt x="342" y="97"/>
                    </a:lnTo>
                    <a:lnTo>
                      <a:pt x="355" y="99"/>
                    </a:lnTo>
                    <a:lnTo>
                      <a:pt x="374" y="99"/>
                    </a:lnTo>
                    <a:lnTo>
                      <a:pt x="386" y="102"/>
                    </a:lnTo>
                    <a:lnTo>
                      <a:pt x="401" y="106"/>
                    </a:lnTo>
                    <a:lnTo>
                      <a:pt x="406" y="106"/>
                    </a:lnTo>
                    <a:lnTo>
                      <a:pt x="411" y="109"/>
                    </a:lnTo>
                    <a:lnTo>
                      <a:pt x="420" y="112"/>
                    </a:lnTo>
                    <a:lnTo>
                      <a:pt x="428" y="114"/>
                    </a:lnTo>
                    <a:lnTo>
                      <a:pt x="432" y="117"/>
                    </a:lnTo>
                    <a:lnTo>
                      <a:pt x="445" y="121"/>
                    </a:lnTo>
                    <a:lnTo>
                      <a:pt x="447" y="121"/>
                    </a:lnTo>
                    <a:lnTo>
                      <a:pt x="452" y="126"/>
                    </a:lnTo>
                    <a:lnTo>
                      <a:pt x="457" y="129"/>
                    </a:lnTo>
                    <a:lnTo>
                      <a:pt x="462" y="134"/>
                    </a:lnTo>
                    <a:lnTo>
                      <a:pt x="466" y="134"/>
                    </a:lnTo>
                    <a:lnTo>
                      <a:pt x="466" y="136"/>
                    </a:lnTo>
                    <a:lnTo>
                      <a:pt x="466" y="134"/>
                    </a:lnTo>
                    <a:lnTo>
                      <a:pt x="466" y="136"/>
                    </a:lnTo>
                    <a:lnTo>
                      <a:pt x="469" y="140"/>
                    </a:lnTo>
                    <a:lnTo>
                      <a:pt x="476" y="141"/>
                    </a:lnTo>
                    <a:lnTo>
                      <a:pt x="476" y="143"/>
                    </a:lnTo>
                    <a:lnTo>
                      <a:pt x="481" y="143"/>
                    </a:lnTo>
                    <a:lnTo>
                      <a:pt x="485" y="146"/>
                    </a:lnTo>
                    <a:lnTo>
                      <a:pt x="488" y="146"/>
                    </a:lnTo>
                    <a:lnTo>
                      <a:pt x="496" y="146"/>
                    </a:lnTo>
                    <a:lnTo>
                      <a:pt x="500" y="146"/>
                    </a:lnTo>
                    <a:lnTo>
                      <a:pt x="507" y="145"/>
                    </a:lnTo>
                    <a:lnTo>
                      <a:pt x="515" y="140"/>
                    </a:lnTo>
                    <a:lnTo>
                      <a:pt x="519" y="140"/>
                    </a:lnTo>
                    <a:lnTo>
                      <a:pt x="527" y="133"/>
                    </a:lnTo>
                    <a:lnTo>
                      <a:pt x="534" y="126"/>
                    </a:lnTo>
                    <a:lnTo>
                      <a:pt x="541" y="117"/>
                    </a:lnTo>
                    <a:lnTo>
                      <a:pt x="546" y="107"/>
                    </a:lnTo>
                    <a:lnTo>
                      <a:pt x="546" y="102"/>
                    </a:lnTo>
                    <a:lnTo>
                      <a:pt x="546" y="97"/>
                    </a:lnTo>
                    <a:lnTo>
                      <a:pt x="542" y="92"/>
                    </a:lnTo>
                    <a:lnTo>
                      <a:pt x="539" y="90"/>
                    </a:lnTo>
                    <a:lnTo>
                      <a:pt x="539" y="87"/>
                    </a:lnTo>
                    <a:lnTo>
                      <a:pt x="537" y="85"/>
                    </a:lnTo>
                    <a:lnTo>
                      <a:pt x="536" y="75"/>
                    </a:lnTo>
                    <a:lnTo>
                      <a:pt x="534" y="71"/>
                    </a:lnTo>
                    <a:lnTo>
                      <a:pt x="536" y="63"/>
                    </a:lnTo>
                    <a:lnTo>
                      <a:pt x="536" y="61"/>
                    </a:lnTo>
                    <a:lnTo>
                      <a:pt x="539" y="56"/>
                    </a:lnTo>
                    <a:lnTo>
                      <a:pt x="541" y="54"/>
                    </a:lnTo>
                    <a:lnTo>
                      <a:pt x="539" y="54"/>
                    </a:lnTo>
                    <a:lnTo>
                      <a:pt x="539" y="53"/>
                    </a:lnTo>
                    <a:lnTo>
                      <a:pt x="539" y="54"/>
                    </a:lnTo>
                    <a:lnTo>
                      <a:pt x="541" y="53"/>
                    </a:lnTo>
                    <a:lnTo>
                      <a:pt x="541" y="54"/>
                    </a:lnTo>
                    <a:lnTo>
                      <a:pt x="541" y="53"/>
                    </a:lnTo>
                    <a:lnTo>
                      <a:pt x="539" y="53"/>
                    </a:lnTo>
                    <a:lnTo>
                      <a:pt x="541" y="53"/>
                    </a:lnTo>
                    <a:lnTo>
                      <a:pt x="542" y="49"/>
                    </a:lnTo>
                    <a:lnTo>
                      <a:pt x="544" y="49"/>
                    </a:lnTo>
                    <a:lnTo>
                      <a:pt x="547" y="44"/>
                    </a:lnTo>
                    <a:lnTo>
                      <a:pt x="558" y="37"/>
                    </a:lnTo>
                    <a:lnTo>
                      <a:pt x="571" y="29"/>
                    </a:lnTo>
                    <a:lnTo>
                      <a:pt x="592" y="20"/>
                    </a:lnTo>
                    <a:lnTo>
                      <a:pt x="609" y="19"/>
                    </a:lnTo>
                    <a:lnTo>
                      <a:pt x="612" y="17"/>
                    </a:lnTo>
                    <a:lnTo>
                      <a:pt x="621" y="12"/>
                    </a:lnTo>
                    <a:lnTo>
                      <a:pt x="624" y="12"/>
                    </a:lnTo>
                    <a:lnTo>
                      <a:pt x="634" y="14"/>
                    </a:lnTo>
                    <a:lnTo>
                      <a:pt x="641" y="14"/>
                    </a:lnTo>
                    <a:lnTo>
                      <a:pt x="646" y="12"/>
                    </a:lnTo>
                    <a:lnTo>
                      <a:pt x="648" y="12"/>
                    </a:lnTo>
                    <a:lnTo>
                      <a:pt x="648" y="14"/>
                    </a:lnTo>
                    <a:lnTo>
                      <a:pt x="649" y="14"/>
                    </a:lnTo>
                    <a:lnTo>
                      <a:pt x="658" y="15"/>
                    </a:lnTo>
                    <a:lnTo>
                      <a:pt x="663" y="17"/>
                    </a:lnTo>
                    <a:lnTo>
                      <a:pt x="666" y="19"/>
                    </a:lnTo>
                    <a:lnTo>
                      <a:pt x="670" y="20"/>
                    </a:lnTo>
                    <a:lnTo>
                      <a:pt x="672" y="20"/>
                    </a:lnTo>
                    <a:lnTo>
                      <a:pt x="680" y="22"/>
                    </a:lnTo>
                    <a:lnTo>
                      <a:pt x="685" y="26"/>
                    </a:lnTo>
                    <a:lnTo>
                      <a:pt x="695" y="27"/>
                    </a:lnTo>
                    <a:lnTo>
                      <a:pt x="695" y="29"/>
                    </a:lnTo>
                    <a:lnTo>
                      <a:pt x="695" y="31"/>
                    </a:lnTo>
                    <a:lnTo>
                      <a:pt x="695" y="32"/>
                    </a:lnTo>
                    <a:lnTo>
                      <a:pt x="697" y="36"/>
                    </a:lnTo>
                    <a:lnTo>
                      <a:pt x="697" y="37"/>
                    </a:lnTo>
                    <a:lnTo>
                      <a:pt x="697" y="39"/>
                    </a:lnTo>
                    <a:lnTo>
                      <a:pt x="695" y="39"/>
                    </a:lnTo>
                    <a:lnTo>
                      <a:pt x="697" y="39"/>
                    </a:lnTo>
                    <a:lnTo>
                      <a:pt x="694" y="37"/>
                    </a:lnTo>
                    <a:lnTo>
                      <a:pt x="694" y="43"/>
                    </a:lnTo>
                    <a:lnTo>
                      <a:pt x="700" y="44"/>
                    </a:lnTo>
                    <a:lnTo>
                      <a:pt x="702" y="49"/>
                    </a:lnTo>
                    <a:lnTo>
                      <a:pt x="704" y="49"/>
                    </a:lnTo>
                    <a:lnTo>
                      <a:pt x="706" y="51"/>
                    </a:lnTo>
                    <a:lnTo>
                      <a:pt x="706" y="49"/>
                    </a:lnTo>
                    <a:lnTo>
                      <a:pt x="706" y="48"/>
                    </a:lnTo>
                    <a:lnTo>
                      <a:pt x="711" y="49"/>
                    </a:lnTo>
                    <a:lnTo>
                      <a:pt x="726" y="49"/>
                    </a:lnTo>
                    <a:lnTo>
                      <a:pt x="734" y="53"/>
                    </a:lnTo>
                    <a:lnTo>
                      <a:pt x="740" y="54"/>
                    </a:lnTo>
                    <a:lnTo>
                      <a:pt x="741" y="54"/>
                    </a:lnTo>
                    <a:lnTo>
                      <a:pt x="741" y="56"/>
                    </a:lnTo>
                    <a:lnTo>
                      <a:pt x="738" y="54"/>
                    </a:lnTo>
                    <a:lnTo>
                      <a:pt x="738" y="56"/>
                    </a:lnTo>
                    <a:lnTo>
                      <a:pt x="745" y="58"/>
                    </a:lnTo>
                    <a:lnTo>
                      <a:pt x="750" y="60"/>
                    </a:lnTo>
                    <a:lnTo>
                      <a:pt x="753" y="58"/>
                    </a:lnTo>
                    <a:lnTo>
                      <a:pt x="760" y="60"/>
                    </a:lnTo>
                    <a:lnTo>
                      <a:pt x="765" y="60"/>
                    </a:lnTo>
                    <a:lnTo>
                      <a:pt x="768" y="60"/>
                    </a:lnTo>
                    <a:lnTo>
                      <a:pt x="774" y="58"/>
                    </a:lnTo>
                    <a:lnTo>
                      <a:pt x="775" y="58"/>
                    </a:lnTo>
                    <a:lnTo>
                      <a:pt x="779" y="58"/>
                    </a:lnTo>
                    <a:lnTo>
                      <a:pt x="784" y="60"/>
                    </a:lnTo>
                    <a:lnTo>
                      <a:pt x="791" y="61"/>
                    </a:lnTo>
                    <a:lnTo>
                      <a:pt x="792" y="63"/>
                    </a:lnTo>
                    <a:lnTo>
                      <a:pt x="792" y="66"/>
                    </a:lnTo>
                    <a:lnTo>
                      <a:pt x="796" y="71"/>
                    </a:lnTo>
                    <a:lnTo>
                      <a:pt x="797" y="71"/>
                    </a:lnTo>
                    <a:lnTo>
                      <a:pt x="797" y="75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88" name="Freeform 39">
                <a:extLst>
                  <a:ext uri="{FF2B5EF4-FFF2-40B4-BE49-F238E27FC236}">
                    <a16:creationId xmlns:a16="http://schemas.microsoft.com/office/drawing/2014/main" id="{ED436A34-8899-4957-8545-A845286B2F2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203870" y="4206702"/>
                <a:ext cx="258754" cy="623863"/>
              </a:xfrm>
              <a:custGeom>
                <a:avLst/>
                <a:gdLst>
                  <a:gd name="T0" fmla="*/ 88 w 163"/>
                  <a:gd name="T1" fmla="*/ 152 h 393"/>
                  <a:gd name="T2" fmla="*/ 93 w 163"/>
                  <a:gd name="T3" fmla="*/ 203 h 393"/>
                  <a:gd name="T4" fmla="*/ 144 w 163"/>
                  <a:gd name="T5" fmla="*/ 249 h 393"/>
                  <a:gd name="T6" fmla="*/ 160 w 163"/>
                  <a:gd name="T7" fmla="*/ 306 h 393"/>
                  <a:gd name="T8" fmla="*/ 151 w 163"/>
                  <a:gd name="T9" fmla="*/ 341 h 393"/>
                  <a:gd name="T10" fmla="*/ 139 w 163"/>
                  <a:gd name="T11" fmla="*/ 342 h 393"/>
                  <a:gd name="T12" fmla="*/ 131 w 163"/>
                  <a:gd name="T13" fmla="*/ 356 h 393"/>
                  <a:gd name="T14" fmla="*/ 132 w 163"/>
                  <a:gd name="T15" fmla="*/ 373 h 393"/>
                  <a:gd name="T16" fmla="*/ 132 w 163"/>
                  <a:gd name="T17" fmla="*/ 385 h 393"/>
                  <a:gd name="T18" fmla="*/ 122 w 163"/>
                  <a:gd name="T19" fmla="*/ 393 h 393"/>
                  <a:gd name="T20" fmla="*/ 124 w 163"/>
                  <a:gd name="T21" fmla="*/ 381 h 393"/>
                  <a:gd name="T22" fmla="*/ 114 w 163"/>
                  <a:gd name="T23" fmla="*/ 375 h 393"/>
                  <a:gd name="T24" fmla="*/ 105 w 163"/>
                  <a:gd name="T25" fmla="*/ 363 h 393"/>
                  <a:gd name="T26" fmla="*/ 92 w 163"/>
                  <a:gd name="T27" fmla="*/ 351 h 393"/>
                  <a:gd name="T28" fmla="*/ 81 w 163"/>
                  <a:gd name="T29" fmla="*/ 332 h 393"/>
                  <a:gd name="T30" fmla="*/ 85 w 163"/>
                  <a:gd name="T31" fmla="*/ 324 h 393"/>
                  <a:gd name="T32" fmla="*/ 90 w 163"/>
                  <a:gd name="T33" fmla="*/ 310 h 393"/>
                  <a:gd name="T34" fmla="*/ 95 w 163"/>
                  <a:gd name="T35" fmla="*/ 293 h 393"/>
                  <a:gd name="T36" fmla="*/ 93 w 163"/>
                  <a:gd name="T37" fmla="*/ 269 h 393"/>
                  <a:gd name="T38" fmla="*/ 81 w 163"/>
                  <a:gd name="T39" fmla="*/ 255 h 393"/>
                  <a:gd name="T40" fmla="*/ 59 w 163"/>
                  <a:gd name="T41" fmla="*/ 261 h 393"/>
                  <a:gd name="T42" fmla="*/ 49 w 163"/>
                  <a:gd name="T43" fmla="*/ 264 h 393"/>
                  <a:gd name="T44" fmla="*/ 36 w 163"/>
                  <a:gd name="T45" fmla="*/ 245 h 393"/>
                  <a:gd name="T46" fmla="*/ 27 w 163"/>
                  <a:gd name="T47" fmla="*/ 235 h 393"/>
                  <a:gd name="T48" fmla="*/ 19 w 163"/>
                  <a:gd name="T49" fmla="*/ 237 h 393"/>
                  <a:gd name="T50" fmla="*/ 10 w 163"/>
                  <a:gd name="T51" fmla="*/ 227 h 393"/>
                  <a:gd name="T52" fmla="*/ 5 w 163"/>
                  <a:gd name="T53" fmla="*/ 218 h 393"/>
                  <a:gd name="T54" fmla="*/ 3 w 163"/>
                  <a:gd name="T55" fmla="*/ 215 h 393"/>
                  <a:gd name="T56" fmla="*/ 12 w 163"/>
                  <a:gd name="T57" fmla="*/ 203 h 393"/>
                  <a:gd name="T58" fmla="*/ 13 w 163"/>
                  <a:gd name="T59" fmla="*/ 177 h 393"/>
                  <a:gd name="T60" fmla="*/ 24 w 163"/>
                  <a:gd name="T61" fmla="*/ 164 h 393"/>
                  <a:gd name="T62" fmla="*/ 37 w 163"/>
                  <a:gd name="T63" fmla="*/ 159 h 393"/>
                  <a:gd name="T64" fmla="*/ 41 w 163"/>
                  <a:gd name="T65" fmla="*/ 150 h 393"/>
                  <a:gd name="T66" fmla="*/ 30 w 163"/>
                  <a:gd name="T67" fmla="*/ 141 h 393"/>
                  <a:gd name="T68" fmla="*/ 32 w 163"/>
                  <a:gd name="T69" fmla="*/ 123 h 393"/>
                  <a:gd name="T70" fmla="*/ 29 w 163"/>
                  <a:gd name="T71" fmla="*/ 109 h 393"/>
                  <a:gd name="T72" fmla="*/ 32 w 163"/>
                  <a:gd name="T73" fmla="*/ 102 h 393"/>
                  <a:gd name="T74" fmla="*/ 30 w 163"/>
                  <a:gd name="T75" fmla="*/ 79 h 393"/>
                  <a:gd name="T76" fmla="*/ 34 w 163"/>
                  <a:gd name="T77" fmla="*/ 75 h 393"/>
                  <a:gd name="T78" fmla="*/ 46 w 163"/>
                  <a:gd name="T79" fmla="*/ 65 h 393"/>
                  <a:gd name="T80" fmla="*/ 46 w 163"/>
                  <a:gd name="T81" fmla="*/ 55 h 393"/>
                  <a:gd name="T82" fmla="*/ 32 w 163"/>
                  <a:gd name="T83" fmla="*/ 36 h 393"/>
                  <a:gd name="T84" fmla="*/ 27 w 163"/>
                  <a:gd name="T85" fmla="*/ 19 h 393"/>
                  <a:gd name="T86" fmla="*/ 19 w 163"/>
                  <a:gd name="T87" fmla="*/ 14 h 393"/>
                  <a:gd name="T88" fmla="*/ 13 w 163"/>
                  <a:gd name="T89" fmla="*/ 2 h 393"/>
                  <a:gd name="T90" fmla="*/ 30 w 163"/>
                  <a:gd name="T91" fmla="*/ 7 h 393"/>
                  <a:gd name="T92" fmla="*/ 39 w 163"/>
                  <a:gd name="T93" fmla="*/ 12 h 393"/>
                  <a:gd name="T94" fmla="*/ 53 w 163"/>
                  <a:gd name="T95" fmla="*/ 11 h 393"/>
                  <a:gd name="T96" fmla="*/ 64 w 163"/>
                  <a:gd name="T97" fmla="*/ 11 h 393"/>
                  <a:gd name="T98" fmla="*/ 93 w 163"/>
                  <a:gd name="T99" fmla="*/ 36 h 393"/>
                  <a:gd name="T100" fmla="*/ 95 w 163"/>
                  <a:gd name="T101" fmla="*/ 56 h 393"/>
                  <a:gd name="T102" fmla="*/ 98 w 163"/>
                  <a:gd name="T103" fmla="*/ 65 h 393"/>
                  <a:gd name="T104" fmla="*/ 98 w 163"/>
                  <a:gd name="T105" fmla="*/ 85 h 393"/>
                  <a:gd name="T106" fmla="*/ 107 w 163"/>
                  <a:gd name="T107" fmla="*/ 97 h 393"/>
                  <a:gd name="T108" fmla="*/ 115 w 163"/>
                  <a:gd name="T109" fmla="*/ 113 h 393"/>
                  <a:gd name="T110" fmla="*/ 97 w 163"/>
                  <a:gd name="T111" fmla="*/ 135 h 3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3" h="393">
                    <a:moveTo>
                      <a:pt x="115" y="113"/>
                    </a:moveTo>
                    <a:lnTo>
                      <a:pt x="98" y="113"/>
                    </a:lnTo>
                    <a:lnTo>
                      <a:pt x="98" y="119"/>
                    </a:lnTo>
                    <a:lnTo>
                      <a:pt x="93" y="130"/>
                    </a:lnTo>
                    <a:lnTo>
                      <a:pt x="88" y="141"/>
                    </a:lnTo>
                    <a:lnTo>
                      <a:pt x="88" y="152"/>
                    </a:lnTo>
                    <a:lnTo>
                      <a:pt x="93" y="170"/>
                    </a:lnTo>
                    <a:lnTo>
                      <a:pt x="92" y="177"/>
                    </a:lnTo>
                    <a:lnTo>
                      <a:pt x="95" y="187"/>
                    </a:lnTo>
                    <a:lnTo>
                      <a:pt x="93" y="191"/>
                    </a:lnTo>
                    <a:lnTo>
                      <a:pt x="93" y="198"/>
                    </a:lnTo>
                    <a:lnTo>
                      <a:pt x="93" y="203"/>
                    </a:lnTo>
                    <a:lnTo>
                      <a:pt x="97" y="210"/>
                    </a:lnTo>
                    <a:lnTo>
                      <a:pt x="110" y="210"/>
                    </a:lnTo>
                    <a:lnTo>
                      <a:pt x="122" y="220"/>
                    </a:lnTo>
                    <a:lnTo>
                      <a:pt x="129" y="230"/>
                    </a:lnTo>
                    <a:lnTo>
                      <a:pt x="141" y="244"/>
                    </a:lnTo>
                    <a:lnTo>
                      <a:pt x="144" y="249"/>
                    </a:lnTo>
                    <a:lnTo>
                      <a:pt x="156" y="262"/>
                    </a:lnTo>
                    <a:lnTo>
                      <a:pt x="161" y="269"/>
                    </a:lnTo>
                    <a:lnTo>
                      <a:pt x="161" y="279"/>
                    </a:lnTo>
                    <a:lnTo>
                      <a:pt x="163" y="281"/>
                    </a:lnTo>
                    <a:lnTo>
                      <a:pt x="158" y="295"/>
                    </a:lnTo>
                    <a:lnTo>
                      <a:pt x="160" y="306"/>
                    </a:lnTo>
                    <a:lnTo>
                      <a:pt x="160" y="308"/>
                    </a:lnTo>
                    <a:lnTo>
                      <a:pt x="160" y="312"/>
                    </a:lnTo>
                    <a:lnTo>
                      <a:pt x="158" y="334"/>
                    </a:lnTo>
                    <a:lnTo>
                      <a:pt x="158" y="337"/>
                    </a:lnTo>
                    <a:lnTo>
                      <a:pt x="153" y="342"/>
                    </a:lnTo>
                    <a:lnTo>
                      <a:pt x="151" y="341"/>
                    </a:lnTo>
                    <a:lnTo>
                      <a:pt x="148" y="342"/>
                    </a:lnTo>
                    <a:lnTo>
                      <a:pt x="146" y="342"/>
                    </a:lnTo>
                    <a:lnTo>
                      <a:pt x="144" y="346"/>
                    </a:lnTo>
                    <a:lnTo>
                      <a:pt x="143" y="344"/>
                    </a:lnTo>
                    <a:lnTo>
                      <a:pt x="143" y="342"/>
                    </a:lnTo>
                    <a:lnTo>
                      <a:pt x="139" y="342"/>
                    </a:lnTo>
                    <a:lnTo>
                      <a:pt x="138" y="342"/>
                    </a:lnTo>
                    <a:lnTo>
                      <a:pt x="132" y="347"/>
                    </a:lnTo>
                    <a:lnTo>
                      <a:pt x="132" y="351"/>
                    </a:lnTo>
                    <a:lnTo>
                      <a:pt x="131" y="352"/>
                    </a:lnTo>
                    <a:lnTo>
                      <a:pt x="132" y="354"/>
                    </a:lnTo>
                    <a:lnTo>
                      <a:pt x="131" y="356"/>
                    </a:lnTo>
                    <a:lnTo>
                      <a:pt x="131" y="361"/>
                    </a:lnTo>
                    <a:lnTo>
                      <a:pt x="124" y="364"/>
                    </a:lnTo>
                    <a:lnTo>
                      <a:pt x="126" y="368"/>
                    </a:lnTo>
                    <a:lnTo>
                      <a:pt x="127" y="369"/>
                    </a:lnTo>
                    <a:lnTo>
                      <a:pt x="129" y="369"/>
                    </a:lnTo>
                    <a:lnTo>
                      <a:pt x="132" y="373"/>
                    </a:lnTo>
                    <a:lnTo>
                      <a:pt x="132" y="376"/>
                    </a:lnTo>
                    <a:lnTo>
                      <a:pt x="132" y="378"/>
                    </a:lnTo>
                    <a:lnTo>
                      <a:pt x="131" y="381"/>
                    </a:lnTo>
                    <a:lnTo>
                      <a:pt x="132" y="381"/>
                    </a:lnTo>
                    <a:lnTo>
                      <a:pt x="131" y="385"/>
                    </a:lnTo>
                    <a:lnTo>
                      <a:pt x="132" y="385"/>
                    </a:lnTo>
                    <a:lnTo>
                      <a:pt x="132" y="386"/>
                    </a:lnTo>
                    <a:lnTo>
                      <a:pt x="132" y="388"/>
                    </a:lnTo>
                    <a:lnTo>
                      <a:pt x="132" y="390"/>
                    </a:lnTo>
                    <a:lnTo>
                      <a:pt x="132" y="392"/>
                    </a:lnTo>
                    <a:lnTo>
                      <a:pt x="132" y="393"/>
                    </a:lnTo>
                    <a:lnTo>
                      <a:pt x="122" y="393"/>
                    </a:lnTo>
                    <a:lnTo>
                      <a:pt x="121" y="392"/>
                    </a:lnTo>
                    <a:lnTo>
                      <a:pt x="122" y="392"/>
                    </a:lnTo>
                    <a:lnTo>
                      <a:pt x="121" y="390"/>
                    </a:lnTo>
                    <a:lnTo>
                      <a:pt x="121" y="386"/>
                    </a:lnTo>
                    <a:lnTo>
                      <a:pt x="126" y="383"/>
                    </a:lnTo>
                    <a:lnTo>
                      <a:pt x="124" y="381"/>
                    </a:lnTo>
                    <a:lnTo>
                      <a:pt x="126" y="378"/>
                    </a:lnTo>
                    <a:lnTo>
                      <a:pt x="122" y="378"/>
                    </a:lnTo>
                    <a:lnTo>
                      <a:pt x="119" y="378"/>
                    </a:lnTo>
                    <a:lnTo>
                      <a:pt x="117" y="376"/>
                    </a:lnTo>
                    <a:lnTo>
                      <a:pt x="117" y="375"/>
                    </a:lnTo>
                    <a:lnTo>
                      <a:pt x="114" y="375"/>
                    </a:lnTo>
                    <a:lnTo>
                      <a:pt x="112" y="371"/>
                    </a:lnTo>
                    <a:lnTo>
                      <a:pt x="110" y="371"/>
                    </a:lnTo>
                    <a:lnTo>
                      <a:pt x="109" y="368"/>
                    </a:lnTo>
                    <a:lnTo>
                      <a:pt x="107" y="366"/>
                    </a:lnTo>
                    <a:lnTo>
                      <a:pt x="107" y="364"/>
                    </a:lnTo>
                    <a:lnTo>
                      <a:pt x="105" y="363"/>
                    </a:lnTo>
                    <a:lnTo>
                      <a:pt x="102" y="361"/>
                    </a:lnTo>
                    <a:lnTo>
                      <a:pt x="100" y="359"/>
                    </a:lnTo>
                    <a:lnTo>
                      <a:pt x="97" y="358"/>
                    </a:lnTo>
                    <a:lnTo>
                      <a:pt x="95" y="352"/>
                    </a:lnTo>
                    <a:lnTo>
                      <a:pt x="93" y="351"/>
                    </a:lnTo>
                    <a:lnTo>
                      <a:pt x="92" y="351"/>
                    </a:lnTo>
                    <a:lnTo>
                      <a:pt x="88" y="349"/>
                    </a:lnTo>
                    <a:lnTo>
                      <a:pt x="87" y="342"/>
                    </a:lnTo>
                    <a:lnTo>
                      <a:pt x="88" y="339"/>
                    </a:lnTo>
                    <a:lnTo>
                      <a:pt x="87" y="337"/>
                    </a:lnTo>
                    <a:lnTo>
                      <a:pt x="85" y="335"/>
                    </a:lnTo>
                    <a:lnTo>
                      <a:pt x="81" y="332"/>
                    </a:lnTo>
                    <a:lnTo>
                      <a:pt x="80" y="332"/>
                    </a:lnTo>
                    <a:lnTo>
                      <a:pt x="80" y="330"/>
                    </a:lnTo>
                    <a:lnTo>
                      <a:pt x="80" y="329"/>
                    </a:lnTo>
                    <a:lnTo>
                      <a:pt x="80" y="325"/>
                    </a:lnTo>
                    <a:lnTo>
                      <a:pt x="83" y="324"/>
                    </a:lnTo>
                    <a:lnTo>
                      <a:pt x="85" y="324"/>
                    </a:lnTo>
                    <a:lnTo>
                      <a:pt x="87" y="320"/>
                    </a:lnTo>
                    <a:lnTo>
                      <a:pt x="88" y="318"/>
                    </a:lnTo>
                    <a:lnTo>
                      <a:pt x="88" y="317"/>
                    </a:lnTo>
                    <a:lnTo>
                      <a:pt x="90" y="315"/>
                    </a:lnTo>
                    <a:lnTo>
                      <a:pt x="88" y="310"/>
                    </a:lnTo>
                    <a:lnTo>
                      <a:pt x="90" y="310"/>
                    </a:lnTo>
                    <a:lnTo>
                      <a:pt x="90" y="308"/>
                    </a:lnTo>
                    <a:lnTo>
                      <a:pt x="93" y="306"/>
                    </a:lnTo>
                    <a:lnTo>
                      <a:pt x="93" y="303"/>
                    </a:lnTo>
                    <a:lnTo>
                      <a:pt x="95" y="301"/>
                    </a:lnTo>
                    <a:lnTo>
                      <a:pt x="97" y="300"/>
                    </a:lnTo>
                    <a:lnTo>
                      <a:pt x="95" y="293"/>
                    </a:lnTo>
                    <a:lnTo>
                      <a:pt x="97" y="289"/>
                    </a:lnTo>
                    <a:lnTo>
                      <a:pt x="95" y="289"/>
                    </a:lnTo>
                    <a:lnTo>
                      <a:pt x="98" y="286"/>
                    </a:lnTo>
                    <a:lnTo>
                      <a:pt x="95" y="281"/>
                    </a:lnTo>
                    <a:lnTo>
                      <a:pt x="95" y="276"/>
                    </a:lnTo>
                    <a:lnTo>
                      <a:pt x="93" y="269"/>
                    </a:lnTo>
                    <a:lnTo>
                      <a:pt x="93" y="267"/>
                    </a:lnTo>
                    <a:lnTo>
                      <a:pt x="93" y="264"/>
                    </a:lnTo>
                    <a:lnTo>
                      <a:pt x="90" y="261"/>
                    </a:lnTo>
                    <a:lnTo>
                      <a:pt x="87" y="255"/>
                    </a:lnTo>
                    <a:lnTo>
                      <a:pt x="85" y="255"/>
                    </a:lnTo>
                    <a:lnTo>
                      <a:pt x="81" y="255"/>
                    </a:lnTo>
                    <a:lnTo>
                      <a:pt x="80" y="257"/>
                    </a:lnTo>
                    <a:lnTo>
                      <a:pt x="71" y="257"/>
                    </a:lnTo>
                    <a:lnTo>
                      <a:pt x="71" y="259"/>
                    </a:lnTo>
                    <a:lnTo>
                      <a:pt x="63" y="259"/>
                    </a:lnTo>
                    <a:lnTo>
                      <a:pt x="61" y="261"/>
                    </a:lnTo>
                    <a:lnTo>
                      <a:pt x="59" y="261"/>
                    </a:lnTo>
                    <a:lnTo>
                      <a:pt x="58" y="262"/>
                    </a:lnTo>
                    <a:lnTo>
                      <a:pt x="53" y="261"/>
                    </a:lnTo>
                    <a:lnTo>
                      <a:pt x="51" y="262"/>
                    </a:lnTo>
                    <a:lnTo>
                      <a:pt x="53" y="264"/>
                    </a:lnTo>
                    <a:lnTo>
                      <a:pt x="51" y="266"/>
                    </a:lnTo>
                    <a:lnTo>
                      <a:pt x="49" y="264"/>
                    </a:lnTo>
                    <a:lnTo>
                      <a:pt x="47" y="261"/>
                    </a:lnTo>
                    <a:lnTo>
                      <a:pt x="46" y="259"/>
                    </a:lnTo>
                    <a:lnTo>
                      <a:pt x="44" y="259"/>
                    </a:lnTo>
                    <a:lnTo>
                      <a:pt x="42" y="257"/>
                    </a:lnTo>
                    <a:lnTo>
                      <a:pt x="41" y="255"/>
                    </a:lnTo>
                    <a:lnTo>
                      <a:pt x="36" y="245"/>
                    </a:lnTo>
                    <a:lnTo>
                      <a:pt x="34" y="245"/>
                    </a:lnTo>
                    <a:lnTo>
                      <a:pt x="30" y="242"/>
                    </a:lnTo>
                    <a:lnTo>
                      <a:pt x="32" y="240"/>
                    </a:lnTo>
                    <a:lnTo>
                      <a:pt x="30" y="237"/>
                    </a:lnTo>
                    <a:lnTo>
                      <a:pt x="29" y="235"/>
                    </a:lnTo>
                    <a:lnTo>
                      <a:pt x="27" y="235"/>
                    </a:lnTo>
                    <a:lnTo>
                      <a:pt x="25" y="233"/>
                    </a:lnTo>
                    <a:lnTo>
                      <a:pt x="25" y="232"/>
                    </a:lnTo>
                    <a:lnTo>
                      <a:pt x="24" y="232"/>
                    </a:lnTo>
                    <a:lnTo>
                      <a:pt x="22" y="233"/>
                    </a:lnTo>
                    <a:lnTo>
                      <a:pt x="19" y="235"/>
                    </a:lnTo>
                    <a:lnTo>
                      <a:pt x="19" y="237"/>
                    </a:lnTo>
                    <a:lnTo>
                      <a:pt x="17" y="238"/>
                    </a:lnTo>
                    <a:lnTo>
                      <a:pt x="15" y="235"/>
                    </a:lnTo>
                    <a:lnTo>
                      <a:pt x="15" y="233"/>
                    </a:lnTo>
                    <a:lnTo>
                      <a:pt x="13" y="232"/>
                    </a:lnTo>
                    <a:lnTo>
                      <a:pt x="13" y="230"/>
                    </a:lnTo>
                    <a:lnTo>
                      <a:pt x="10" y="227"/>
                    </a:lnTo>
                    <a:lnTo>
                      <a:pt x="8" y="225"/>
                    </a:lnTo>
                    <a:lnTo>
                      <a:pt x="7" y="225"/>
                    </a:lnTo>
                    <a:lnTo>
                      <a:pt x="5" y="223"/>
                    </a:lnTo>
                    <a:lnTo>
                      <a:pt x="5" y="221"/>
                    </a:lnTo>
                    <a:lnTo>
                      <a:pt x="8" y="220"/>
                    </a:lnTo>
                    <a:lnTo>
                      <a:pt x="5" y="218"/>
                    </a:lnTo>
                    <a:lnTo>
                      <a:pt x="7" y="218"/>
                    </a:lnTo>
                    <a:lnTo>
                      <a:pt x="5" y="216"/>
                    </a:lnTo>
                    <a:lnTo>
                      <a:pt x="2" y="216"/>
                    </a:lnTo>
                    <a:lnTo>
                      <a:pt x="0" y="215"/>
                    </a:lnTo>
                    <a:lnTo>
                      <a:pt x="0" y="213"/>
                    </a:lnTo>
                    <a:lnTo>
                      <a:pt x="3" y="215"/>
                    </a:lnTo>
                    <a:lnTo>
                      <a:pt x="5" y="213"/>
                    </a:lnTo>
                    <a:lnTo>
                      <a:pt x="8" y="210"/>
                    </a:lnTo>
                    <a:lnTo>
                      <a:pt x="8" y="208"/>
                    </a:lnTo>
                    <a:lnTo>
                      <a:pt x="10" y="208"/>
                    </a:lnTo>
                    <a:lnTo>
                      <a:pt x="12" y="204"/>
                    </a:lnTo>
                    <a:lnTo>
                      <a:pt x="12" y="203"/>
                    </a:lnTo>
                    <a:lnTo>
                      <a:pt x="13" y="198"/>
                    </a:lnTo>
                    <a:lnTo>
                      <a:pt x="17" y="196"/>
                    </a:lnTo>
                    <a:lnTo>
                      <a:pt x="15" y="193"/>
                    </a:lnTo>
                    <a:lnTo>
                      <a:pt x="15" y="191"/>
                    </a:lnTo>
                    <a:lnTo>
                      <a:pt x="17" y="179"/>
                    </a:lnTo>
                    <a:lnTo>
                      <a:pt x="13" y="177"/>
                    </a:lnTo>
                    <a:lnTo>
                      <a:pt x="13" y="172"/>
                    </a:lnTo>
                    <a:lnTo>
                      <a:pt x="15" y="170"/>
                    </a:lnTo>
                    <a:lnTo>
                      <a:pt x="19" y="165"/>
                    </a:lnTo>
                    <a:lnTo>
                      <a:pt x="20" y="164"/>
                    </a:lnTo>
                    <a:lnTo>
                      <a:pt x="22" y="165"/>
                    </a:lnTo>
                    <a:lnTo>
                      <a:pt x="24" y="164"/>
                    </a:lnTo>
                    <a:lnTo>
                      <a:pt x="25" y="165"/>
                    </a:lnTo>
                    <a:lnTo>
                      <a:pt x="30" y="160"/>
                    </a:lnTo>
                    <a:lnTo>
                      <a:pt x="32" y="160"/>
                    </a:lnTo>
                    <a:lnTo>
                      <a:pt x="34" y="162"/>
                    </a:lnTo>
                    <a:lnTo>
                      <a:pt x="36" y="162"/>
                    </a:lnTo>
                    <a:lnTo>
                      <a:pt x="37" y="159"/>
                    </a:lnTo>
                    <a:lnTo>
                      <a:pt x="41" y="157"/>
                    </a:lnTo>
                    <a:lnTo>
                      <a:pt x="41" y="155"/>
                    </a:lnTo>
                    <a:lnTo>
                      <a:pt x="44" y="152"/>
                    </a:lnTo>
                    <a:lnTo>
                      <a:pt x="42" y="150"/>
                    </a:lnTo>
                    <a:lnTo>
                      <a:pt x="42" y="152"/>
                    </a:lnTo>
                    <a:lnTo>
                      <a:pt x="41" y="150"/>
                    </a:lnTo>
                    <a:lnTo>
                      <a:pt x="36" y="152"/>
                    </a:lnTo>
                    <a:lnTo>
                      <a:pt x="34" y="150"/>
                    </a:lnTo>
                    <a:lnTo>
                      <a:pt x="34" y="148"/>
                    </a:lnTo>
                    <a:lnTo>
                      <a:pt x="32" y="147"/>
                    </a:lnTo>
                    <a:lnTo>
                      <a:pt x="32" y="141"/>
                    </a:lnTo>
                    <a:lnTo>
                      <a:pt x="30" y="141"/>
                    </a:lnTo>
                    <a:lnTo>
                      <a:pt x="29" y="140"/>
                    </a:lnTo>
                    <a:lnTo>
                      <a:pt x="30" y="136"/>
                    </a:lnTo>
                    <a:lnTo>
                      <a:pt x="32" y="133"/>
                    </a:lnTo>
                    <a:lnTo>
                      <a:pt x="32" y="130"/>
                    </a:lnTo>
                    <a:lnTo>
                      <a:pt x="32" y="126"/>
                    </a:lnTo>
                    <a:lnTo>
                      <a:pt x="32" y="123"/>
                    </a:lnTo>
                    <a:lnTo>
                      <a:pt x="32" y="119"/>
                    </a:lnTo>
                    <a:lnTo>
                      <a:pt x="32" y="113"/>
                    </a:lnTo>
                    <a:lnTo>
                      <a:pt x="30" y="113"/>
                    </a:lnTo>
                    <a:lnTo>
                      <a:pt x="27" y="113"/>
                    </a:lnTo>
                    <a:lnTo>
                      <a:pt x="27" y="111"/>
                    </a:lnTo>
                    <a:lnTo>
                      <a:pt x="29" y="109"/>
                    </a:lnTo>
                    <a:lnTo>
                      <a:pt x="29" y="106"/>
                    </a:lnTo>
                    <a:lnTo>
                      <a:pt x="27" y="104"/>
                    </a:lnTo>
                    <a:lnTo>
                      <a:pt x="29" y="104"/>
                    </a:lnTo>
                    <a:lnTo>
                      <a:pt x="30" y="106"/>
                    </a:lnTo>
                    <a:lnTo>
                      <a:pt x="30" y="102"/>
                    </a:lnTo>
                    <a:lnTo>
                      <a:pt x="32" y="102"/>
                    </a:lnTo>
                    <a:lnTo>
                      <a:pt x="32" y="101"/>
                    </a:lnTo>
                    <a:lnTo>
                      <a:pt x="34" y="96"/>
                    </a:lnTo>
                    <a:lnTo>
                      <a:pt x="36" y="96"/>
                    </a:lnTo>
                    <a:lnTo>
                      <a:pt x="37" y="90"/>
                    </a:lnTo>
                    <a:lnTo>
                      <a:pt x="32" y="87"/>
                    </a:lnTo>
                    <a:lnTo>
                      <a:pt x="30" y="79"/>
                    </a:lnTo>
                    <a:lnTo>
                      <a:pt x="29" y="79"/>
                    </a:lnTo>
                    <a:lnTo>
                      <a:pt x="29" y="77"/>
                    </a:lnTo>
                    <a:lnTo>
                      <a:pt x="30" y="77"/>
                    </a:lnTo>
                    <a:lnTo>
                      <a:pt x="32" y="77"/>
                    </a:lnTo>
                    <a:lnTo>
                      <a:pt x="32" y="75"/>
                    </a:lnTo>
                    <a:lnTo>
                      <a:pt x="34" y="75"/>
                    </a:lnTo>
                    <a:lnTo>
                      <a:pt x="37" y="73"/>
                    </a:lnTo>
                    <a:lnTo>
                      <a:pt x="39" y="73"/>
                    </a:lnTo>
                    <a:lnTo>
                      <a:pt x="42" y="72"/>
                    </a:lnTo>
                    <a:lnTo>
                      <a:pt x="42" y="70"/>
                    </a:lnTo>
                    <a:lnTo>
                      <a:pt x="44" y="70"/>
                    </a:lnTo>
                    <a:lnTo>
                      <a:pt x="46" y="65"/>
                    </a:lnTo>
                    <a:lnTo>
                      <a:pt x="47" y="65"/>
                    </a:lnTo>
                    <a:lnTo>
                      <a:pt x="51" y="62"/>
                    </a:lnTo>
                    <a:lnTo>
                      <a:pt x="49" y="60"/>
                    </a:lnTo>
                    <a:lnTo>
                      <a:pt x="47" y="58"/>
                    </a:lnTo>
                    <a:lnTo>
                      <a:pt x="47" y="56"/>
                    </a:lnTo>
                    <a:lnTo>
                      <a:pt x="46" y="55"/>
                    </a:lnTo>
                    <a:lnTo>
                      <a:pt x="44" y="51"/>
                    </a:lnTo>
                    <a:lnTo>
                      <a:pt x="42" y="48"/>
                    </a:lnTo>
                    <a:lnTo>
                      <a:pt x="44" y="45"/>
                    </a:lnTo>
                    <a:lnTo>
                      <a:pt x="39" y="41"/>
                    </a:lnTo>
                    <a:lnTo>
                      <a:pt x="37" y="39"/>
                    </a:lnTo>
                    <a:lnTo>
                      <a:pt x="32" y="36"/>
                    </a:lnTo>
                    <a:lnTo>
                      <a:pt x="34" y="29"/>
                    </a:lnTo>
                    <a:lnTo>
                      <a:pt x="36" y="28"/>
                    </a:lnTo>
                    <a:lnTo>
                      <a:pt x="34" y="24"/>
                    </a:lnTo>
                    <a:lnTo>
                      <a:pt x="30" y="22"/>
                    </a:lnTo>
                    <a:lnTo>
                      <a:pt x="30" y="21"/>
                    </a:lnTo>
                    <a:lnTo>
                      <a:pt x="27" y="19"/>
                    </a:lnTo>
                    <a:lnTo>
                      <a:pt x="27" y="16"/>
                    </a:lnTo>
                    <a:lnTo>
                      <a:pt x="25" y="12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2" y="16"/>
                    </a:lnTo>
                    <a:lnTo>
                      <a:pt x="19" y="14"/>
                    </a:lnTo>
                    <a:lnTo>
                      <a:pt x="17" y="14"/>
                    </a:lnTo>
                    <a:lnTo>
                      <a:pt x="17" y="7"/>
                    </a:lnTo>
                    <a:lnTo>
                      <a:pt x="15" y="5"/>
                    </a:lnTo>
                    <a:lnTo>
                      <a:pt x="13" y="5"/>
                    </a:lnTo>
                    <a:lnTo>
                      <a:pt x="13" y="4"/>
                    </a:lnTo>
                    <a:lnTo>
                      <a:pt x="13" y="2"/>
                    </a:lnTo>
                    <a:lnTo>
                      <a:pt x="15" y="0"/>
                    </a:lnTo>
                    <a:lnTo>
                      <a:pt x="19" y="2"/>
                    </a:lnTo>
                    <a:lnTo>
                      <a:pt x="24" y="7"/>
                    </a:lnTo>
                    <a:lnTo>
                      <a:pt x="27" y="7"/>
                    </a:lnTo>
                    <a:lnTo>
                      <a:pt x="29" y="7"/>
                    </a:lnTo>
                    <a:lnTo>
                      <a:pt x="30" y="7"/>
                    </a:lnTo>
                    <a:lnTo>
                      <a:pt x="32" y="7"/>
                    </a:lnTo>
                    <a:lnTo>
                      <a:pt x="34" y="9"/>
                    </a:lnTo>
                    <a:lnTo>
                      <a:pt x="36" y="9"/>
                    </a:lnTo>
                    <a:lnTo>
                      <a:pt x="37" y="11"/>
                    </a:lnTo>
                    <a:lnTo>
                      <a:pt x="37" y="12"/>
                    </a:lnTo>
                    <a:lnTo>
                      <a:pt x="39" y="12"/>
                    </a:lnTo>
                    <a:lnTo>
                      <a:pt x="42" y="14"/>
                    </a:lnTo>
                    <a:lnTo>
                      <a:pt x="44" y="12"/>
                    </a:lnTo>
                    <a:lnTo>
                      <a:pt x="46" y="11"/>
                    </a:lnTo>
                    <a:lnTo>
                      <a:pt x="47" y="12"/>
                    </a:lnTo>
                    <a:lnTo>
                      <a:pt x="51" y="12"/>
                    </a:lnTo>
                    <a:lnTo>
                      <a:pt x="53" y="11"/>
                    </a:lnTo>
                    <a:lnTo>
                      <a:pt x="56" y="11"/>
                    </a:lnTo>
                    <a:lnTo>
                      <a:pt x="58" y="14"/>
                    </a:lnTo>
                    <a:lnTo>
                      <a:pt x="61" y="17"/>
                    </a:lnTo>
                    <a:lnTo>
                      <a:pt x="63" y="17"/>
                    </a:lnTo>
                    <a:lnTo>
                      <a:pt x="64" y="12"/>
                    </a:lnTo>
                    <a:lnTo>
                      <a:pt x="64" y="11"/>
                    </a:lnTo>
                    <a:lnTo>
                      <a:pt x="64" y="9"/>
                    </a:lnTo>
                    <a:lnTo>
                      <a:pt x="68" y="7"/>
                    </a:lnTo>
                    <a:lnTo>
                      <a:pt x="83" y="21"/>
                    </a:lnTo>
                    <a:lnTo>
                      <a:pt x="90" y="29"/>
                    </a:lnTo>
                    <a:lnTo>
                      <a:pt x="92" y="33"/>
                    </a:lnTo>
                    <a:lnTo>
                      <a:pt x="93" y="36"/>
                    </a:lnTo>
                    <a:lnTo>
                      <a:pt x="93" y="38"/>
                    </a:lnTo>
                    <a:lnTo>
                      <a:pt x="95" y="43"/>
                    </a:lnTo>
                    <a:lnTo>
                      <a:pt x="95" y="45"/>
                    </a:lnTo>
                    <a:lnTo>
                      <a:pt x="97" y="48"/>
                    </a:lnTo>
                    <a:lnTo>
                      <a:pt x="95" y="55"/>
                    </a:lnTo>
                    <a:lnTo>
                      <a:pt x="95" y="56"/>
                    </a:lnTo>
                    <a:lnTo>
                      <a:pt x="97" y="55"/>
                    </a:lnTo>
                    <a:lnTo>
                      <a:pt x="97" y="56"/>
                    </a:lnTo>
                    <a:lnTo>
                      <a:pt x="95" y="60"/>
                    </a:lnTo>
                    <a:lnTo>
                      <a:pt x="97" y="62"/>
                    </a:lnTo>
                    <a:lnTo>
                      <a:pt x="98" y="63"/>
                    </a:lnTo>
                    <a:lnTo>
                      <a:pt x="98" y="65"/>
                    </a:lnTo>
                    <a:lnTo>
                      <a:pt x="100" y="67"/>
                    </a:lnTo>
                    <a:lnTo>
                      <a:pt x="100" y="68"/>
                    </a:lnTo>
                    <a:lnTo>
                      <a:pt x="102" y="70"/>
                    </a:lnTo>
                    <a:lnTo>
                      <a:pt x="100" y="80"/>
                    </a:lnTo>
                    <a:lnTo>
                      <a:pt x="97" y="84"/>
                    </a:lnTo>
                    <a:lnTo>
                      <a:pt x="98" y="85"/>
                    </a:lnTo>
                    <a:lnTo>
                      <a:pt x="98" y="89"/>
                    </a:lnTo>
                    <a:lnTo>
                      <a:pt x="102" y="90"/>
                    </a:lnTo>
                    <a:lnTo>
                      <a:pt x="102" y="92"/>
                    </a:lnTo>
                    <a:lnTo>
                      <a:pt x="105" y="94"/>
                    </a:lnTo>
                    <a:lnTo>
                      <a:pt x="105" y="96"/>
                    </a:lnTo>
                    <a:lnTo>
                      <a:pt x="107" y="97"/>
                    </a:lnTo>
                    <a:lnTo>
                      <a:pt x="107" y="99"/>
                    </a:lnTo>
                    <a:lnTo>
                      <a:pt x="114" y="102"/>
                    </a:lnTo>
                    <a:lnTo>
                      <a:pt x="114" y="104"/>
                    </a:lnTo>
                    <a:lnTo>
                      <a:pt x="114" y="106"/>
                    </a:lnTo>
                    <a:lnTo>
                      <a:pt x="115" y="107"/>
                    </a:lnTo>
                    <a:lnTo>
                      <a:pt x="115" y="113"/>
                    </a:lnTo>
                    <a:close/>
                    <a:moveTo>
                      <a:pt x="105" y="136"/>
                    </a:moveTo>
                    <a:lnTo>
                      <a:pt x="104" y="138"/>
                    </a:lnTo>
                    <a:lnTo>
                      <a:pt x="102" y="138"/>
                    </a:lnTo>
                    <a:lnTo>
                      <a:pt x="104" y="135"/>
                    </a:lnTo>
                    <a:lnTo>
                      <a:pt x="105" y="136"/>
                    </a:lnTo>
                    <a:close/>
                    <a:moveTo>
                      <a:pt x="97" y="135"/>
                    </a:moveTo>
                    <a:lnTo>
                      <a:pt x="98" y="135"/>
                    </a:lnTo>
                    <a:lnTo>
                      <a:pt x="98" y="136"/>
                    </a:lnTo>
                    <a:lnTo>
                      <a:pt x="97" y="136"/>
                    </a:lnTo>
                    <a:lnTo>
                      <a:pt x="97" y="135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89" name="Freeform 40">
                <a:extLst>
                  <a:ext uri="{FF2B5EF4-FFF2-40B4-BE49-F238E27FC236}">
                    <a16:creationId xmlns:a16="http://schemas.microsoft.com/office/drawing/2014/main" id="{988A6611-CF81-4E3B-B64A-EA5481932C5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92411" y="1441389"/>
                <a:ext cx="1325524" cy="1193752"/>
              </a:xfrm>
              <a:custGeom>
                <a:avLst/>
                <a:gdLst>
                  <a:gd name="T0" fmla="*/ 815 w 835"/>
                  <a:gd name="T1" fmla="*/ 473 h 752"/>
                  <a:gd name="T2" fmla="*/ 687 w 835"/>
                  <a:gd name="T3" fmla="*/ 494 h 752"/>
                  <a:gd name="T4" fmla="*/ 607 w 835"/>
                  <a:gd name="T5" fmla="*/ 504 h 752"/>
                  <a:gd name="T6" fmla="*/ 519 w 835"/>
                  <a:gd name="T7" fmla="*/ 535 h 752"/>
                  <a:gd name="T8" fmla="*/ 475 w 835"/>
                  <a:gd name="T9" fmla="*/ 575 h 752"/>
                  <a:gd name="T10" fmla="*/ 456 w 835"/>
                  <a:gd name="T11" fmla="*/ 594 h 752"/>
                  <a:gd name="T12" fmla="*/ 427 w 835"/>
                  <a:gd name="T13" fmla="*/ 591 h 752"/>
                  <a:gd name="T14" fmla="*/ 415 w 835"/>
                  <a:gd name="T15" fmla="*/ 589 h 752"/>
                  <a:gd name="T16" fmla="*/ 403 w 835"/>
                  <a:gd name="T17" fmla="*/ 609 h 752"/>
                  <a:gd name="T18" fmla="*/ 395 w 835"/>
                  <a:gd name="T19" fmla="*/ 628 h 752"/>
                  <a:gd name="T20" fmla="*/ 390 w 835"/>
                  <a:gd name="T21" fmla="*/ 652 h 752"/>
                  <a:gd name="T22" fmla="*/ 352 w 835"/>
                  <a:gd name="T23" fmla="*/ 667 h 752"/>
                  <a:gd name="T24" fmla="*/ 352 w 835"/>
                  <a:gd name="T25" fmla="*/ 679 h 752"/>
                  <a:gd name="T26" fmla="*/ 342 w 835"/>
                  <a:gd name="T27" fmla="*/ 706 h 752"/>
                  <a:gd name="T28" fmla="*/ 335 w 835"/>
                  <a:gd name="T29" fmla="*/ 739 h 752"/>
                  <a:gd name="T30" fmla="*/ 306 w 835"/>
                  <a:gd name="T31" fmla="*/ 747 h 752"/>
                  <a:gd name="T32" fmla="*/ 305 w 835"/>
                  <a:gd name="T33" fmla="*/ 734 h 752"/>
                  <a:gd name="T34" fmla="*/ 300 w 835"/>
                  <a:gd name="T35" fmla="*/ 725 h 752"/>
                  <a:gd name="T36" fmla="*/ 283 w 835"/>
                  <a:gd name="T37" fmla="*/ 730 h 752"/>
                  <a:gd name="T38" fmla="*/ 267 w 835"/>
                  <a:gd name="T39" fmla="*/ 751 h 752"/>
                  <a:gd name="T40" fmla="*/ 242 w 835"/>
                  <a:gd name="T41" fmla="*/ 737 h 752"/>
                  <a:gd name="T42" fmla="*/ 226 w 835"/>
                  <a:gd name="T43" fmla="*/ 744 h 752"/>
                  <a:gd name="T44" fmla="*/ 218 w 835"/>
                  <a:gd name="T45" fmla="*/ 744 h 752"/>
                  <a:gd name="T46" fmla="*/ 198 w 835"/>
                  <a:gd name="T47" fmla="*/ 723 h 752"/>
                  <a:gd name="T48" fmla="*/ 184 w 835"/>
                  <a:gd name="T49" fmla="*/ 713 h 752"/>
                  <a:gd name="T50" fmla="*/ 194 w 835"/>
                  <a:gd name="T51" fmla="*/ 696 h 752"/>
                  <a:gd name="T52" fmla="*/ 186 w 835"/>
                  <a:gd name="T53" fmla="*/ 686 h 752"/>
                  <a:gd name="T54" fmla="*/ 175 w 835"/>
                  <a:gd name="T55" fmla="*/ 666 h 752"/>
                  <a:gd name="T56" fmla="*/ 165 w 835"/>
                  <a:gd name="T57" fmla="*/ 650 h 752"/>
                  <a:gd name="T58" fmla="*/ 148 w 835"/>
                  <a:gd name="T59" fmla="*/ 633 h 752"/>
                  <a:gd name="T60" fmla="*/ 147 w 835"/>
                  <a:gd name="T61" fmla="*/ 647 h 752"/>
                  <a:gd name="T62" fmla="*/ 123 w 835"/>
                  <a:gd name="T63" fmla="*/ 655 h 752"/>
                  <a:gd name="T64" fmla="*/ 101 w 835"/>
                  <a:gd name="T65" fmla="*/ 649 h 752"/>
                  <a:gd name="T66" fmla="*/ 87 w 835"/>
                  <a:gd name="T67" fmla="*/ 654 h 752"/>
                  <a:gd name="T68" fmla="*/ 73 w 835"/>
                  <a:gd name="T69" fmla="*/ 655 h 752"/>
                  <a:gd name="T70" fmla="*/ 56 w 835"/>
                  <a:gd name="T71" fmla="*/ 654 h 752"/>
                  <a:gd name="T72" fmla="*/ 38 w 835"/>
                  <a:gd name="T73" fmla="*/ 649 h 752"/>
                  <a:gd name="T74" fmla="*/ 45 w 835"/>
                  <a:gd name="T75" fmla="*/ 637 h 752"/>
                  <a:gd name="T76" fmla="*/ 43 w 835"/>
                  <a:gd name="T77" fmla="*/ 630 h 752"/>
                  <a:gd name="T78" fmla="*/ 43 w 835"/>
                  <a:gd name="T79" fmla="*/ 614 h 752"/>
                  <a:gd name="T80" fmla="*/ 39 w 835"/>
                  <a:gd name="T81" fmla="*/ 604 h 752"/>
                  <a:gd name="T82" fmla="*/ 28 w 835"/>
                  <a:gd name="T83" fmla="*/ 589 h 752"/>
                  <a:gd name="T84" fmla="*/ 9 w 835"/>
                  <a:gd name="T85" fmla="*/ 572 h 752"/>
                  <a:gd name="T86" fmla="*/ 7 w 835"/>
                  <a:gd name="T87" fmla="*/ 540 h 752"/>
                  <a:gd name="T88" fmla="*/ 5 w 835"/>
                  <a:gd name="T89" fmla="*/ 526 h 752"/>
                  <a:gd name="T90" fmla="*/ 11 w 835"/>
                  <a:gd name="T91" fmla="*/ 519 h 752"/>
                  <a:gd name="T92" fmla="*/ 22 w 835"/>
                  <a:gd name="T93" fmla="*/ 506 h 752"/>
                  <a:gd name="T94" fmla="*/ 28 w 835"/>
                  <a:gd name="T95" fmla="*/ 480 h 752"/>
                  <a:gd name="T96" fmla="*/ 45 w 835"/>
                  <a:gd name="T97" fmla="*/ 480 h 752"/>
                  <a:gd name="T98" fmla="*/ 70 w 835"/>
                  <a:gd name="T99" fmla="*/ 497 h 752"/>
                  <a:gd name="T100" fmla="*/ 87 w 835"/>
                  <a:gd name="T101" fmla="*/ 485 h 752"/>
                  <a:gd name="T102" fmla="*/ 130 w 835"/>
                  <a:gd name="T103" fmla="*/ 485 h 752"/>
                  <a:gd name="T104" fmla="*/ 233 w 835"/>
                  <a:gd name="T105" fmla="*/ 482 h 752"/>
                  <a:gd name="T106" fmla="*/ 488 w 835"/>
                  <a:gd name="T107" fmla="*/ 72 h 752"/>
                  <a:gd name="T108" fmla="*/ 701 w 835"/>
                  <a:gd name="T109" fmla="*/ 223 h 752"/>
                  <a:gd name="T110" fmla="*/ 723 w 835"/>
                  <a:gd name="T111" fmla="*/ 240 h 752"/>
                  <a:gd name="T112" fmla="*/ 740 w 835"/>
                  <a:gd name="T113" fmla="*/ 252 h 752"/>
                  <a:gd name="T114" fmla="*/ 764 w 835"/>
                  <a:gd name="T115" fmla="*/ 256 h 752"/>
                  <a:gd name="T116" fmla="*/ 786 w 835"/>
                  <a:gd name="T117" fmla="*/ 281 h 752"/>
                  <a:gd name="T118" fmla="*/ 793 w 835"/>
                  <a:gd name="T119" fmla="*/ 307 h 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35" h="752">
                    <a:moveTo>
                      <a:pt x="833" y="298"/>
                    </a:moveTo>
                    <a:lnTo>
                      <a:pt x="835" y="322"/>
                    </a:lnTo>
                    <a:lnTo>
                      <a:pt x="835" y="356"/>
                    </a:lnTo>
                    <a:lnTo>
                      <a:pt x="835" y="407"/>
                    </a:lnTo>
                    <a:lnTo>
                      <a:pt x="825" y="410"/>
                    </a:lnTo>
                    <a:lnTo>
                      <a:pt x="825" y="439"/>
                    </a:lnTo>
                    <a:lnTo>
                      <a:pt x="821" y="455"/>
                    </a:lnTo>
                    <a:lnTo>
                      <a:pt x="821" y="458"/>
                    </a:lnTo>
                    <a:lnTo>
                      <a:pt x="818" y="461"/>
                    </a:lnTo>
                    <a:lnTo>
                      <a:pt x="816" y="470"/>
                    </a:lnTo>
                    <a:lnTo>
                      <a:pt x="815" y="473"/>
                    </a:lnTo>
                    <a:lnTo>
                      <a:pt x="808" y="475"/>
                    </a:lnTo>
                    <a:lnTo>
                      <a:pt x="803" y="482"/>
                    </a:lnTo>
                    <a:lnTo>
                      <a:pt x="799" y="484"/>
                    </a:lnTo>
                    <a:lnTo>
                      <a:pt x="799" y="490"/>
                    </a:lnTo>
                    <a:lnTo>
                      <a:pt x="798" y="490"/>
                    </a:lnTo>
                    <a:lnTo>
                      <a:pt x="774" y="490"/>
                    </a:lnTo>
                    <a:lnTo>
                      <a:pt x="757" y="489"/>
                    </a:lnTo>
                    <a:lnTo>
                      <a:pt x="750" y="489"/>
                    </a:lnTo>
                    <a:lnTo>
                      <a:pt x="714" y="492"/>
                    </a:lnTo>
                    <a:lnTo>
                      <a:pt x="702" y="492"/>
                    </a:lnTo>
                    <a:lnTo>
                      <a:pt x="687" y="494"/>
                    </a:lnTo>
                    <a:lnTo>
                      <a:pt x="685" y="494"/>
                    </a:lnTo>
                    <a:lnTo>
                      <a:pt x="668" y="509"/>
                    </a:lnTo>
                    <a:lnTo>
                      <a:pt x="658" y="509"/>
                    </a:lnTo>
                    <a:lnTo>
                      <a:pt x="655" y="511"/>
                    </a:lnTo>
                    <a:lnTo>
                      <a:pt x="646" y="509"/>
                    </a:lnTo>
                    <a:lnTo>
                      <a:pt x="646" y="507"/>
                    </a:lnTo>
                    <a:lnTo>
                      <a:pt x="640" y="509"/>
                    </a:lnTo>
                    <a:lnTo>
                      <a:pt x="631" y="507"/>
                    </a:lnTo>
                    <a:lnTo>
                      <a:pt x="628" y="509"/>
                    </a:lnTo>
                    <a:lnTo>
                      <a:pt x="623" y="509"/>
                    </a:lnTo>
                    <a:lnTo>
                      <a:pt x="607" y="504"/>
                    </a:lnTo>
                    <a:lnTo>
                      <a:pt x="600" y="507"/>
                    </a:lnTo>
                    <a:lnTo>
                      <a:pt x="597" y="504"/>
                    </a:lnTo>
                    <a:lnTo>
                      <a:pt x="583" y="504"/>
                    </a:lnTo>
                    <a:lnTo>
                      <a:pt x="570" y="514"/>
                    </a:lnTo>
                    <a:lnTo>
                      <a:pt x="570" y="516"/>
                    </a:lnTo>
                    <a:lnTo>
                      <a:pt x="566" y="519"/>
                    </a:lnTo>
                    <a:lnTo>
                      <a:pt x="553" y="521"/>
                    </a:lnTo>
                    <a:lnTo>
                      <a:pt x="536" y="533"/>
                    </a:lnTo>
                    <a:lnTo>
                      <a:pt x="531" y="535"/>
                    </a:lnTo>
                    <a:lnTo>
                      <a:pt x="524" y="533"/>
                    </a:lnTo>
                    <a:lnTo>
                      <a:pt x="519" y="535"/>
                    </a:lnTo>
                    <a:lnTo>
                      <a:pt x="519" y="548"/>
                    </a:lnTo>
                    <a:lnTo>
                      <a:pt x="514" y="552"/>
                    </a:lnTo>
                    <a:lnTo>
                      <a:pt x="504" y="545"/>
                    </a:lnTo>
                    <a:lnTo>
                      <a:pt x="495" y="543"/>
                    </a:lnTo>
                    <a:lnTo>
                      <a:pt x="485" y="552"/>
                    </a:lnTo>
                    <a:lnTo>
                      <a:pt x="476" y="555"/>
                    </a:lnTo>
                    <a:lnTo>
                      <a:pt x="475" y="558"/>
                    </a:lnTo>
                    <a:lnTo>
                      <a:pt x="476" y="558"/>
                    </a:lnTo>
                    <a:lnTo>
                      <a:pt x="473" y="567"/>
                    </a:lnTo>
                    <a:lnTo>
                      <a:pt x="473" y="572"/>
                    </a:lnTo>
                    <a:lnTo>
                      <a:pt x="475" y="575"/>
                    </a:lnTo>
                    <a:lnTo>
                      <a:pt x="471" y="577"/>
                    </a:lnTo>
                    <a:lnTo>
                      <a:pt x="470" y="575"/>
                    </a:lnTo>
                    <a:lnTo>
                      <a:pt x="468" y="575"/>
                    </a:lnTo>
                    <a:lnTo>
                      <a:pt x="466" y="577"/>
                    </a:lnTo>
                    <a:lnTo>
                      <a:pt x="464" y="575"/>
                    </a:lnTo>
                    <a:lnTo>
                      <a:pt x="463" y="574"/>
                    </a:lnTo>
                    <a:lnTo>
                      <a:pt x="456" y="575"/>
                    </a:lnTo>
                    <a:lnTo>
                      <a:pt x="456" y="574"/>
                    </a:lnTo>
                    <a:lnTo>
                      <a:pt x="456" y="579"/>
                    </a:lnTo>
                    <a:lnTo>
                      <a:pt x="454" y="580"/>
                    </a:lnTo>
                    <a:lnTo>
                      <a:pt x="456" y="594"/>
                    </a:lnTo>
                    <a:lnTo>
                      <a:pt x="446" y="594"/>
                    </a:lnTo>
                    <a:lnTo>
                      <a:pt x="446" y="596"/>
                    </a:lnTo>
                    <a:lnTo>
                      <a:pt x="446" y="599"/>
                    </a:lnTo>
                    <a:lnTo>
                      <a:pt x="446" y="601"/>
                    </a:lnTo>
                    <a:lnTo>
                      <a:pt x="441" y="601"/>
                    </a:lnTo>
                    <a:lnTo>
                      <a:pt x="441" y="599"/>
                    </a:lnTo>
                    <a:lnTo>
                      <a:pt x="437" y="597"/>
                    </a:lnTo>
                    <a:lnTo>
                      <a:pt x="434" y="596"/>
                    </a:lnTo>
                    <a:lnTo>
                      <a:pt x="430" y="594"/>
                    </a:lnTo>
                    <a:lnTo>
                      <a:pt x="430" y="592"/>
                    </a:lnTo>
                    <a:lnTo>
                      <a:pt x="427" y="591"/>
                    </a:lnTo>
                    <a:lnTo>
                      <a:pt x="425" y="591"/>
                    </a:lnTo>
                    <a:lnTo>
                      <a:pt x="422" y="589"/>
                    </a:lnTo>
                    <a:lnTo>
                      <a:pt x="419" y="589"/>
                    </a:lnTo>
                    <a:lnTo>
                      <a:pt x="422" y="586"/>
                    </a:lnTo>
                    <a:lnTo>
                      <a:pt x="420" y="586"/>
                    </a:lnTo>
                    <a:lnTo>
                      <a:pt x="420" y="584"/>
                    </a:lnTo>
                    <a:lnTo>
                      <a:pt x="419" y="584"/>
                    </a:lnTo>
                    <a:lnTo>
                      <a:pt x="419" y="586"/>
                    </a:lnTo>
                    <a:lnTo>
                      <a:pt x="419" y="587"/>
                    </a:lnTo>
                    <a:lnTo>
                      <a:pt x="417" y="587"/>
                    </a:lnTo>
                    <a:lnTo>
                      <a:pt x="415" y="589"/>
                    </a:lnTo>
                    <a:lnTo>
                      <a:pt x="413" y="589"/>
                    </a:lnTo>
                    <a:lnTo>
                      <a:pt x="412" y="589"/>
                    </a:lnTo>
                    <a:lnTo>
                      <a:pt x="412" y="592"/>
                    </a:lnTo>
                    <a:lnTo>
                      <a:pt x="410" y="594"/>
                    </a:lnTo>
                    <a:lnTo>
                      <a:pt x="405" y="597"/>
                    </a:lnTo>
                    <a:lnTo>
                      <a:pt x="407" y="599"/>
                    </a:lnTo>
                    <a:lnTo>
                      <a:pt x="403" y="599"/>
                    </a:lnTo>
                    <a:lnTo>
                      <a:pt x="400" y="601"/>
                    </a:lnTo>
                    <a:lnTo>
                      <a:pt x="400" y="603"/>
                    </a:lnTo>
                    <a:lnTo>
                      <a:pt x="403" y="608"/>
                    </a:lnTo>
                    <a:lnTo>
                      <a:pt x="403" y="609"/>
                    </a:lnTo>
                    <a:lnTo>
                      <a:pt x="407" y="611"/>
                    </a:lnTo>
                    <a:lnTo>
                      <a:pt x="407" y="616"/>
                    </a:lnTo>
                    <a:lnTo>
                      <a:pt x="407" y="618"/>
                    </a:lnTo>
                    <a:lnTo>
                      <a:pt x="405" y="623"/>
                    </a:lnTo>
                    <a:lnTo>
                      <a:pt x="403" y="623"/>
                    </a:lnTo>
                    <a:lnTo>
                      <a:pt x="402" y="623"/>
                    </a:lnTo>
                    <a:lnTo>
                      <a:pt x="400" y="621"/>
                    </a:lnTo>
                    <a:lnTo>
                      <a:pt x="396" y="623"/>
                    </a:lnTo>
                    <a:lnTo>
                      <a:pt x="393" y="623"/>
                    </a:lnTo>
                    <a:lnTo>
                      <a:pt x="393" y="626"/>
                    </a:lnTo>
                    <a:lnTo>
                      <a:pt x="395" y="628"/>
                    </a:lnTo>
                    <a:lnTo>
                      <a:pt x="396" y="628"/>
                    </a:lnTo>
                    <a:lnTo>
                      <a:pt x="396" y="632"/>
                    </a:lnTo>
                    <a:lnTo>
                      <a:pt x="398" y="633"/>
                    </a:lnTo>
                    <a:lnTo>
                      <a:pt x="396" y="635"/>
                    </a:lnTo>
                    <a:lnTo>
                      <a:pt x="395" y="638"/>
                    </a:lnTo>
                    <a:lnTo>
                      <a:pt x="396" y="643"/>
                    </a:lnTo>
                    <a:lnTo>
                      <a:pt x="395" y="643"/>
                    </a:lnTo>
                    <a:lnTo>
                      <a:pt x="393" y="643"/>
                    </a:lnTo>
                    <a:lnTo>
                      <a:pt x="393" y="645"/>
                    </a:lnTo>
                    <a:lnTo>
                      <a:pt x="388" y="649"/>
                    </a:lnTo>
                    <a:lnTo>
                      <a:pt x="390" y="652"/>
                    </a:lnTo>
                    <a:lnTo>
                      <a:pt x="386" y="652"/>
                    </a:lnTo>
                    <a:lnTo>
                      <a:pt x="386" y="654"/>
                    </a:lnTo>
                    <a:lnTo>
                      <a:pt x="385" y="657"/>
                    </a:lnTo>
                    <a:lnTo>
                      <a:pt x="381" y="657"/>
                    </a:lnTo>
                    <a:lnTo>
                      <a:pt x="379" y="659"/>
                    </a:lnTo>
                    <a:lnTo>
                      <a:pt x="374" y="659"/>
                    </a:lnTo>
                    <a:lnTo>
                      <a:pt x="373" y="659"/>
                    </a:lnTo>
                    <a:lnTo>
                      <a:pt x="362" y="660"/>
                    </a:lnTo>
                    <a:lnTo>
                      <a:pt x="357" y="664"/>
                    </a:lnTo>
                    <a:lnTo>
                      <a:pt x="354" y="667"/>
                    </a:lnTo>
                    <a:lnTo>
                      <a:pt x="352" y="667"/>
                    </a:lnTo>
                    <a:lnTo>
                      <a:pt x="351" y="667"/>
                    </a:lnTo>
                    <a:lnTo>
                      <a:pt x="349" y="669"/>
                    </a:lnTo>
                    <a:lnTo>
                      <a:pt x="347" y="667"/>
                    </a:lnTo>
                    <a:lnTo>
                      <a:pt x="345" y="669"/>
                    </a:lnTo>
                    <a:lnTo>
                      <a:pt x="349" y="671"/>
                    </a:lnTo>
                    <a:lnTo>
                      <a:pt x="349" y="669"/>
                    </a:lnTo>
                    <a:lnTo>
                      <a:pt x="351" y="669"/>
                    </a:lnTo>
                    <a:lnTo>
                      <a:pt x="352" y="672"/>
                    </a:lnTo>
                    <a:lnTo>
                      <a:pt x="354" y="671"/>
                    </a:lnTo>
                    <a:lnTo>
                      <a:pt x="352" y="676"/>
                    </a:lnTo>
                    <a:lnTo>
                      <a:pt x="352" y="679"/>
                    </a:lnTo>
                    <a:lnTo>
                      <a:pt x="354" y="679"/>
                    </a:lnTo>
                    <a:lnTo>
                      <a:pt x="356" y="681"/>
                    </a:lnTo>
                    <a:lnTo>
                      <a:pt x="356" y="683"/>
                    </a:lnTo>
                    <a:lnTo>
                      <a:pt x="356" y="686"/>
                    </a:lnTo>
                    <a:lnTo>
                      <a:pt x="357" y="688"/>
                    </a:lnTo>
                    <a:lnTo>
                      <a:pt x="354" y="691"/>
                    </a:lnTo>
                    <a:lnTo>
                      <a:pt x="354" y="698"/>
                    </a:lnTo>
                    <a:lnTo>
                      <a:pt x="351" y="700"/>
                    </a:lnTo>
                    <a:lnTo>
                      <a:pt x="351" y="703"/>
                    </a:lnTo>
                    <a:lnTo>
                      <a:pt x="347" y="705"/>
                    </a:lnTo>
                    <a:lnTo>
                      <a:pt x="342" y="706"/>
                    </a:lnTo>
                    <a:lnTo>
                      <a:pt x="342" y="711"/>
                    </a:lnTo>
                    <a:lnTo>
                      <a:pt x="344" y="715"/>
                    </a:lnTo>
                    <a:lnTo>
                      <a:pt x="345" y="718"/>
                    </a:lnTo>
                    <a:lnTo>
                      <a:pt x="344" y="722"/>
                    </a:lnTo>
                    <a:lnTo>
                      <a:pt x="342" y="722"/>
                    </a:lnTo>
                    <a:lnTo>
                      <a:pt x="342" y="728"/>
                    </a:lnTo>
                    <a:lnTo>
                      <a:pt x="344" y="730"/>
                    </a:lnTo>
                    <a:lnTo>
                      <a:pt x="344" y="732"/>
                    </a:lnTo>
                    <a:lnTo>
                      <a:pt x="340" y="739"/>
                    </a:lnTo>
                    <a:lnTo>
                      <a:pt x="339" y="737"/>
                    </a:lnTo>
                    <a:lnTo>
                      <a:pt x="335" y="739"/>
                    </a:lnTo>
                    <a:lnTo>
                      <a:pt x="332" y="737"/>
                    </a:lnTo>
                    <a:lnTo>
                      <a:pt x="328" y="739"/>
                    </a:lnTo>
                    <a:lnTo>
                      <a:pt x="323" y="742"/>
                    </a:lnTo>
                    <a:lnTo>
                      <a:pt x="322" y="742"/>
                    </a:lnTo>
                    <a:lnTo>
                      <a:pt x="320" y="747"/>
                    </a:lnTo>
                    <a:lnTo>
                      <a:pt x="317" y="747"/>
                    </a:lnTo>
                    <a:lnTo>
                      <a:pt x="317" y="749"/>
                    </a:lnTo>
                    <a:lnTo>
                      <a:pt x="315" y="751"/>
                    </a:lnTo>
                    <a:lnTo>
                      <a:pt x="310" y="751"/>
                    </a:lnTo>
                    <a:lnTo>
                      <a:pt x="306" y="749"/>
                    </a:lnTo>
                    <a:lnTo>
                      <a:pt x="306" y="747"/>
                    </a:lnTo>
                    <a:lnTo>
                      <a:pt x="305" y="747"/>
                    </a:lnTo>
                    <a:lnTo>
                      <a:pt x="305" y="745"/>
                    </a:lnTo>
                    <a:lnTo>
                      <a:pt x="306" y="745"/>
                    </a:lnTo>
                    <a:lnTo>
                      <a:pt x="306" y="744"/>
                    </a:lnTo>
                    <a:lnTo>
                      <a:pt x="308" y="742"/>
                    </a:lnTo>
                    <a:lnTo>
                      <a:pt x="306" y="740"/>
                    </a:lnTo>
                    <a:lnTo>
                      <a:pt x="308" y="740"/>
                    </a:lnTo>
                    <a:lnTo>
                      <a:pt x="306" y="737"/>
                    </a:lnTo>
                    <a:lnTo>
                      <a:pt x="308" y="737"/>
                    </a:lnTo>
                    <a:lnTo>
                      <a:pt x="306" y="735"/>
                    </a:lnTo>
                    <a:lnTo>
                      <a:pt x="305" y="734"/>
                    </a:lnTo>
                    <a:lnTo>
                      <a:pt x="305" y="735"/>
                    </a:lnTo>
                    <a:lnTo>
                      <a:pt x="303" y="734"/>
                    </a:lnTo>
                    <a:lnTo>
                      <a:pt x="306" y="732"/>
                    </a:lnTo>
                    <a:lnTo>
                      <a:pt x="306" y="730"/>
                    </a:lnTo>
                    <a:lnTo>
                      <a:pt x="305" y="730"/>
                    </a:lnTo>
                    <a:lnTo>
                      <a:pt x="306" y="728"/>
                    </a:lnTo>
                    <a:lnTo>
                      <a:pt x="305" y="727"/>
                    </a:lnTo>
                    <a:lnTo>
                      <a:pt x="305" y="725"/>
                    </a:lnTo>
                    <a:lnTo>
                      <a:pt x="305" y="723"/>
                    </a:lnTo>
                    <a:lnTo>
                      <a:pt x="303" y="723"/>
                    </a:lnTo>
                    <a:lnTo>
                      <a:pt x="300" y="725"/>
                    </a:lnTo>
                    <a:lnTo>
                      <a:pt x="296" y="725"/>
                    </a:lnTo>
                    <a:lnTo>
                      <a:pt x="294" y="725"/>
                    </a:lnTo>
                    <a:lnTo>
                      <a:pt x="294" y="730"/>
                    </a:lnTo>
                    <a:lnTo>
                      <a:pt x="296" y="730"/>
                    </a:lnTo>
                    <a:lnTo>
                      <a:pt x="293" y="732"/>
                    </a:lnTo>
                    <a:lnTo>
                      <a:pt x="289" y="730"/>
                    </a:lnTo>
                    <a:lnTo>
                      <a:pt x="288" y="730"/>
                    </a:lnTo>
                    <a:lnTo>
                      <a:pt x="286" y="728"/>
                    </a:lnTo>
                    <a:lnTo>
                      <a:pt x="284" y="727"/>
                    </a:lnTo>
                    <a:lnTo>
                      <a:pt x="283" y="728"/>
                    </a:lnTo>
                    <a:lnTo>
                      <a:pt x="283" y="730"/>
                    </a:lnTo>
                    <a:lnTo>
                      <a:pt x="283" y="734"/>
                    </a:lnTo>
                    <a:lnTo>
                      <a:pt x="281" y="734"/>
                    </a:lnTo>
                    <a:lnTo>
                      <a:pt x="283" y="737"/>
                    </a:lnTo>
                    <a:lnTo>
                      <a:pt x="284" y="739"/>
                    </a:lnTo>
                    <a:lnTo>
                      <a:pt x="284" y="740"/>
                    </a:lnTo>
                    <a:lnTo>
                      <a:pt x="281" y="742"/>
                    </a:lnTo>
                    <a:lnTo>
                      <a:pt x="277" y="740"/>
                    </a:lnTo>
                    <a:lnTo>
                      <a:pt x="272" y="742"/>
                    </a:lnTo>
                    <a:lnTo>
                      <a:pt x="267" y="742"/>
                    </a:lnTo>
                    <a:lnTo>
                      <a:pt x="266" y="745"/>
                    </a:lnTo>
                    <a:lnTo>
                      <a:pt x="267" y="751"/>
                    </a:lnTo>
                    <a:lnTo>
                      <a:pt x="264" y="752"/>
                    </a:lnTo>
                    <a:lnTo>
                      <a:pt x="262" y="752"/>
                    </a:lnTo>
                    <a:lnTo>
                      <a:pt x="260" y="749"/>
                    </a:lnTo>
                    <a:lnTo>
                      <a:pt x="257" y="747"/>
                    </a:lnTo>
                    <a:lnTo>
                      <a:pt x="252" y="747"/>
                    </a:lnTo>
                    <a:lnTo>
                      <a:pt x="250" y="745"/>
                    </a:lnTo>
                    <a:lnTo>
                      <a:pt x="249" y="747"/>
                    </a:lnTo>
                    <a:lnTo>
                      <a:pt x="247" y="747"/>
                    </a:lnTo>
                    <a:lnTo>
                      <a:pt x="247" y="742"/>
                    </a:lnTo>
                    <a:lnTo>
                      <a:pt x="243" y="740"/>
                    </a:lnTo>
                    <a:lnTo>
                      <a:pt x="242" y="737"/>
                    </a:lnTo>
                    <a:lnTo>
                      <a:pt x="240" y="737"/>
                    </a:lnTo>
                    <a:lnTo>
                      <a:pt x="238" y="737"/>
                    </a:lnTo>
                    <a:lnTo>
                      <a:pt x="237" y="739"/>
                    </a:lnTo>
                    <a:lnTo>
                      <a:pt x="235" y="739"/>
                    </a:lnTo>
                    <a:lnTo>
                      <a:pt x="233" y="737"/>
                    </a:lnTo>
                    <a:lnTo>
                      <a:pt x="232" y="739"/>
                    </a:lnTo>
                    <a:lnTo>
                      <a:pt x="228" y="740"/>
                    </a:lnTo>
                    <a:lnTo>
                      <a:pt x="230" y="740"/>
                    </a:lnTo>
                    <a:lnTo>
                      <a:pt x="228" y="742"/>
                    </a:lnTo>
                    <a:lnTo>
                      <a:pt x="228" y="744"/>
                    </a:lnTo>
                    <a:lnTo>
                      <a:pt x="226" y="744"/>
                    </a:lnTo>
                    <a:lnTo>
                      <a:pt x="228" y="744"/>
                    </a:lnTo>
                    <a:lnTo>
                      <a:pt x="226" y="745"/>
                    </a:lnTo>
                    <a:lnTo>
                      <a:pt x="228" y="745"/>
                    </a:lnTo>
                    <a:lnTo>
                      <a:pt x="225" y="747"/>
                    </a:lnTo>
                    <a:lnTo>
                      <a:pt x="225" y="749"/>
                    </a:lnTo>
                    <a:lnTo>
                      <a:pt x="221" y="751"/>
                    </a:lnTo>
                    <a:lnTo>
                      <a:pt x="220" y="751"/>
                    </a:lnTo>
                    <a:lnTo>
                      <a:pt x="218" y="752"/>
                    </a:lnTo>
                    <a:lnTo>
                      <a:pt x="216" y="752"/>
                    </a:lnTo>
                    <a:lnTo>
                      <a:pt x="218" y="749"/>
                    </a:lnTo>
                    <a:lnTo>
                      <a:pt x="218" y="744"/>
                    </a:lnTo>
                    <a:lnTo>
                      <a:pt x="215" y="742"/>
                    </a:lnTo>
                    <a:lnTo>
                      <a:pt x="209" y="742"/>
                    </a:lnTo>
                    <a:lnTo>
                      <a:pt x="209" y="739"/>
                    </a:lnTo>
                    <a:lnTo>
                      <a:pt x="206" y="740"/>
                    </a:lnTo>
                    <a:lnTo>
                      <a:pt x="203" y="739"/>
                    </a:lnTo>
                    <a:lnTo>
                      <a:pt x="201" y="734"/>
                    </a:lnTo>
                    <a:lnTo>
                      <a:pt x="201" y="732"/>
                    </a:lnTo>
                    <a:lnTo>
                      <a:pt x="201" y="730"/>
                    </a:lnTo>
                    <a:lnTo>
                      <a:pt x="199" y="725"/>
                    </a:lnTo>
                    <a:lnTo>
                      <a:pt x="199" y="722"/>
                    </a:lnTo>
                    <a:lnTo>
                      <a:pt x="198" y="723"/>
                    </a:lnTo>
                    <a:lnTo>
                      <a:pt x="198" y="722"/>
                    </a:lnTo>
                    <a:lnTo>
                      <a:pt x="199" y="718"/>
                    </a:lnTo>
                    <a:lnTo>
                      <a:pt x="201" y="718"/>
                    </a:lnTo>
                    <a:lnTo>
                      <a:pt x="201" y="717"/>
                    </a:lnTo>
                    <a:lnTo>
                      <a:pt x="199" y="710"/>
                    </a:lnTo>
                    <a:lnTo>
                      <a:pt x="198" y="706"/>
                    </a:lnTo>
                    <a:lnTo>
                      <a:pt x="196" y="706"/>
                    </a:lnTo>
                    <a:lnTo>
                      <a:pt x="194" y="706"/>
                    </a:lnTo>
                    <a:lnTo>
                      <a:pt x="191" y="706"/>
                    </a:lnTo>
                    <a:lnTo>
                      <a:pt x="189" y="711"/>
                    </a:lnTo>
                    <a:lnTo>
                      <a:pt x="184" y="713"/>
                    </a:lnTo>
                    <a:lnTo>
                      <a:pt x="184" y="711"/>
                    </a:lnTo>
                    <a:lnTo>
                      <a:pt x="181" y="713"/>
                    </a:lnTo>
                    <a:lnTo>
                      <a:pt x="181" y="711"/>
                    </a:lnTo>
                    <a:lnTo>
                      <a:pt x="181" y="710"/>
                    </a:lnTo>
                    <a:lnTo>
                      <a:pt x="184" y="705"/>
                    </a:lnTo>
                    <a:lnTo>
                      <a:pt x="184" y="703"/>
                    </a:lnTo>
                    <a:lnTo>
                      <a:pt x="186" y="703"/>
                    </a:lnTo>
                    <a:lnTo>
                      <a:pt x="187" y="700"/>
                    </a:lnTo>
                    <a:lnTo>
                      <a:pt x="191" y="698"/>
                    </a:lnTo>
                    <a:lnTo>
                      <a:pt x="191" y="696"/>
                    </a:lnTo>
                    <a:lnTo>
                      <a:pt x="194" y="696"/>
                    </a:lnTo>
                    <a:lnTo>
                      <a:pt x="196" y="696"/>
                    </a:lnTo>
                    <a:lnTo>
                      <a:pt x="198" y="693"/>
                    </a:lnTo>
                    <a:lnTo>
                      <a:pt x="194" y="693"/>
                    </a:lnTo>
                    <a:lnTo>
                      <a:pt x="194" y="691"/>
                    </a:lnTo>
                    <a:lnTo>
                      <a:pt x="196" y="691"/>
                    </a:lnTo>
                    <a:lnTo>
                      <a:pt x="192" y="689"/>
                    </a:lnTo>
                    <a:lnTo>
                      <a:pt x="191" y="688"/>
                    </a:lnTo>
                    <a:lnTo>
                      <a:pt x="191" y="689"/>
                    </a:lnTo>
                    <a:lnTo>
                      <a:pt x="189" y="689"/>
                    </a:lnTo>
                    <a:lnTo>
                      <a:pt x="187" y="686"/>
                    </a:lnTo>
                    <a:lnTo>
                      <a:pt x="186" y="686"/>
                    </a:lnTo>
                    <a:lnTo>
                      <a:pt x="184" y="686"/>
                    </a:lnTo>
                    <a:lnTo>
                      <a:pt x="182" y="684"/>
                    </a:lnTo>
                    <a:lnTo>
                      <a:pt x="182" y="683"/>
                    </a:lnTo>
                    <a:lnTo>
                      <a:pt x="179" y="677"/>
                    </a:lnTo>
                    <a:lnTo>
                      <a:pt x="177" y="679"/>
                    </a:lnTo>
                    <a:lnTo>
                      <a:pt x="175" y="677"/>
                    </a:lnTo>
                    <a:lnTo>
                      <a:pt x="175" y="679"/>
                    </a:lnTo>
                    <a:lnTo>
                      <a:pt x="172" y="677"/>
                    </a:lnTo>
                    <a:lnTo>
                      <a:pt x="174" y="671"/>
                    </a:lnTo>
                    <a:lnTo>
                      <a:pt x="172" y="669"/>
                    </a:lnTo>
                    <a:lnTo>
                      <a:pt x="175" y="666"/>
                    </a:lnTo>
                    <a:lnTo>
                      <a:pt x="174" y="660"/>
                    </a:lnTo>
                    <a:lnTo>
                      <a:pt x="174" y="659"/>
                    </a:lnTo>
                    <a:lnTo>
                      <a:pt x="172" y="657"/>
                    </a:lnTo>
                    <a:lnTo>
                      <a:pt x="170" y="659"/>
                    </a:lnTo>
                    <a:lnTo>
                      <a:pt x="170" y="657"/>
                    </a:lnTo>
                    <a:lnTo>
                      <a:pt x="169" y="657"/>
                    </a:lnTo>
                    <a:lnTo>
                      <a:pt x="169" y="655"/>
                    </a:lnTo>
                    <a:lnTo>
                      <a:pt x="169" y="654"/>
                    </a:lnTo>
                    <a:lnTo>
                      <a:pt x="170" y="652"/>
                    </a:lnTo>
                    <a:lnTo>
                      <a:pt x="169" y="649"/>
                    </a:lnTo>
                    <a:lnTo>
                      <a:pt x="165" y="650"/>
                    </a:lnTo>
                    <a:lnTo>
                      <a:pt x="165" y="649"/>
                    </a:lnTo>
                    <a:lnTo>
                      <a:pt x="165" y="647"/>
                    </a:lnTo>
                    <a:lnTo>
                      <a:pt x="167" y="643"/>
                    </a:lnTo>
                    <a:lnTo>
                      <a:pt x="167" y="642"/>
                    </a:lnTo>
                    <a:lnTo>
                      <a:pt x="164" y="640"/>
                    </a:lnTo>
                    <a:lnTo>
                      <a:pt x="164" y="638"/>
                    </a:lnTo>
                    <a:lnTo>
                      <a:pt x="160" y="637"/>
                    </a:lnTo>
                    <a:lnTo>
                      <a:pt x="157" y="635"/>
                    </a:lnTo>
                    <a:lnTo>
                      <a:pt x="152" y="633"/>
                    </a:lnTo>
                    <a:lnTo>
                      <a:pt x="150" y="635"/>
                    </a:lnTo>
                    <a:lnTo>
                      <a:pt x="148" y="633"/>
                    </a:lnTo>
                    <a:lnTo>
                      <a:pt x="147" y="635"/>
                    </a:lnTo>
                    <a:lnTo>
                      <a:pt x="145" y="635"/>
                    </a:lnTo>
                    <a:lnTo>
                      <a:pt x="143" y="637"/>
                    </a:lnTo>
                    <a:lnTo>
                      <a:pt x="145" y="637"/>
                    </a:lnTo>
                    <a:lnTo>
                      <a:pt x="145" y="638"/>
                    </a:lnTo>
                    <a:lnTo>
                      <a:pt x="147" y="638"/>
                    </a:lnTo>
                    <a:lnTo>
                      <a:pt x="147" y="640"/>
                    </a:lnTo>
                    <a:lnTo>
                      <a:pt x="148" y="642"/>
                    </a:lnTo>
                    <a:lnTo>
                      <a:pt x="148" y="643"/>
                    </a:lnTo>
                    <a:lnTo>
                      <a:pt x="148" y="645"/>
                    </a:lnTo>
                    <a:lnTo>
                      <a:pt x="147" y="647"/>
                    </a:lnTo>
                    <a:lnTo>
                      <a:pt x="143" y="647"/>
                    </a:lnTo>
                    <a:lnTo>
                      <a:pt x="140" y="647"/>
                    </a:lnTo>
                    <a:lnTo>
                      <a:pt x="136" y="650"/>
                    </a:lnTo>
                    <a:lnTo>
                      <a:pt x="135" y="650"/>
                    </a:lnTo>
                    <a:lnTo>
                      <a:pt x="131" y="650"/>
                    </a:lnTo>
                    <a:lnTo>
                      <a:pt x="130" y="654"/>
                    </a:lnTo>
                    <a:lnTo>
                      <a:pt x="130" y="655"/>
                    </a:lnTo>
                    <a:lnTo>
                      <a:pt x="130" y="657"/>
                    </a:lnTo>
                    <a:lnTo>
                      <a:pt x="128" y="659"/>
                    </a:lnTo>
                    <a:lnTo>
                      <a:pt x="124" y="657"/>
                    </a:lnTo>
                    <a:lnTo>
                      <a:pt x="123" y="655"/>
                    </a:lnTo>
                    <a:lnTo>
                      <a:pt x="119" y="657"/>
                    </a:lnTo>
                    <a:lnTo>
                      <a:pt x="118" y="654"/>
                    </a:lnTo>
                    <a:lnTo>
                      <a:pt x="114" y="654"/>
                    </a:lnTo>
                    <a:lnTo>
                      <a:pt x="113" y="654"/>
                    </a:lnTo>
                    <a:lnTo>
                      <a:pt x="111" y="652"/>
                    </a:lnTo>
                    <a:lnTo>
                      <a:pt x="109" y="652"/>
                    </a:lnTo>
                    <a:lnTo>
                      <a:pt x="109" y="650"/>
                    </a:lnTo>
                    <a:lnTo>
                      <a:pt x="107" y="650"/>
                    </a:lnTo>
                    <a:lnTo>
                      <a:pt x="106" y="650"/>
                    </a:lnTo>
                    <a:lnTo>
                      <a:pt x="104" y="649"/>
                    </a:lnTo>
                    <a:lnTo>
                      <a:pt x="101" y="649"/>
                    </a:lnTo>
                    <a:lnTo>
                      <a:pt x="99" y="649"/>
                    </a:lnTo>
                    <a:lnTo>
                      <a:pt x="99" y="650"/>
                    </a:lnTo>
                    <a:lnTo>
                      <a:pt x="97" y="649"/>
                    </a:lnTo>
                    <a:lnTo>
                      <a:pt x="96" y="649"/>
                    </a:lnTo>
                    <a:lnTo>
                      <a:pt x="97" y="650"/>
                    </a:lnTo>
                    <a:lnTo>
                      <a:pt x="96" y="650"/>
                    </a:lnTo>
                    <a:lnTo>
                      <a:pt x="94" y="650"/>
                    </a:lnTo>
                    <a:lnTo>
                      <a:pt x="92" y="650"/>
                    </a:lnTo>
                    <a:lnTo>
                      <a:pt x="92" y="652"/>
                    </a:lnTo>
                    <a:lnTo>
                      <a:pt x="90" y="654"/>
                    </a:lnTo>
                    <a:lnTo>
                      <a:pt x="87" y="654"/>
                    </a:lnTo>
                    <a:lnTo>
                      <a:pt x="87" y="655"/>
                    </a:lnTo>
                    <a:lnTo>
                      <a:pt x="87" y="657"/>
                    </a:lnTo>
                    <a:lnTo>
                      <a:pt x="84" y="659"/>
                    </a:lnTo>
                    <a:lnTo>
                      <a:pt x="85" y="660"/>
                    </a:lnTo>
                    <a:lnTo>
                      <a:pt x="82" y="660"/>
                    </a:lnTo>
                    <a:lnTo>
                      <a:pt x="82" y="664"/>
                    </a:lnTo>
                    <a:lnTo>
                      <a:pt x="79" y="666"/>
                    </a:lnTo>
                    <a:lnTo>
                      <a:pt x="75" y="662"/>
                    </a:lnTo>
                    <a:lnTo>
                      <a:pt x="75" y="660"/>
                    </a:lnTo>
                    <a:lnTo>
                      <a:pt x="73" y="657"/>
                    </a:lnTo>
                    <a:lnTo>
                      <a:pt x="73" y="655"/>
                    </a:lnTo>
                    <a:lnTo>
                      <a:pt x="73" y="654"/>
                    </a:lnTo>
                    <a:lnTo>
                      <a:pt x="70" y="652"/>
                    </a:lnTo>
                    <a:lnTo>
                      <a:pt x="68" y="649"/>
                    </a:lnTo>
                    <a:lnTo>
                      <a:pt x="67" y="649"/>
                    </a:lnTo>
                    <a:lnTo>
                      <a:pt x="63" y="649"/>
                    </a:lnTo>
                    <a:lnTo>
                      <a:pt x="60" y="649"/>
                    </a:lnTo>
                    <a:lnTo>
                      <a:pt x="60" y="650"/>
                    </a:lnTo>
                    <a:lnTo>
                      <a:pt x="60" y="652"/>
                    </a:lnTo>
                    <a:lnTo>
                      <a:pt x="58" y="654"/>
                    </a:lnTo>
                    <a:lnTo>
                      <a:pt x="56" y="655"/>
                    </a:lnTo>
                    <a:lnTo>
                      <a:pt x="56" y="654"/>
                    </a:lnTo>
                    <a:lnTo>
                      <a:pt x="56" y="657"/>
                    </a:lnTo>
                    <a:lnTo>
                      <a:pt x="53" y="659"/>
                    </a:lnTo>
                    <a:lnTo>
                      <a:pt x="51" y="659"/>
                    </a:lnTo>
                    <a:lnTo>
                      <a:pt x="51" y="660"/>
                    </a:lnTo>
                    <a:lnTo>
                      <a:pt x="50" y="660"/>
                    </a:lnTo>
                    <a:lnTo>
                      <a:pt x="48" y="659"/>
                    </a:lnTo>
                    <a:lnTo>
                      <a:pt x="45" y="657"/>
                    </a:lnTo>
                    <a:lnTo>
                      <a:pt x="45" y="654"/>
                    </a:lnTo>
                    <a:lnTo>
                      <a:pt x="39" y="652"/>
                    </a:lnTo>
                    <a:lnTo>
                      <a:pt x="38" y="650"/>
                    </a:lnTo>
                    <a:lnTo>
                      <a:pt x="38" y="649"/>
                    </a:lnTo>
                    <a:lnTo>
                      <a:pt x="39" y="647"/>
                    </a:lnTo>
                    <a:lnTo>
                      <a:pt x="39" y="645"/>
                    </a:lnTo>
                    <a:lnTo>
                      <a:pt x="41" y="645"/>
                    </a:lnTo>
                    <a:lnTo>
                      <a:pt x="41" y="642"/>
                    </a:lnTo>
                    <a:lnTo>
                      <a:pt x="39" y="642"/>
                    </a:lnTo>
                    <a:lnTo>
                      <a:pt x="41" y="642"/>
                    </a:lnTo>
                    <a:lnTo>
                      <a:pt x="41" y="640"/>
                    </a:lnTo>
                    <a:lnTo>
                      <a:pt x="43" y="640"/>
                    </a:lnTo>
                    <a:lnTo>
                      <a:pt x="45" y="640"/>
                    </a:lnTo>
                    <a:lnTo>
                      <a:pt x="45" y="638"/>
                    </a:lnTo>
                    <a:lnTo>
                      <a:pt x="45" y="637"/>
                    </a:lnTo>
                    <a:lnTo>
                      <a:pt x="45" y="635"/>
                    </a:lnTo>
                    <a:lnTo>
                      <a:pt x="45" y="633"/>
                    </a:lnTo>
                    <a:lnTo>
                      <a:pt x="45" y="635"/>
                    </a:lnTo>
                    <a:lnTo>
                      <a:pt x="43" y="635"/>
                    </a:lnTo>
                    <a:lnTo>
                      <a:pt x="43" y="632"/>
                    </a:lnTo>
                    <a:lnTo>
                      <a:pt x="43" y="633"/>
                    </a:lnTo>
                    <a:lnTo>
                      <a:pt x="41" y="633"/>
                    </a:lnTo>
                    <a:lnTo>
                      <a:pt x="41" y="632"/>
                    </a:lnTo>
                    <a:lnTo>
                      <a:pt x="39" y="632"/>
                    </a:lnTo>
                    <a:lnTo>
                      <a:pt x="41" y="632"/>
                    </a:lnTo>
                    <a:lnTo>
                      <a:pt x="43" y="630"/>
                    </a:lnTo>
                    <a:lnTo>
                      <a:pt x="41" y="628"/>
                    </a:lnTo>
                    <a:lnTo>
                      <a:pt x="43" y="628"/>
                    </a:lnTo>
                    <a:lnTo>
                      <a:pt x="41" y="626"/>
                    </a:lnTo>
                    <a:lnTo>
                      <a:pt x="39" y="625"/>
                    </a:lnTo>
                    <a:lnTo>
                      <a:pt x="41" y="625"/>
                    </a:lnTo>
                    <a:lnTo>
                      <a:pt x="41" y="623"/>
                    </a:lnTo>
                    <a:lnTo>
                      <a:pt x="45" y="623"/>
                    </a:lnTo>
                    <a:lnTo>
                      <a:pt x="43" y="620"/>
                    </a:lnTo>
                    <a:lnTo>
                      <a:pt x="43" y="618"/>
                    </a:lnTo>
                    <a:lnTo>
                      <a:pt x="43" y="616"/>
                    </a:lnTo>
                    <a:lnTo>
                      <a:pt x="43" y="614"/>
                    </a:lnTo>
                    <a:lnTo>
                      <a:pt x="43" y="613"/>
                    </a:lnTo>
                    <a:lnTo>
                      <a:pt x="45" y="611"/>
                    </a:lnTo>
                    <a:lnTo>
                      <a:pt x="45" y="609"/>
                    </a:lnTo>
                    <a:lnTo>
                      <a:pt x="43" y="609"/>
                    </a:lnTo>
                    <a:lnTo>
                      <a:pt x="43" y="611"/>
                    </a:lnTo>
                    <a:lnTo>
                      <a:pt x="41" y="611"/>
                    </a:lnTo>
                    <a:lnTo>
                      <a:pt x="41" y="609"/>
                    </a:lnTo>
                    <a:lnTo>
                      <a:pt x="43" y="608"/>
                    </a:lnTo>
                    <a:lnTo>
                      <a:pt x="41" y="606"/>
                    </a:lnTo>
                    <a:lnTo>
                      <a:pt x="41" y="604"/>
                    </a:lnTo>
                    <a:lnTo>
                      <a:pt x="39" y="604"/>
                    </a:lnTo>
                    <a:lnTo>
                      <a:pt x="36" y="601"/>
                    </a:lnTo>
                    <a:lnTo>
                      <a:pt x="38" y="599"/>
                    </a:lnTo>
                    <a:lnTo>
                      <a:pt x="36" y="599"/>
                    </a:lnTo>
                    <a:lnTo>
                      <a:pt x="36" y="597"/>
                    </a:lnTo>
                    <a:lnTo>
                      <a:pt x="36" y="596"/>
                    </a:lnTo>
                    <a:lnTo>
                      <a:pt x="34" y="594"/>
                    </a:lnTo>
                    <a:lnTo>
                      <a:pt x="33" y="592"/>
                    </a:lnTo>
                    <a:lnTo>
                      <a:pt x="33" y="591"/>
                    </a:lnTo>
                    <a:lnTo>
                      <a:pt x="31" y="591"/>
                    </a:lnTo>
                    <a:lnTo>
                      <a:pt x="31" y="589"/>
                    </a:lnTo>
                    <a:lnTo>
                      <a:pt x="28" y="589"/>
                    </a:lnTo>
                    <a:lnTo>
                      <a:pt x="28" y="587"/>
                    </a:lnTo>
                    <a:lnTo>
                      <a:pt x="26" y="587"/>
                    </a:lnTo>
                    <a:lnTo>
                      <a:pt x="24" y="592"/>
                    </a:lnTo>
                    <a:lnTo>
                      <a:pt x="22" y="592"/>
                    </a:lnTo>
                    <a:lnTo>
                      <a:pt x="21" y="592"/>
                    </a:lnTo>
                    <a:lnTo>
                      <a:pt x="17" y="589"/>
                    </a:lnTo>
                    <a:lnTo>
                      <a:pt x="19" y="586"/>
                    </a:lnTo>
                    <a:lnTo>
                      <a:pt x="14" y="582"/>
                    </a:lnTo>
                    <a:lnTo>
                      <a:pt x="11" y="577"/>
                    </a:lnTo>
                    <a:lnTo>
                      <a:pt x="11" y="575"/>
                    </a:lnTo>
                    <a:lnTo>
                      <a:pt x="9" y="572"/>
                    </a:lnTo>
                    <a:lnTo>
                      <a:pt x="11" y="570"/>
                    </a:lnTo>
                    <a:lnTo>
                      <a:pt x="14" y="569"/>
                    </a:lnTo>
                    <a:lnTo>
                      <a:pt x="16" y="565"/>
                    </a:lnTo>
                    <a:lnTo>
                      <a:pt x="16" y="562"/>
                    </a:lnTo>
                    <a:lnTo>
                      <a:pt x="12" y="558"/>
                    </a:lnTo>
                    <a:lnTo>
                      <a:pt x="11" y="557"/>
                    </a:lnTo>
                    <a:lnTo>
                      <a:pt x="12" y="550"/>
                    </a:lnTo>
                    <a:lnTo>
                      <a:pt x="12" y="548"/>
                    </a:lnTo>
                    <a:lnTo>
                      <a:pt x="11" y="543"/>
                    </a:lnTo>
                    <a:lnTo>
                      <a:pt x="7" y="543"/>
                    </a:lnTo>
                    <a:lnTo>
                      <a:pt x="7" y="540"/>
                    </a:lnTo>
                    <a:lnTo>
                      <a:pt x="5" y="540"/>
                    </a:lnTo>
                    <a:lnTo>
                      <a:pt x="5" y="538"/>
                    </a:lnTo>
                    <a:lnTo>
                      <a:pt x="4" y="538"/>
                    </a:lnTo>
                    <a:lnTo>
                      <a:pt x="2" y="538"/>
                    </a:lnTo>
                    <a:lnTo>
                      <a:pt x="2" y="536"/>
                    </a:lnTo>
                    <a:lnTo>
                      <a:pt x="2" y="535"/>
                    </a:lnTo>
                    <a:lnTo>
                      <a:pt x="0" y="533"/>
                    </a:lnTo>
                    <a:lnTo>
                      <a:pt x="2" y="529"/>
                    </a:lnTo>
                    <a:lnTo>
                      <a:pt x="4" y="528"/>
                    </a:lnTo>
                    <a:lnTo>
                      <a:pt x="4" y="526"/>
                    </a:lnTo>
                    <a:lnTo>
                      <a:pt x="5" y="526"/>
                    </a:lnTo>
                    <a:lnTo>
                      <a:pt x="4" y="524"/>
                    </a:lnTo>
                    <a:lnTo>
                      <a:pt x="4" y="523"/>
                    </a:lnTo>
                    <a:lnTo>
                      <a:pt x="2" y="523"/>
                    </a:lnTo>
                    <a:lnTo>
                      <a:pt x="2" y="521"/>
                    </a:lnTo>
                    <a:lnTo>
                      <a:pt x="0" y="521"/>
                    </a:lnTo>
                    <a:lnTo>
                      <a:pt x="0" y="519"/>
                    </a:lnTo>
                    <a:lnTo>
                      <a:pt x="4" y="519"/>
                    </a:lnTo>
                    <a:lnTo>
                      <a:pt x="5" y="519"/>
                    </a:lnTo>
                    <a:lnTo>
                      <a:pt x="7" y="521"/>
                    </a:lnTo>
                    <a:lnTo>
                      <a:pt x="9" y="521"/>
                    </a:lnTo>
                    <a:lnTo>
                      <a:pt x="11" y="519"/>
                    </a:lnTo>
                    <a:lnTo>
                      <a:pt x="14" y="519"/>
                    </a:lnTo>
                    <a:lnTo>
                      <a:pt x="16" y="518"/>
                    </a:lnTo>
                    <a:lnTo>
                      <a:pt x="16" y="516"/>
                    </a:lnTo>
                    <a:lnTo>
                      <a:pt x="17" y="516"/>
                    </a:lnTo>
                    <a:lnTo>
                      <a:pt x="19" y="514"/>
                    </a:lnTo>
                    <a:lnTo>
                      <a:pt x="21" y="514"/>
                    </a:lnTo>
                    <a:lnTo>
                      <a:pt x="21" y="512"/>
                    </a:lnTo>
                    <a:lnTo>
                      <a:pt x="22" y="512"/>
                    </a:lnTo>
                    <a:lnTo>
                      <a:pt x="21" y="511"/>
                    </a:lnTo>
                    <a:lnTo>
                      <a:pt x="22" y="509"/>
                    </a:lnTo>
                    <a:lnTo>
                      <a:pt x="22" y="506"/>
                    </a:lnTo>
                    <a:lnTo>
                      <a:pt x="21" y="506"/>
                    </a:lnTo>
                    <a:lnTo>
                      <a:pt x="21" y="504"/>
                    </a:lnTo>
                    <a:lnTo>
                      <a:pt x="21" y="502"/>
                    </a:lnTo>
                    <a:lnTo>
                      <a:pt x="22" y="501"/>
                    </a:lnTo>
                    <a:lnTo>
                      <a:pt x="21" y="499"/>
                    </a:lnTo>
                    <a:lnTo>
                      <a:pt x="22" y="495"/>
                    </a:lnTo>
                    <a:lnTo>
                      <a:pt x="22" y="494"/>
                    </a:lnTo>
                    <a:lnTo>
                      <a:pt x="24" y="490"/>
                    </a:lnTo>
                    <a:lnTo>
                      <a:pt x="26" y="484"/>
                    </a:lnTo>
                    <a:lnTo>
                      <a:pt x="28" y="482"/>
                    </a:lnTo>
                    <a:lnTo>
                      <a:pt x="28" y="480"/>
                    </a:lnTo>
                    <a:lnTo>
                      <a:pt x="29" y="480"/>
                    </a:lnTo>
                    <a:lnTo>
                      <a:pt x="31" y="482"/>
                    </a:lnTo>
                    <a:lnTo>
                      <a:pt x="33" y="480"/>
                    </a:lnTo>
                    <a:lnTo>
                      <a:pt x="34" y="480"/>
                    </a:lnTo>
                    <a:lnTo>
                      <a:pt x="34" y="478"/>
                    </a:lnTo>
                    <a:lnTo>
                      <a:pt x="38" y="477"/>
                    </a:lnTo>
                    <a:lnTo>
                      <a:pt x="38" y="475"/>
                    </a:lnTo>
                    <a:lnTo>
                      <a:pt x="39" y="475"/>
                    </a:lnTo>
                    <a:lnTo>
                      <a:pt x="41" y="475"/>
                    </a:lnTo>
                    <a:lnTo>
                      <a:pt x="45" y="478"/>
                    </a:lnTo>
                    <a:lnTo>
                      <a:pt x="45" y="480"/>
                    </a:lnTo>
                    <a:lnTo>
                      <a:pt x="48" y="484"/>
                    </a:lnTo>
                    <a:lnTo>
                      <a:pt x="51" y="487"/>
                    </a:lnTo>
                    <a:lnTo>
                      <a:pt x="55" y="489"/>
                    </a:lnTo>
                    <a:lnTo>
                      <a:pt x="56" y="492"/>
                    </a:lnTo>
                    <a:lnTo>
                      <a:pt x="58" y="492"/>
                    </a:lnTo>
                    <a:lnTo>
                      <a:pt x="62" y="494"/>
                    </a:lnTo>
                    <a:lnTo>
                      <a:pt x="63" y="495"/>
                    </a:lnTo>
                    <a:lnTo>
                      <a:pt x="65" y="499"/>
                    </a:lnTo>
                    <a:lnTo>
                      <a:pt x="67" y="501"/>
                    </a:lnTo>
                    <a:lnTo>
                      <a:pt x="68" y="502"/>
                    </a:lnTo>
                    <a:lnTo>
                      <a:pt x="70" y="497"/>
                    </a:lnTo>
                    <a:lnTo>
                      <a:pt x="72" y="497"/>
                    </a:lnTo>
                    <a:lnTo>
                      <a:pt x="72" y="494"/>
                    </a:lnTo>
                    <a:lnTo>
                      <a:pt x="73" y="492"/>
                    </a:lnTo>
                    <a:lnTo>
                      <a:pt x="75" y="490"/>
                    </a:lnTo>
                    <a:lnTo>
                      <a:pt x="77" y="490"/>
                    </a:lnTo>
                    <a:lnTo>
                      <a:pt x="77" y="489"/>
                    </a:lnTo>
                    <a:lnTo>
                      <a:pt x="77" y="485"/>
                    </a:lnTo>
                    <a:lnTo>
                      <a:pt x="79" y="485"/>
                    </a:lnTo>
                    <a:lnTo>
                      <a:pt x="80" y="487"/>
                    </a:lnTo>
                    <a:lnTo>
                      <a:pt x="82" y="487"/>
                    </a:lnTo>
                    <a:lnTo>
                      <a:pt x="87" y="485"/>
                    </a:lnTo>
                    <a:lnTo>
                      <a:pt x="90" y="485"/>
                    </a:lnTo>
                    <a:lnTo>
                      <a:pt x="92" y="485"/>
                    </a:lnTo>
                    <a:lnTo>
                      <a:pt x="94" y="485"/>
                    </a:lnTo>
                    <a:lnTo>
                      <a:pt x="97" y="485"/>
                    </a:lnTo>
                    <a:lnTo>
                      <a:pt x="101" y="485"/>
                    </a:lnTo>
                    <a:lnTo>
                      <a:pt x="114" y="485"/>
                    </a:lnTo>
                    <a:lnTo>
                      <a:pt x="119" y="487"/>
                    </a:lnTo>
                    <a:lnTo>
                      <a:pt x="123" y="487"/>
                    </a:lnTo>
                    <a:lnTo>
                      <a:pt x="124" y="487"/>
                    </a:lnTo>
                    <a:lnTo>
                      <a:pt x="128" y="487"/>
                    </a:lnTo>
                    <a:lnTo>
                      <a:pt x="130" y="485"/>
                    </a:lnTo>
                    <a:lnTo>
                      <a:pt x="136" y="485"/>
                    </a:lnTo>
                    <a:lnTo>
                      <a:pt x="140" y="487"/>
                    </a:lnTo>
                    <a:lnTo>
                      <a:pt x="141" y="485"/>
                    </a:lnTo>
                    <a:lnTo>
                      <a:pt x="143" y="485"/>
                    </a:lnTo>
                    <a:lnTo>
                      <a:pt x="141" y="477"/>
                    </a:lnTo>
                    <a:lnTo>
                      <a:pt x="147" y="472"/>
                    </a:lnTo>
                    <a:lnTo>
                      <a:pt x="148" y="473"/>
                    </a:lnTo>
                    <a:lnTo>
                      <a:pt x="147" y="482"/>
                    </a:lnTo>
                    <a:lnTo>
                      <a:pt x="164" y="482"/>
                    </a:lnTo>
                    <a:lnTo>
                      <a:pt x="198" y="482"/>
                    </a:lnTo>
                    <a:lnTo>
                      <a:pt x="233" y="482"/>
                    </a:lnTo>
                    <a:lnTo>
                      <a:pt x="301" y="482"/>
                    </a:lnTo>
                    <a:lnTo>
                      <a:pt x="303" y="482"/>
                    </a:lnTo>
                    <a:lnTo>
                      <a:pt x="342" y="482"/>
                    </a:lnTo>
                    <a:lnTo>
                      <a:pt x="351" y="439"/>
                    </a:lnTo>
                    <a:lnTo>
                      <a:pt x="335" y="431"/>
                    </a:lnTo>
                    <a:lnTo>
                      <a:pt x="334" y="412"/>
                    </a:lnTo>
                    <a:lnTo>
                      <a:pt x="305" y="75"/>
                    </a:lnTo>
                    <a:lnTo>
                      <a:pt x="300" y="17"/>
                    </a:lnTo>
                    <a:lnTo>
                      <a:pt x="298" y="0"/>
                    </a:lnTo>
                    <a:lnTo>
                      <a:pt x="376" y="0"/>
                    </a:lnTo>
                    <a:lnTo>
                      <a:pt x="488" y="72"/>
                    </a:lnTo>
                    <a:lnTo>
                      <a:pt x="619" y="159"/>
                    </a:lnTo>
                    <a:lnTo>
                      <a:pt x="679" y="198"/>
                    </a:lnTo>
                    <a:lnTo>
                      <a:pt x="680" y="206"/>
                    </a:lnTo>
                    <a:lnTo>
                      <a:pt x="679" y="213"/>
                    </a:lnTo>
                    <a:lnTo>
                      <a:pt x="679" y="216"/>
                    </a:lnTo>
                    <a:lnTo>
                      <a:pt x="682" y="218"/>
                    </a:lnTo>
                    <a:lnTo>
                      <a:pt x="687" y="216"/>
                    </a:lnTo>
                    <a:lnTo>
                      <a:pt x="689" y="220"/>
                    </a:lnTo>
                    <a:lnTo>
                      <a:pt x="691" y="222"/>
                    </a:lnTo>
                    <a:lnTo>
                      <a:pt x="694" y="222"/>
                    </a:lnTo>
                    <a:lnTo>
                      <a:pt x="701" y="223"/>
                    </a:lnTo>
                    <a:lnTo>
                      <a:pt x="704" y="227"/>
                    </a:lnTo>
                    <a:lnTo>
                      <a:pt x="704" y="233"/>
                    </a:lnTo>
                    <a:lnTo>
                      <a:pt x="709" y="237"/>
                    </a:lnTo>
                    <a:lnTo>
                      <a:pt x="711" y="239"/>
                    </a:lnTo>
                    <a:lnTo>
                      <a:pt x="714" y="239"/>
                    </a:lnTo>
                    <a:lnTo>
                      <a:pt x="716" y="242"/>
                    </a:lnTo>
                    <a:lnTo>
                      <a:pt x="718" y="242"/>
                    </a:lnTo>
                    <a:lnTo>
                      <a:pt x="718" y="240"/>
                    </a:lnTo>
                    <a:lnTo>
                      <a:pt x="719" y="240"/>
                    </a:lnTo>
                    <a:lnTo>
                      <a:pt x="721" y="242"/>
                    </a:lnTo>
                    <a:lnTo>
                      <a:pt x="723" y="240"/>
                    </a:lnTo>
                    <a:lnTo>
                      <a:pt x="726" y="242"/>
                    </a:lnTo>
                    <a:lnTo>
                      <a:pt x="730" y="240"/>
                    </a:lnTo>
                    <a:lnTo>
                      <a:pt x="731" y="239"/>
                    </a:lnTo>
                    <a:lnTo>
                      <a:pt x="736" y="240"/>
                    </a:lnTo>
                    <a:lnTo>
                      <a:pt x="736" y="244"/>
                    </a:lnTo>
                    <a:lnTo>
                      <a:pt x="740" y="244"/>
                    </a:lnTo>
                    <a:lnTo>
                      <a:pt x="740" y="245"/>
                    </a:lnTo>
                    <a:lnTo>
                      <a:pt x="742" y="247"/>
                    </a:lnTo>
                    <a:lnTo>
                      <a:pt x="742" y="249"/>
                    </a:lnTo>
                    <a:lnTo>
                      <a:pt x="740" y="249"/>
                    </a:lnTo>
                    <a:lnTo>
                      <a:pt x="740" y="252"/>
                    </a:lnTo>
                    <a:lnTo>
                      <a:pt x="742" y="250"/>
                    </a:lnTo>
                    <a:lnTo>
                      <a:pt x="745" y="249"/>
                    </a:lnTo>
                    <a:lnTo>
                      <a:pt x="745" y="250"/>
                    </a:lnTo>
                    <a:lnTo>
                      <a:pt x="748" y="249"/>
                    </a:lnTo>
                    <a:lnTo>
                      <a:pt x="750" y="252"/>
                    </a:lnTo>
                    <a:lnTo>
                      <a:pt x="752" y="252"/>
                    </a:lnTo>
                    <a:lnTo>
                      <a:pt x="753" y="252"/>
                    </a:lnTo>
                    <a:lnTo>
                      <a:pt x="755" y="252"/>
                    </a:lnTo>
                    <a:lnTo>
                      <a:pt x="755" y="249"/>
                    </a:lnTo>
                    <a:lnTo>
                      <a:pt x="759" y="254"/>
                    </a:lnTo>
                    <a:lnTo>
                      <a:pt x="764" y="256"/>
                    </a:lnTo>
                    <a:lnTo>
                      <a:pt x="765" y="256"/>
                    </a:lnTo>
                    <a:lnTo>
                      <a:pt x="767" y="256"/>
                    </a:lnTo>
                    <a:lnTo>
                      <a:pt x="770" y="257"/>
                    </a:lnTo>
                    <a:lnTo>
                      <a:pt x="781" y="262"/>
                    </a:lnTo>
                    <a:lnTo>
                      <a:pt x="786" y="262"/>
                    </a:lnTo>
                    <a:lnTo>
                      <a:pt x="784" y="269"/>
                    </a:lnTo>
                    <a:lnTo>
                      <a:pt x="784" y="273"/>
                    </a:lnTo>
                    <a:lnTo>
                      <a:pt x="784" y="274"/>
                    </a:lnTo>
                    <a:lnTo>
                      <a:pt x="786" y="278"/>
                    </a:lnTo>
                    <a:lnTo>
                      <a:pt x="784" y="279"/>
                    </a:lnTo>
                    <a:lnTo>
                      <a:pt x="786" y="281"/>
                    </a:lnTo>
                    <a:lnTo>
                      <a:pt x="786" y="283"/>
                    </a:lnTo>
                    <a:lnTo>
                      <a:pt x="782" y="283"/>
                    </a:lnTo>
                    <a:lnTo>
                      <a:pt x="781" y="286"/>
                    </a:lnTo>
                    <a:lnTo>
                      <a:pt x="782" y="291"/>
                    </a:lnTo>
                    <a:lnTo>
                      <a:pt x="777" y="296"/>
                    </a:lnTo>
                    <a:lnTo>
                      <a:pt x="777" y="298"/>
                    </a:lnTo>
                    <a:lnTo>
                      <a:pt x="786" y="303"/>
                    </a:lnTo>
                    <a:lnTo>
                      <a:pt x="787" y="305"/>
                    </a:lnTo>
                    <a:lnTo>
                      <a:pt x="789" y="305"/>
                    </a:lnTo>
                    <a:lnTo>
                      <a:pt x="789" y="307"/>
                    </a:lnTo>
                    <a:lnTo>
                      <a:pt x="793" y="307"/>
                    </a:lnTo>
                    <a:lnTo>
                      <a:pt x="801" y="305"/>
                    </a:lnTo>
                    <a:lnTo>
                      <a:pt x="833" y="298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0" name="Freeform 41">
                <a:extLst>
                  <a:ext uri="{FF2B5EF4-FFF2-40B4-BE49-F238E27FC236}">
                    <a16:creationId xmlns:a16="http://schemas.microsoft.com/office/drawing/2014/main" id="{72D743FF-DA97-465F-8AD2-334D9894C14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205072" y="1255660"/>
                <a:ext cx="984222" cy="1012783"/>
              </a:xfrm>
              <a:custGeom>
                <a:avLst/>
                <a:gdLst>
                  <a:gd name="T0" fmla="*/ 549 w 620"/>
                  <a:gd name="T1" fmla="*/ 192 h 638"/>
                  <a:gd name="T2" fmla="*/ 477 w 620"/>
                  <a:gd name="T3" fmla="*/ 599 h 638"/>
                  <a:gd name="T4" fmla="*/ 387 w 620"/>
                  <a:gd name="T5" fmla="*/ 602 h 638"/>
                  <a:gd name="T6" fmla="*/ 367 w 620"/>
                  <a:gd name="T7" fmla="*/ 604 h 638"/>
                  <a:gd name="T8" fmla="*/ 334 w 620"/>
                  <a:gd name="T9" fmla="*/ 602 h 638"/>
                  <a:gd name="T10" fmla="*/ 321 w 620"/>
                  <a:gd name="T11" fmla="*/ 607 h 638"/>
                  <a:gd name="T12" fmla="*/ 311 w 620"/>
                  <a:gd name="T13" fmla="*/ 618 h 638"/>
                  <a:gd name="T14" fmla="*/ 295 w 620"/>
                  <a:gd name="T15" fmla="*/ 604 h 638"/>
                  <a:gd name="T16" fmla="*/ 282 w 620"/>
                  <a:gd name="T17" fmla="*/ 594 h 638"/>
                  <a:gd name="T18" fmla="*/ 272 w 620"/>
                  <a:gd name="T19" fmla="*/ 599 h 638"/>
                  <a:gd name="T20" fmla="*/ 265 w 620"/>
                  <a:gd name="T21" fmla="*/ 619 h 638"/>
                  <a:gd name="T22" fmla="*/ 265 w 620"/>
                  <a:gd name="T23" fmla="*/ 629 h 638"/>
                  <a:gd name="T24" fmla="*/ 255 w 620"/>
                  <a:gd name="T25" fmla="*/ 636 h 638"/>
                  <a:gd name="T26" fmla="*/ 239 w 620"/>
                  <a:gd name="T27" fmla="*/ 633 h 638"/>
                  <a:gd name="T28" fmla="*/ 222 w 620"/>
                  <a:gd name="T29" fmla="*/ 619 h 638"/>
                  <a:gd name="T30" fmla="*/ 212 w 620"/>
                  <a:gd name="T31" fmla="*/ 611 h 638"/>
                  <a:gd name="T32" fmla="*/ 207 w 620"/>
                  <a:gd name="T33" fmla="*/ 602 h 638"/>
                  <a:gd name="T34" fmla="*/ 193 w 620"/>
                  <a:gd name="T35" fmla="*/ 590 h 638"/>
                  <a:gd name="T36" fmla="*/ 188 w 620"/>
                  <a:gd name="T37" fmla="*/ 580 h 638"/>
                  <a:gd name="T38" fmla="*/ 180 w 620"/>
                  <a:gd name="T39" fmla="*/ 568 h 638"/>
                  <a:gd name="T40" fmla="*/ 168 w 620"/>
                  <a:gd name="T41" fmla="*/ 566 h 638"/>
                  <a:gd name="T42" fmla="*/ 156 w 620"/>
                  <a:gd name="T43" fmla="*/ 563 h 638"/>
                  <a:gd name="T44" fmla="*/ 151 w 620"/>
                  <a:gd name="T45" fmla="*/ 553 h 638"/>
                  <a:gd name="T46" fmla="*/ 141 w 620"/>
                  <a:gd name="T47" fmla="*/ 544 h 638"/>
                  <a:gd name="T48" fmla="*/ 127 w 620"/>
                  <a:gd name="T49" fmla="*/ 543 h 638"/>
                  <a:gd name="T50" fmla="*/ 115 w 620"/>
                  <a:gd name="T51" fmla="*/ 543 h 638"/>
                  <a:gd name="T52" fmla="*/ 107 w 620"/>
                  <a:gd name="T53" fmla="*/ 541 h 638"/>
                  <a:gd name="T54" fmla="*/ 98 w 620"/>
                  <a:gd name="T55" fmla="*/ 541 h 638"/>
                  <a:gd name="T56" fmla="*/ 81 w 620"/>
                  <a:gd name="T57" fmla="*/ 544 h 638"/>
                  <a:gd name="T58" fmla="*/ 62 w 620"/>
                  <a:gd name="T59" fmla="*/ 548 h 638"/>
                  <a:gd name="T60" fmla="*/ 49 w 620"/>
                  <a:gd name="T61" fmla="*/ 548 h 638"/>
                  <a:gd name="T62" fmla="*/ 39 w 620"/>
                  <a:gd name="T63" fmla="*/ 551 h 638"/>
                  <a:gd name="T64" fmla="*/ 34 w 620"/>
                  <a:gd name="T65" fmla="*/ 563 h 638"/>
                  <a:gd name="T66" fmla="*/ 27 w 620"/>
                  <a:gd name="T67" fmla="*/ 560 h 638"/>
                  <a:gd name="T68" fmla="*/ 51 w 620"/>
                  <a:gd name="T69" fmla="*/ 488 h 638"/>
                  <a:gd name="T70" fmla="*/ 39 w 620"/>
                  <a:gd name="T71" fmla="*/ 417 h 638"/>
                  <a:gd name="T72" fmla="*/ 28 w 620"/>
                  <a:gd name="T73" fmla="*/ 401 h 638"/>
                  <a:gd name="T74" fmla="*/ 34 w 620"/>
                  <a:gd name="T75" fmla="*/ 398 h 638"/>
                  <a:gd name="T76" fmla="*/ 32 w 620"/>
                  <a:gd name="T77" fmla="*/ 395 h 638"/>
                  <a:gd name="T78" fmla="*/ 40 w 620"/>
                  <a:gd name="T79" fmla="*/ 384 h 638"/>
                  <a:gd name="T80" fmla="*/ 39 w 620"/>
                  <a:gd name="T81" fmla="*/ 376 h 638"/>
                  <a:gd name="T82" fmla="*/ 42 w 620"/>
                  <a:gd name="T83" fmla="*/ 357 h 638"/>
                  <a:gd name="T84" fmla="*/ 32 w 620"/>
                  <a:gd name="T85" fmla="*/ 339 h 638"/>
                  <a:gd name="T86" fmla="*/ 18 w 620"/>
                  <a:gd name="T87" fmla="*/ 333 h 638"/>
                  <a:gd name="T88" fmla="*/ 8 w 620"/>
                  <a:gd name="T89" fmla="*/ 315 h 638"/>
                  <a:gd name="T90" fmla="*/ 3 w 620"/>
                  <a:gd name="T91" fmla="*/ 318 h 638"/>
                  <a:gd name="T92" fmla="*/ 0 w 620"/>
                  <a:gd name="T93" fmla="*/ 327 h 638"/>
                  <a:gd name="T94" fmla="*/ 144 w 620"/>
                  <a:gd name="T95" fmla="*/ 303 h 638"/>
                  <a:gd name="T96" fmla="*/ 207 w 620"/>
                  <a:gd name="T97" fmla="*/ 216 h 638"/>
                  <a:gd name="T98" fmla="*/ 256 w 620"/>
                  <a:gd name="T99" fmla="*/ 68 h 638"/>
                  <a:gd name="T100" fmla="*/ 37 w 620"/>
                  <a:gd name="T101" fmla="*/ 381 h 638"/>
                  <a:gd name="T102" fmla="*/ 28 w 620"/>
                  <a:gd name="T103" fmla="*/ 384 h 638"/>
                  <a:gd name="T104" fmla="*/ 30 w 620"/>
                  <a:gd name="T105" fmla="*/ 340 h 638"/>
                  <a:gd name="T106" fmla="*/ 35 w 620"/>
                  <a:gd name="T107" fmla="*/ 383 h 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0" h="638">
                    <a:moveTo>
                      <a:pt x="425" y="0"/>
                    </a:moveTo>
                    <a:lnTo>
                      <a:pt x="578" y="92"/>
                    </a:lnTo>
                    <a:lnTo>
                      <a:pt x="618" y="117"/>
                    </a:lnTo>
                    <a:lnTo>
                      <a:pt x="620" y="117"/>
                    </a:lnTo>
                    <a:lnTo>
                      <a:pt x="542" y="117"/>
                    </a:lnTo>
                    <a:lnTo>
                      <a:pt x="544" y="134"/>
                    </a:lnTo>
                    <a:lnTo>
                      <a:pt x="549" y="192"/>
                    </a:lnTo>
                    <a:lnTo>
                      <a:pt x="578" y="529"/>
                    </a:lnTo>
                    <a:lnTo>
                      <a:pt x="579" y="548"/>
                    </a:lnTo>
                    <a:lnTo>
                      <a:pt x="595" y="556"/>
                    </a:lnTo>
                    <a:lnTo>
                      <a:pt x="586" y="599"/>
                    </a:lnTo>
                    <a:lnTo>
                      <a:pt x="547" y="599"/>
                    </a:lnTo>
                    <a:lnTo>
                      <a:pt x="545" y="599"/>
                    </a:lnTo>
                    <a:lnTo>
                      <a:pt x="477" y="599"/>
                    </a:lnTo>
                    <a:lnTo>
                      <a:pt x="442" y="599"/>
                    </a:lnTo>
                    <a:lnTo>
                      <a:pt x="408" y="599"/>
                    </a:lnTo>
                    <a:lnTo>
                      <a:pt x="391" y="599"/>
                    </a:lnTo>
                    <a:lnTo>
                      <a:pt x="392" y="590"/>
                    </a:lnTo>
                    <a:lnTo>
                      <a:pt x="391" y="589"/>
                    </a:lnTo>
                    <a:lnTo>
                      <a:pt x="385" y="594"/>
                    </a:lnTo>
                    <a:lnTo>
                      <a:pt x="387" y="602"/>
                    </a:lnTo>
                    <a:lnTo>
                      <a:pt x="385" y="602"/>
                    </a:lnTo>
                    <a:lnTo>
                      <a:pt x="384" y="604"/>
                    </a:lnTo>
                    <a:lnTo>
                      <a:pt x="380" y="602"/>
                    </a:lnTo>
                    <a:lnTo>
                      <a:pt x="374" y="602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67" y="604"/>
                    </a:lnTo>
                    <a:lnTo>
                      <a:pt x="363" y="604"/>
                    </a:lnTo>
                    <a:lnTo>
                      <a:pt x="358" y="602"/>
                    </a:lnTo>
                    <a:lnTo>
                      <a:pt x="345" y="602"/>
                    </a:lnTo>
                    <a:lnTo>
                      <a:pt x="341" y="602"/>
                    </a:lnTo>
                    <a:lnTo>
                      <a:pt x="338" y="602"/>
                    </a:lnTo>
                    <a:lnTo>
                      <a:pt x="336" y="602"/>
                    </a:lnTo>
                    <a:lnTo>
                      <a:pt x="334" y="602"/>
                    </a:lnTo>
                    <a:lnTo>
                      <a:pt x="331" y="602"/>
                    </a:lnTo>
                    <a:lnTo>
                      <a:pt x="326" y="604"/>
                    </a:lnTo>
                    <a:lnTo>
                      <a:pt x="324" y="604"/>
                    </a:lnTo>
                    <a:lnTo>
                      <a:pt x="323" y="602"/>
                    </a:lnTo>
                    <a:lnTo>
                      <a:pt x="321" y="602"/>
                    </a:lnTo>
                    <a:lnTo>
                      <a:pt x="321" y="606"/>
                    </a:lnTo>
                    <a:lnTo>
                      <a:pt x="321" y="607"/>
                    </a:lnTo>
                    <a:lnTo>
                      <a:pt x="319" y="607"/>
                    </a:lnTo>
                    <a:lnTo>
                      <a:pt x="317" y="609"/>
                    </a:lnTo>
                    <a:lnTo>
                      <a:pt x="316" y="611"/>
                    </a:lnTo>
                    <a:lnTo>
                      <a:pt x="316" y="614"/>
                    </a:lnTo>
                    <a:lnTo>
                      <a:pt x="314" y="614"/>
                    </a:lnTo>
                    <a:lnTo>
                      <a:pt x="312" y="619"/>
                    </a:lnTo>
                    <a:lnTo>
                      <a:pt x="311" y="618"/>
                    </a:lnTo>
                    <a:lnTo>
                      <a:pt x="309" y="616"/>
                    </a:lnTo>
                    <a:lnTo>
                      <a:pt x="307" y="612"/>
                    </a:lnTo>
                    <a:lnTo>
                      <a:pt x="306" y="611"/>
                    </a:lnTo>
                    <a:lnTo>
                      <a:pt x="302" y="609"/>
                    </a:lnTo>
                    <a:lnTo>
                      <a:pt x="300" y="609"/>
                    </a:lnTo>
                    <a:lnTo>
                      <a:pt x="299" y="606"/>
                    </a:lnTo>
                    <a:lnTo>
                      <a:pt x="295" y="604"/>
                    </a:lnTo>
                    <a:lnTo>
                      <a:pt x="292" y="601"/>
                    </a:lnTo>
                    <a:lnTo>
                      <a:pt x="289" y="597"/>
                    </a:lnTo>
                    <a:lnTo>
                      <a:pt x="289" y="595"/>
                    </a:lnTo>
                    <a:lnTo>
                      <a:pt x="285" y="592"/>
                    </a:lnTo>
                    <a:lnTo>
                      <a:pt x="283" y="592"/>
                    </a:lnTo>
                    <a:lnTo>
                      <a:pt x="282" y="592"/>
                    </a:lnTo>
                    <a:lnTo>
                      <a:pt x="282" y="594"/>
                    </a:lnTo>
                    <a:lnTo>
                      <a:pt x="278" y="595"/>
                    </a:lnTo>
                    <a:lnTo>
                      <a:pt x="278" y="597"/>
                    </a:lnTo>
                    <a:lnTo>
                      <a:pt x="277" y="597"/>
                    </a:lnTo>
                    <a:lnTo>
                      <a:pt x="275" y="599"/>
                    </a:lnTo>
                    <a:lnTo>
                      <a:pt x="273" y="597"/>
                    </a:lnTo>
                    <a:lnTo>
                      <a:pt x="272" y="597"/>
                    </a:lnTo>
                    <a:lnTo>
                      <a:pt x="272" y="599"/>
                    </a:lnTo>
                    <a:lnTo>
                      <a:pt x="270" y="601"/>
                    </a:lnTo>
                    <a:lnTo>
                      <a:pt x="268" y="607"/>
                    </a:lnTo>
                    <a:lnTo>
                      <a:pt x="266" y="611"/>
                    </a:lnTo>
                    <a:lnTo>
                      <a:pt x="266" y="612"/>
                    </a:lnTo>
                    <a:lnTo>
                      <a:pt x="265" y="616"/>
                    </a:lnTo>
                    <a:lnTo>
                      <a:pt x="266" y="618"/>
                    </a:lnTo>
                    <a:lnTo>
                      <a:pt x="265" y="619"/>
                    </a:lnTo>
                    <a:lnTo>
                      <a:pt x="265" y="621"/>
                    </a:lnTo>
                    <a:lnTo>
                      <a:pt x="265" y="623"/>
                    </a:lnTo>
                    <a:lnTo>
                      <a:pt x="266" y="623"/>
                    </a:lnTo>
                    <a:lnTo>
                      <a:pt x="266" y="626"/>
                    </a:lnTo>
                    <a:lnTo>
                      <a:pt x="265" y="628"/>
                    </a:lnTo>
                    <a:lnTo>
                      <a:pt x="266" y="629"/>
                    </a:lnTo>
                    <a:lnTo>
                      <a:pt x="265" y="629"/>
                    </a:lnTo>
                    <a:lnTo>
                      <a:pt x="265" y="631"/>
                    </a:lnTo>
                    <a:lnTo>
                      <a:pt x="263" y="631"/>
                    </a:lnTo>
                    <a:lnTo>
                      <a:pt x="261" y="633"/>
                    </a:lnTo>
                    <a:lnTo>
                      <a:pt x="260" y="633"/>
                    </a:lnTo>
                    <a:lnTo>
                      <a:pt x="260" y="635"/>
                    </a:lnTo>
                    <a:lnTo>
                      <a:pt x="258" y="636"/>
                    </a:lnTo>
                    <a:lnTo>
                      <a:pt x="255" y="636"/>
                    </a:lnTo>
                    <a:lnTo>
                      <a:pt x="253" y="638"/>
                    </a:lnTo>
                    <a:lnTo>
                      <a:pt x="251" y="638"/>
                    </a:lnTo>
                    <a:lnTo>
                      <a:pt x="249" y="636"/>
                    </a:lnTo>
                    <a:lnTo>
                      <a:pt x="248" y="636"/>
                    </a:lnTo>
                    <a:lnTo>
                      <a:pt x="244" y="636"/>
                    </a:lnTo>
                    <a:lnTo>
                      <a:pt x="243" y="636"/>
                    </a:lnTo>
                    <a:lnTo>
                      <a:pt x="239" y="633"/>
                    </a:lnTo>
                    <a:lnTo>
                      <a:pt x="236" y="633"/>
                    </a:lnTo>
                    <a:lnTo>
                      <a:pt x="234" y="629"/>
                    </a:lnTo>
                    <a:lnTo>
                      <a:pt x="232" y="626"/>
                    </a:lnTo>
                    <a:lnTo>
                      <a:pt x="231" y="624"/>
                    </a:lnTo>
                    <a:lnTo>
                      <a:pt x="229" y="623"/>
                    </a:lnTo>
                    <a:lnTo>
                      <a:pt x="226" y="621"/>
                    </a:lnTo>
                    <a:lnTo>
                      <a:pt x="222" y="619"/>
                    </a:lnTo>
                    <a:lnTo>
                      <a:pt x="221" y="621"/>
                    </a:lnTo>
                    <a:lnTo>
                      <a:pt x="215" y="616"/>
                    </a:lnTo>
                    <a:lnTo>
                      <a:pt x="217" y="614"/>
                    </a:lnTo>
                    <a:lnTo>
                      <a:pt x="215" y="614"/>
                    </a:lnTo>
                    <a:lnTo>
                      <a:pt x="214" y="614"/>
                    </a:lnTo>
                    <a:lnTo>
                      <a:pt x="210" y="611"/>
                    </a:lnTo>
                    <a:lnTo>
                      <a:pt x="212" y="611"/>
                    </a:lnTo>
                    <a:lnTo>
                      <a:pt x="214" y="611"/>
                    </a:lnTo>
                    <a:lnTo>
                      <a:pt x="214" y="609"/>
                    </a:lnTo>
                    <a:lnTo>
                      <a:pt x="209" y="607"/>
                    </a:lnTo>
                    <a:lnTo>
                      <a:pt x="209" y="606"/>
                    </a:lnTo>
                    <a:lnTo>
                      <a:pt x="209" y="604"/>
                    </a:lnTo>
                    <a:lnTo>
                      <a:pt x="209" y="602"/>
                    </a:lnTo>
                    <a:lnTo>
                      <a:pt x="207" y="602"/>
                    </a:lnTo>
                    <a:lnTo>
                      <a:pt x="207" y="599"/>
                    </a:lnTo>
                    <a:lnTo>
                      <a:pt x="204" y="601"/>
                    </a:lnTo>
                    <a:lnTo>
                      <a:pt x="200" y="599"/>
                    </a:lnTo>
                    <a:lnTo>
                      <a:pt x="202" y="595"/>
                    </a:lnTo>
                    <a:lnTo>
                      <a:pt x="197" y="592"/>
                    </a:lnTo>
                    <a:lnTo>
                      <a:pt x="193" y="594"/>
                    </a:lnTo>
                    <a:lnTo>
                      <a:pt x="193" y="590"/>
                    </a:lnTo>
                    <a:lnTo>
                      <a:pt x="195" y="590"/>
                    </a:lnTo>
                    <a:lnTo>
                      <a:pt x="195" y="589"/>
                    </a:lnTo>
                    <a:lnTo>
                      <a:pt x="190" y="585"/>
                    </a:lnTo>
                    <a:lnTo>
                      <a:pt x="192" y="585"/>
                    </a:lnTo>
                    <a:lnTo>
                      <a:pt x="190" y="583"/>
                    </a:lnTo>
                    <a:lnTo>
                      <a:pt x="190" y="580"/>
                    </a:lnTo>
                    <a:lnTo>
                      <a:pt x="188" y="580"/>
                    </a:lnTo>
                    <a:lnTo>
                      <a:pt x="190" y="578"/>
                    </a:lnTo>
                    <a:lnTo>
                      <a:pt x="187" y="577"/>
                    </a:lnTo>
                    <a:lnTo>
                      <a:pt x="187" y="572"/>
                    </a:lnTo>
                    <a:lnTo>
                      <a:pt x="183" y="570"/>
                    </a:lnTo>
                    <a:lnTo>
                      <a:pt x="183" y="568"/>
                    </a:lnTo>
                    <a:lnTo>
                      <a:pt x="180" y="570"/>
                    </a:lnTo>
                    <a:lnTo>
                      <a:pt x="180" y="568"/>
                    </a:lnTo>
                    <a:lnTo>
                      <a:pt x="181" y="566"/>
                    </a:lnTo>
                    <a:lnTo>
                      <a:pt x="180" y="568"/>
                    </a:lnTo>
                    <a:lnTo>
                      <a:pt x="176" y="566"/>
                    </a:lnTo>
                    <a:lnTo>
                      <a:pt x="171" y="568"/>
                    </a:lnTo>
                    <a:lnTo>
                      <a:pt x="170" y="566"/>
                    </a:lnTo>
                    <a:lnTo>
                      <a:pt x="170" y="565"/>
                    </a:lnTo>
                    <a:lnTo>
                      <a:pt x="168" y="566"/>
                    </a:lnTo>
                    <a:lnTo>
                      <a:pt x="164" y="566"/>
                    </a:lnTo>
                    <a:lnTo>
                      <a:pt x="163" y="568"/>
                    </a:lnTo>
                    <a:lnTo>
                      <a:pt x="161" y="566"/>
                    </a:lnTo>
                    <a:lnTo>
                      <a:pt x="161" y="563"/>
                    </a:lnTo>
                    <a:lnTo>
                      <a:pt x="159" y="563"/>
                    </a:lnTo>
                    <a:lnTo>
                      <a:pt x="159" y="561"/>
                    </a:lnTo>
                    <a:lnTo>
                      <a:pt x="156" y="563"/>
                    </a:lnTo>
                    <a:lnTo>
                      <a:pt x="158" y="560"/>
                    </a:lnTo>
                    <a:lnTo>
                      <a:pt x="156" y="560"/>
                    </a:lnTo>
                    <a:lnTo>
                      <a:pt x="156" y="558"/>
                    </a:lnTo>
                    <a:lnTo>
                      <a:pt x="158" y="558"/>
                    </a:lnTo>
                    <a:lnTo>
                      <a:pt x="156" y="556"/>
                    </a:lnTo>
                    <a:lnTo>
                      <a:pt x="153" y="556"/>
                    </a:lnTo>
                    <a:lnTo>
                      <a:pt x="151" y="553"/>
                    </a:lnTo>
                    <a:lnTo>
                      <a:pt x="147" y="551"/>
                    </a:lnTo>
                    <a:lnTo>
                      <a:pt x="147" y="549"/>
                    </a:lnTo>
                    <a:lnTo>
                      <a:pt x="144" y="548"/>
                    </a:lnTo>
                    <a:lnTo>
                      <a:pt x="144" y="546"/>
                    </a:lnTo>
                    <a:lnTo>
                      <a:pt x="142" y="546"/>
                    </a:lnTo>
                    <a:lnTo>
                      <a:pt x="142" y="548"/>
                    </a:lnTo>
                    <a:lnTo>
                      <a:pt x="141" y="544"/>
                    </a:lnTo>
                    <a:lnTo>
                      <a:pt x="137" y="544"/>
                    </a:lnTo>
                    <a:lnTo>
                      <a:pt x="137" y="541"/>
                    </a:lnTo>
                    <a:lnTo>
                      <a:pt x="134" y="541"/>
                    </a:lnTo>
                    <a:lnTo>
                      <a:pt x="132" y="543"/>
                    </a:lnTo>
                    <a:lnTo>
                      <a:pt x="130" y="543"/>
                    </a:lnTo>
                    <a:lnTo>
                      <a:pt x="127" y="541"/>
                    </a:lnTo>
                    <a:lnTo>
                      <a:pt x="127" y="543"/>
                    </a:lnTo>
                    <a:lnTo>
                      <a:pt x="124" y="543"/>
                    </a:lnTo>
                    <a:lnTo>
                      <a:pt x="122" y="543"/>
                    </a:lnTo>
                    <a:lnTo>
                      <a:pt x="122" y="541"/>
                    </a:lnTo>
                    <a:lnTo>
                      <a:pt x="119" y="541"/>
                    </a:lnTo>
                    <a:lnTo>
                      <a:pt x="117" y="543"/>
                    </a:lnTo>
                    <a:lnTo>
                      <a:pt x="117" y="541"/>
                    </a:lnTo>
                    <a:lnTo>
                      <a:pt x="115" y="543"/>
                    </a:lnTo>
                    <a:lnTo>
                      <a:pt x="113" y="541"/>
                    </a:lnTo>
                    <a:lnTo>
                      <a:pt x="112" y="541"/>
                    </a:lnTo>
                    <a:lnTo>
                      <a:pt x="110" y="541"/>
                    </a:lnTo>
                    <a:lnTo>
                      <a:pt x="110" y="543"/>
                    </a:lnTo>
                    <a:lnTo>
                      <a:pt x="108" y="541"/>
                    </a:lnTo>
                    <a:lnTo>
                      <a:pt x="107" y="543"/>
                    </a:lnTo>
                    <a:lnTo>
                      <a:pt x="107" y="541"/>
                    </a:lnTo>
                    <a:lnTo>
                      <a:pt x="107" y="539"/>
                    </a:lnTo>
                    <a:lnTo>
                      <a:pt x="105" y="539"/>
                    </a:lnTo>
                    <a:lnTo>
                      <a:pt x="105" y="541"/>
                    </a:lnTo>
                    <a:lnTo>
                      <a:pt x="103" y="543"/>
                    </a:lnTo>
                    <a:lnTo>
                      <a:pt x="102" y="543"/>
                    </a:lnTo>
                    <a:lnTo>
                      <a:pt x="100" y="539"/>
                    </a:lnTo>
                    <a:lnTo>
                      <a:pt x="98" y="541"/>
                    </a:lnTo>
                    <a:lnTo>
                      <a:pt x="100" y="543"/>
                    </a:lnTo>
                    <a:lnTo>
                      <a:pt x="98" y="544"/>
                    </a:lnTo>
                    <a:lnTo>
                      <a:pt x="96" y="544"/>
                    </a:lnTo>
                    <a:lnTo>
                      <a:pt x="93" y="546"/>
                    </a:lnTo>
                    <a:lnTo>
                      <a:pt x="88" y="544"/>
                    </a:lnTo>
                    <a:lnTo>
                      <a:pt x="83" y="546"/>
                    </a:lnTo>
                    <a:lnTo>
                      <a:pt x="81" y="544"/>
                    </a:lnTo>
                    <a:lnTo>
                      <a:pt x="78" y="546"/>
                    </a:lnTo>
                    <a:lnTo>
                      <a:pt x="78" y="548"/>
                    </a:lnTo>
                    <a:lnTo>
                      <a:pt x="76" y="548"/>
                    </a:lnTo>
                    <a:lnTo>
                      <a:pt x="73" y="548"/>
                    </a:lnTo>
                    <a:lnTo>
                      <a:pt x="73" y="549"/>
                    </a:lnTo>
                    <a:lnTo>
                      <a:pt x="69" y="549"/>
                    </a:lnTo>
                    <a:lnTo>
                      <a:pt x="62" y="548"/>
                    </a:lnTo>
                    <a:lnTo>
                      <a:pt x="61" y="549"/>
                    </a:lnTo>
                    <a:lnTo>
                      <a:pt x="61" y="548"/>
                    </a:lnTo>
                    <a:lnTo>
                      <a:pt x="59" y="548"/>
                    </a:lnTo>
                    <a:lnTo>
                      <a:pt x="56" y="549"/>
                    </a:lnTo>
                    <a:lnTo>
                      <a:pt x="54" y="548"/>
                    </a:lnTo>
                    <a:lnTo>
                      <a:pt x="51" y="549"/>
                    </a:lnTo>
                    <a:lnTo>
                      <a:pt x="49" y="548"/>
                    </a:lnTo>
                    <a:lnTo>
                      <a:pt x="47" y="546"/>
                    </a:lnTo>
                    <a:lnTo>
                      <a:pt x="45" y="546"/>
                    </a:lnTo>
                    <a:lnTo>
                      <a:pt x="44" y="548"/>
                    </a:lnTo>
                    <a:lnTo>
                      <a:pt x="40" y="548"/>
                    </a:lnTo>
                    <a:lnTo>
                      <a:pt x="39" y="548"/>
                    </a:lnTo>
                    <a:lnTo>
                      <a:pt x="39" y="549"/>
                    </a:lnTo>
                    <a:lnTo>
                      <a:pt x="39" y="551"/>
                    </a:lnTo>
                    <a:lnTo>
                      <a:pt x="39" y="553"/>
                    </a:lnTo>
                    <a:lnTo>
                      <a:pt x="37" y="553"/>
                    </a:lnTo>
                    <a:lnTo>
                      <a:pt x="37" y="556"/>
                    </a:lnTo>
                    <a:lnTo>
                      <a:pt x="35" y="558"/>
                    </a:lnTo>
                    <a:lnTo>
                      <a:pt x="35" y="560"/>
                    </a:lnTo>
                    <a:lnTo>
                      <a:pt x="35" y="561"/>
                    </a:lnTo>
                    <a:lnTo>
                      <a:pt x="34" y="563"/>
                    </a:lnTo>
                    <a:lnTo>
                      <a:pt x="32" y="563"/>
                    </a:lnTo>
                    <a:lnTo>
                      <a:pt x="30" y="565"/>
                    </a:lnTo>
                    <a:lnTo>
                      <a:pt x="32" y="568"/>
                    </a:lnTo>
                    <a:lnTo>
                      <a:pt x="28" y="572"/>
                    </a:lnTo>
                    <a:lnTo>
                      <a:pt x="28" y="570"/>
                    </a:lnTo>
                    <a:lnTo>
                      <a:pt x="28" y="572"/>
                    </a:lnTo>
                    <a:lnTo>
                      <a:pt x="27" y="560"/>
                    </a:lnTo>
                    <a:lnTo>
                      <a:pt x="30" y="549"/>
                    </a:lnTo>
                    <a:lnTo>
                      <a:pt x="32" y="543"/>
                    </a:lnTo>
                    <a:lnTo>
                      <a:pt x="35" y="531"/>
                    </a:lnTo>
                    <a:lnTo>
                      <a:pt x="40" y="519"/>
                    </a:lnTo>
                    <a:lnTo>
                      <a:pt x="45" y="509"/>
                    </a:lnTo>
                    <a:lnTo>
                      <a:pt x="49" y="498"/>
                    </a:lnTo>
                    <a:lnTo>
                      <a:pt x="51" y="488"/>
                    </a:lnTo>
                    <a:lnTo>
                      <a:pt x="52" y="473"/>
                    </a:lnTo>
                    <a:lnTo>
                      <a:pt x="52" y="471"/>
                    </a:lnTo>
                    <a:lnTo>
                      <a:pt x="52" y="464"/>
                    </a:lnTo>
                    <a:lnTo>
                      <a:pt x="51" y="449"/>
                    </a:lnTo>
                    <a:lnTo>
                      <a:pt x="47" y="439"/>
                    </a:lnTo>
                    <a:lnTo>
                      <a:pt x="44" y="425"/>
                    </a:lnTo>
                    <a:lnTo>
                      <a:pt x="39" y="417"/>
                    </a:lnTo>
                    <a:lnTo>
                      <a:pt x="35" y="412"/>
                    </a:lnTo>
                    <a:lnTo>
                      <a:pt x="30" y="408"/>
                    </a:lnTo>
                    <a:lnTo>
                      <a:pt x="28" y="403"/>
                    </a:lnTo>
                    <a:lnTo>
                      <a:pt x="27" y="403"/>
                    </a:lnTo>
                    <a:lnTo>
                      <a:pt x="28" y="401"/>
                    </a:lnTo>
                    <a:lnTo>
                      <a:pt x="28" y="403"/>
                    </a:lnTo>
                    <a:lnTo>
                      <a:pt x="28" y="401"/>
                    </a:lnTo>
                    <a:lnTo>
                      <a:pt x="28" y="403"/>
                    </a:lnTo>
                    <a:lnTo>
                      <a:pt x="30" y="403"/>
                    </a:lnTo>
                    <a:lnTo>
                      <a:pt x="34" y="401"/>
                    </a:lnTo>
                    <a:lnTo>
                      <a:pt x="35" y="400"/>
                    </a:lnTo>
                    <a:lnTo>
                      <a:pt x="39" y="395"/>
                    </a:lnTo>
                    <a:lnTo>
                      <a:pt x="37" y="395"/>
                    </a:lnTo>
                    <a:lnTo>
                      <a:pt x="34" y="398"/>
                    </a:lnTo>
                    <a:lnTo>
                      <a:pt x="35" y="395"/>
                    </a:lnTo>
                    <a:lnTo>
                      <a:pt x="34" y="396"/>
                    </a:lnTo>
                    <a:lnTo>
                      <a:pt x="34" y="400"/>
                    </a:lnTo>
                    <a:lnTo>
                      <a:pt x="32" y="400"/>
                    </a:lnTo>
                    <a:lnTo>
                      <a:pt x="32" y="401"/>
                    </a:lnTo>
                    <a:lnTo>
                      <a:pt x="30" y="400"/>
                    </a:lnTo>
                    <a:lnTo>
                      <a:pt x="32" y="395"/>
                    </a:lnTo>
                    <a:lnTo>
                      <a:pt x="35" y="390"/>
                    </a:lnTo>
                    <a:lnTo>
                      <a:pt x="34" y="391"/>
                    </a:lnTo>
                    <a:lnTo>
                      <a:pt x="35" y="386"/>
                    </a:lnTo>
                    <a:lnTo>
                      <a:pt x="37" y="384"/>
                    </a:lnTo>
                    <a:lnTo>
                      <a:pt x="39" y="384"/>
                    </a:lnTo>
                    <a:lnTo>
                      <a:pt x="39" y="386"/>
                    </a:lnTo>
                    <a:lnTo>
                      <a:pt x="40" y="384"/>
                    </a:lnTo>
                    <a:lnTo>
                      <a:pt x="39" y="384"/>
                    </a:lnTo>
                    <a:lnTo>
                      <a:pt x="40" y="383"/>
                    </a:lnTo>
                    <a:lnTo>
                      <a:pt x="40" y="379"/>
                    </a:lnTo>
                    <a:lnTo>
                      <a:pt x="40" y="378"/>
                    </a:lnTo>
                    <a:lnTo>
                      <a:pt x="40" y="376"/>
                    </a:lnTo>
                    <a:lnTo>
                      <a:pt x="39" y="378"/>
                    </a:lnTo>
                    <a:lnTo>
                      <a:pt x="39" y="376"/>
                    </a:lnTo>
                    <a:lnTo>
                      <a:pt x="42" y="371"/>
                    </a:lnTo>
                    <a:lnTo>
                      <a:pt x="42" y="369"/>
                    </a:lnTo>
                    <a:lnTo>
                      <a:pt x="42" y="367"/>
                    </a:lnTo>
                    <a:lnTo>
                      <a:pt x="40" y="364"/>
                    </a:lnTo>
                    <a:lnTo>
                      <a:pt x="42" y="364"/>
                    </a:lnTo>
                    <a:lnTo>
                      <a:pt x="44" y="361"/>
                    </a:lnTo>
                    <a:lnTo>
                      <a:pt x="42" y="357"/>
                    </a:lnTo>
                    <a:lnTo>
                      <a:pt x="40" y="357"/>
                    </a:lnTo>
                    <a:lnTo>
                      <a:pt x="37" y="350"/>
                    </a:lnTo>
                    <a:lnTo>
                      <a:pt x="35" y="350"/>
                    </a:lnTo>
                    <a:lnTo>
                      <a:pt x="35" y="349"/>
                    </a:lnTo>
                    <a:lnTo>
                      <a:pt x="34" y="345"/>
                    </a:lnTo>
                    <a:lnTo>
                      <a:pt x="32" y="340"/>
                    </a:lnTo>
                    <a:lnTo>
                      <a:pt x="32" y="339"/>
                    </a:lnTo>
                    <a:lnTo>
                      <a:pt x="28" y="337"/>
                    </a:lnTo>
                    <a:lnTo>
                      <a:pt x="28" y="335"/>
                    </a:lnTo>
                    <a:lnTo>
                      <a:pt x="27" y="333"/>
                    </a:lnTo>
                    <a:lnTo>
                      <a:pt x="27" y="344"/>
                    </a:lnTo>
                    <a:lnTo>
                      <a:pt x="20" y="337"/>
                    </a:lnTo>
                    <a:lnTo>
                      <a:pt x="20" y="333"/>
                    </a:lnTo>
                    <a:lnTo>
                      <a:pt x="18" y="333"/>
                    </a:lnTo>
                    <a:lnTo>
                      <a:pt x="17" y="330"/>
                    </a:lnTo>
                    <a:lnTo>
                      <a:pt x="15" y="328"/>
                    </a:lnTo>
                    <a:lnTo>
                      <a:pt x="15" y="325"/>
                    </a:lnTo>
                    <a:lnTo>
                      <a:pt x="13" y="323"/>
                    </a:lnTo>
                    <a:lnTo>
                      <a:pt x="11" y="322"/>
                    </a:lnTo>
                    <a:lnTo>
                      <a:pt x="10" y="320"/>
                    </a:lnTo>
                    <a:lnTo>
                      <a:pt x="8" y="315"/>
                    </a:lnTo>
                    <a:lnTo>
                      <a:pt x="8" y="311"/>
                    </a:lnTo>
                    <a:lnTo>
                      <a:pt x="6" y="313"/>
                    </a:lnTo>
                    <a:lnTo>
                      <a:pt x="6" y="315"/>
                    </a:lnTo>
                    <a:lnTo>
                      <a:pt x="5" y="315"/>
                    </a:lnTo>
                    <a:lnTo>
                      <a:pt x="3" y="318"/>
                    </a:lnTo>
                    <a:lnTo>
                      <a:pt x="3" y="320"/>
                    </a:lnTo>
                    <a:lnTo>
                      <a:pt x="3" y="318"/>
                    </a:lnTo>
                    <a:lnTo>
                      <a:pt x="1" y="318"/>
                    </a:lnTo>
                    <a:lnTo>
                      <a:pt x="1" y="320"/>
                    </a:lnTo>
                    <a:lnTo>
                      <a:pt x="3" y="320"/>
                    </a:lnTo>
                    <a:lnTo>
                      <a:pt x="3" y="322"/>
                    </a:lnTo>
                    <a:lnTo>
                      <a:pt x="3" y="325"/>
                    </a:lnTo>
                    <a:lnTo>
                      <a:pt x="1" y="325"/>
                    </a:lnTo>
                    <a:lnTo>
                      <a:pt x="0" y="327"/>
                    </a:lnTo>
                    <a:lnTo>
                      <a:pt x="1" y="328"/>
                    </a:lnTo>
                    <a:lnTo>
                      <a:pt x="1" y="332"/>
                    </a:lnTo>
                    <a:lnTo>
                      <a:pt x="0" y="325"/>
                    </a:lnTo>
                    <a:lnTo>
                      <a:pt x="6" y="303"/>
                    </a:lnTo>
                    <a:lnTo>
                      <a:pt x="66" y="303"/>
                    </a:lnTo>
                    <a:lnTo>
                      <a:pt x="115" y="303"/>
                    </a:lnTo>
                    <a:lnTo>
                      <a:pt x="144" y="303"/>
                    </a:lnTo>
                    <a:lnTo>
                      <a:pt x="205" y="305"/>
                    </a:lnTo>
                    <a:lnTo>
                      <a:pt x="204" y="288"/>
                    </a:lnTo>
                    <a:lnTo>
                      <a:pt x="198" y="238"/>
                    </a:lnTo>
                    <a:lnTo>
                      <a:pt x="198" y="233"/>
                    </a:lnTo>
                    <a:lnTo>
                      <a:pt x="200" y="225"/>
                    </a:lnTo>
                    <a:lnTo>
                      <a:pt x="205" y="219"/>
                    </a:lnTo>
                    <a:lnTo>
                      <a:pt x="207" y="216"/>
                    </a:lnTo>
                    <a:lnTo>
                      <a:pt x="227" y="204"/>
                    </a:lnTo>
                    <a:lnTo>
                      <a:pt x="239" y="202"/>
                    </a:lnTo>
                    <a:lnTo>
                      <a:pt x="249" y="197"/>
                    </a:lnTo>
                    <a:lnTo>
                      <a:pt x="256" y="196"/>
                    </a:lnTo>
                    <a:lnTo>
                      <a:pt x="256" y="145"/>
                    </a:lnTo>
                    <a:lnTo>
                      <a:pt x="256" y="117"/>
                    </a:lnTo>
                    <a:lnTo>
                      <a:pt x="256" y="68"/>
                    </a:lnTo>
                    <a:lnTo>
                      <a:pt x="314" y="66"/>
                    </a:lnTo>
                    <a:lnTo>
                      <a:pt x="425" y="66"/>
                    </a:lnTo>
                    <a:lnTo>
                      <a:pt x="425" y="37"/>
                    </a:lnTo>
                    <a:lnTo>
                      <a:pt x="425" y="22"/>
                    </a:lnTo>
                    <a:lnTo>
                      <a:pt x="425" y="0"/>
                    </a:lnTo>
                    <a:close/>
                    <a:moveTo>
                      <a:pt x="37" y="379"/>
                    </a:moveTo>
                    <a:lnTo>
                      <a:pt x="37" y="381"/>
                    </a:lnTo>
                    <a:lnTo>
                      <a:pt x="35" y="383"/>
                    </a:lnTo>
                    <a:lnTo>
                      <a:pt x="35" y="386"/>
                    </a:lnTo>
                    <a:lnTo>
                      <a:pt x="32" y="391"/>
                    </a:lnTo>
                    <a:lnTo>
                      <a:pt x="30" y="390"/>
                    </a:lnTo>
                    <a:lnTo>
                      <a:pt x="30" y="386"/>
                    </a:lnTo>
                    <a:lnTo>
                      <a:pt x="28" y="388"/>
                    </a:lnTo>
                    <a:lnTo>
                      <a:pt x="28" y="384"/>
                    </a:lnTo>
                    <a:lnTo>
                      <a:pt x="30" y="384"/>
                    </a:lnTo>
                    <a:lnTo>
                      <a:pt x="32" y="384"/>
                    </a:lnTo>
                    <a:lnTo>
                      <a:pt x="32" y="379"/>
                    </a:lnTo>
                    <a:lnTo>
                      <a:pt x="34" y="379"/>
                    </a:lnTo>
                    <a:lnTo>
                      <a:pt x="35" y="378"/>
                    </a:lnTo>
                    <a:lnTo>
                      <a:pt x="37" y="379"/>
                    </a:lnTo>
                    <a:close/>
                    <a:moveTo>
                      <a:pt x="30" y="340"/>
                    </a:moveTo>
                    <a:lnTo>
                      <a:pt x="30" y="342"/>
                    </a:lnTo>
                    <a:lnTo>
                      <a:pt x="30" y="340"/>
                    </a:lnTo>
                    <a:close/>
                    <a:moveTo>
                      <a:pt x="35" y="383"/>
                    </a:moveTo>
                    <a:lnTo>
                      <a:pt x="37" y="383"/>
                    </a:lnTo>
                    <a:lnTo>
                      <a:pt x="37" y="386"/>
                    </a:lnTo>
                    <a:lnTo>
                      <a:pt x="35" y="386"/>
                    </a:lnTo>
                    <a:lnTo>
                      <a:pt x="35" y="383"/>
                    </a:lnTo>
                    <a:close/>
                    <a:moveTo>
                      <a:pt x="28" y="339"/>
                    </a:moveTo>
                    <a:lnTo>
                      <a:pt x="28" y="340"/>
                    </a:lnTo>
                    <a:lnTo>
                      <a:pt x="28" y="339"/>
                    </a:lnTo>
                    <a:close/>
                    <a:moveTo>
                      <a:pt x="28" y="339"/>
                    </a:moveTo>
                    <a:lnTo>
                      <a:pt x="28" y="342"/>
                    </a:lnTo>
                    <a:lnTo>
                      <a:pt x="28" y="339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1" name="Freeform 42">
                <a:extLst>
                  <a:ext uri="{FF2B5EF4-FFF2-40B4-BE49-F238E27FC236}">
                    <a16:creationId xmlns:a16="http://schemas.microsoft.com/office/drawing/2014/main" id="{8E392324-739D-4DDC-931E-0245F721FB9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17799" y="565126"/>
                <a:ext cx="976283" cy="663548"/>
              </a:xfrm>
              <a:custGeom>
                <a:avLst/>
                <a:gdLst>
                  <a:gd name="T0" fmla="*/ 399 w 615"/>
                  <a:gd name="T1" fmla="*/ 11 h 418"/>
                  <a:gd name="T2" fmla="*/ 413 w 615"/>
                  <a:gd name="T3" fmla="*/ 25 h 418"/>
                  <a:gd name="T4" fmla="*/ 433 w 615"/>
                  <a:gd name="T5" fmla="*/ 37 h 418"/>
                  <a:gd name="T6" fmla="*/ 462 w 615"/>
                  <a:gd name="T7" fmla="*/ 34 h 418"/>
                  <a:gd name="T8" fmla="*/ 477 w 615"/>
                  <a:gd name="T9" fmla="*/ 32 h 418"/>
                  <a:gd name="T10" fmla="*/ 508 w 615"/>
                  <a:gd name="T11" fmla="*/ 32 h 418"/>
                  <a:gd name="T12" fmla="*/ 518 w 615"/>
                  <a:gd name="T13" fmla="*/ 25 h 418"/>
                  <a:gd name="T14" fmla="*/ 518 w 615"/>
                  <a:gd name="T15" fmla="*/ 34 h 418"/>
                  <a:gd name="T16" fmla="*/ 525 w 615"/>
                  <a:gd name="T17" fmla="*/ 40 h 418"/>
                  <a:gd name="T18" fmla="*/ 539 w 615"/>
                  <a:gd name="T19" fmla="*/ 42 h 418"/>
                  <a:gd name="T20" fmla="*/ 564 w 615"/>
                  <a:gd name="T21" fmla="*/ 51 h 418"/>
                  <a:gd name="T22" fmla="*/ 576 w 615"/>
                  <a:gd name="T23" fmla="*/ 57 h 418"/>
                  <a:gd name="T24" fmla="*/ 579 w 615"/>
                  <a:gd name="T25" fmla="*/ 71 h 418"/>
                  <a:gd name="T26" fmla="*/ 581 w 615"/>
                  <a:gd name="T27" fmla="*/ 103 h 418"/>
                  <a:gd name="T28" fmla="*/ 586 w 615"/>
                  <a:gd name="T29" fmla="*/ 117 h 418"/>
                  <a:gd name="T30" fmla="*/ 583 w 615"/>
                  <a:gd name="T31" fmla="*/ 132 h 418"/>
                  <a:gd name="T32" fmla="*/ 590 w 615"/>
                  <a:gd name="T33" fmla="*/ 149 h 418"/>
                  <a:gd name="T34" fmla="*/ 605 w 615"/>
                  <a:gd name="T35" fmla="*/ 185 h 418"/>
                  <a:gd name="T36" fmla="*/ 608 w 615"/>
                  <a:gd name="T37" fmla="*/ 192 h 418"/>
                  <a:gd name="T38" fmla="*/ 568 w 615"/>
                  <a:gd name="T39" fmla="*/ 190 h 418"/>
                  <a:gd name="T40" fmla="*/ 539 w 615"/>
                  <a:gd name="T41" fmla="*/ 190 h 418"/>
                  <a:gd name="T42" fmla="*/ 501 w 615"/>
                  <a:gd name="T43" fmla="*/ 214 h 418"/>
                  <a:gd name="T44" fmla="*/ 476 w 615"/>
                  <a:gd name="T45" fmla="*/ 233 h 418"/>
                  <a:gd name="T46" fmla="*/ 476 w 615"/>
                  <a:gd name="T47" fmla="*/ 243 h 418"/>
                  <a:gd name="T48" fmla="*/ 481 w 615"/>
                  <a:gd name="T49" fmla="*/ 239 h 418"/>
                  <a:gd name="T50" fmla="*/ 483 w 615"/>
                  <a:gd name="T51" fmla="*/ 243 h 418"/>
                  <a:gd name="T52" fmla="*/ 486 w 615"/>
                  <a:gd name="T53" fmla="*/ 251 h 418"/>
                  <a:gd name="T54" fmla="*/ 435 w 615"/>
                  <a:gd name="T55" fmla="*/ 285 h 418"/>
                  <a:gd name="T56" fmla="*/ 398 w 615"/>
                  <a:gd name="T57" fmla="*/ 311 h 418"/>
                  <a:gd name="T58" fmla="*/ 381 w 615"/>
                  <a:gd name="T59" fmla="*/ 328 h 418"/>
                  <a:gd name="T60" fmla="*/ 375 w 615"/>
                  <a:gd name="T61" fmla="*/ 319 h 418"/>
                  <a:gd name="T62" fmla="*/ 353 w 615"/>
                  <a:gd name="T63" fmla="*/ 326 h 418"/>
                  <a:gd name="T64" fmla="*/ 340 w 615"/>
                  <a:gd name="T65" fmla="*/ 324 h 418"/>
                  <a:gd name="T66" fmla="*/ 321 w 615"/>
                  <a:gd name="T67" fmla="*/ 326 h 418"/>
                  <a:gd name="T68" fmla="*/ 296 w 615"/>
                  <a:gd name="T69" fmla="*/ 330 h 418"/>
                  <a:gd name="T70" fmla="*/ 273 w 615"/>
                  <a:gd name="T71" fmla="*/ 336 h 418"/>
                  <a:gd name="T72" fmla="*/ 228 w 615"/>
                  <a:gd name="T73" fmla="*/ 386 h 418"/>
                  <a:gd name="T74" fmla="*/ 109 w 615"/>
                  <a:gd name="T75" fmla="*/ 416 h 418"/>
                  <a:gd name="T76" fmla="*/ 0 w 615"/>
                  <a:gd name="T77" fmla="*/ 416 h 418"/>
                  <a:gd name="T78" fmla="*/ 47 w 615"/>
                  <a:gd name="T79" fmla="*/ 398 h 418"/>
                  <a:gd name="T80" fmla="*/ 47 w 615"/>
                  <a:gd name="T81" fmla="*/ 398 h 418"/>
                  <a:gd name="T82" fmla="*/ 92 w 615"/>
                  <a:gd name="T83" fmla="*/ 377 h 418"/>
                  <a:gd name="T84" fmla="*/ 137 w 615"/>
                  <a:gd name="T85" fmla="*/ 345 h 418"/>
                  <a:gd name="T86" fmla="*/ 161 w 615"/>
                  <a:gd name="T87" fmla="*/ 316 h 418"/>
                  <a:gd name="T88" fmla="*/ 178 w 615"/>
                  <a:gd name="T89" fmla="*/ 279 h 418"/>
                  <a:gd name="T90" fmla="*/ 170 w 615"/>
                  <a:gd name="T91" fmla="*/ 258 h 418"/>
                  <a:gd name="T92" fmla="*/ 168 w 615"/>
                  <a:gd name="T93" fmla="*/ 243 h 418"/>
                  <a:gd name="T94" fmla="*/ 177 w 615"/>
                  <a:gd name="T95" fmla="*/ 217 h 418"/>
                  <a:gd name="T96" fmla="*/ 197 w 615"/>
                  <a:gd name="T97" fmla="*/ 185 h 418"/>
                  <a:gd name="T98" fmla="*/ 197 w 615"/>
                  <a:gd name="T99" fmla="*/ 171 h 418"/>
                  <a:gd name="T100" fmla="*/ 229 w 615"/>
                  <a:gd name="T101" fmla="*/ 141 h 418"/>
                  <a:gd name="T102" fmla="*/ 239 w 615"/>
                  <a:gd name="T103" fmla="*/ 134 h 418"/>
                  <a:gd name="T104" fmla="*/ 279 w 615"/>
                  <a:gd name="T105" fmla="*/ 117 h 418"/>
                  <a:gd name="T106" fmla="*/ 292 w 615"/>
                  <a:gd name="T107" fmla="*/ 112 h 418"/>
                  <a:gd name="T108" fmla="*/ 311 w 615"/>
                  <a:gd name="T109" fmla="*/ 103 h 418"/>
                  <a:gd name="T110" fmla="*/ 336 w 615"/>
                  <a:gd name="T111" fmla="*/ 74 h 418"/>
                  <a:gd name="T112" fmla="*/ 358 w 615"/>
                  <a:gd name="T113" fmla="*/ 27 h 418"/>
                  <a:gd name="T114" fmla="*/ 374 w 615"/>
                  <a:gd name="T115" fmla="*/ 6 h 418"/>
                  <a:gd name="T116" fmla="*/ 389 w 615"/>
                  <a:gd name="T117" fmla="*/ 0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15" h="418">
                    <a:moveTo>
                      <a:pt x="394" y="0"/>
                    </a:moveTo>
                    <a:lnTo>
                      <a:pt x="394" y="1"/>
                    </a:lnTo>
                    <a:lnTo>
                      <a:pt x="396" y="1"/>
                    </a:lnTo>
                    <a:lnTo>
                      <a:pt x="396" y="10"/>
                    </a:lnTo>
                    <a:lnTo>
                      <a:pt x="398" y="11"/>
                    </a:lnTo>
                    <a:lnTo>
                      <a:pt x="399" y="11"/>
                    </a:lnTo>
                    <a:lnTo>
                      <a:pt x="399" y="13"/>
                    </a:lnTo>
                    <a:lnTo>
                      <a:pt x="401" y="18"/>
                    </a:lnTo>
                    <a:lnTo>
                      <a:pt x="404" y="18"/>
                    </a:lnTo>
                    <a:lnTo>
                      <a:pt x="408" y="22"/>
                    </a:lnTo>
                    <a:lnTo>
                      <a:pt x="411" y="25"/>
                    </a:lnTo>
                    <a:lnTo>
                      <a:pt x="413" y="25"/>
                    </a:lnTo>
                    <a:lnTo>
                      <a:pt x="418" y="30"/>
                    </a:lnTo>
                    <a:lnTo>
                      <a:pt x="420" y="30"/>
                    </a:lnTo>
                    <a:lnTo>
                      <a:pt x="426" y="35"/>
                    </a:lnTo>
                    <a:lnTo>
                      <a:pt x="430" y="35"/>
                    </a:lnTo>
                    <a:lnTo>
                      <a:pt x="432" y="35"/>
                    </a:lnTo>
                    <a:lnTo>
                      <a:pt x="433" y="37"/>
                    </a:lnTo>
                    <a:lnTo>
                      <a:pt x="440" y="37"/>
                    </a:lnTo>
                    <a:lnTo>
                      <a:pt x="442" y="39"/>
                    </a:lnTo>
                    <a:lnTo>
                      <a:pt x="447" y="39"/>
                    </a:lnTo>
                    <a:lnTo>
                      <a:pt x="450" y="37"/>
                    </a:lnTo>
                    <a:lnTo>
                      <a:pt x="457" y="35"/>
                    </a:lnTo>
                    <a:lnTo>
                      <a:pt x="462" y="34"/>
                    </a:lnTo>
                    <a:lnTo>
                      <a:pt x="466" y="34"/>
                    </a:lnTo>
                    <a:lnTo>
                      <a:pt x="467" y="32"/>
                    </a:lnTo>
                    <a:lnTo>
                      <a:pt x="469" y="35"/>
                    </a:lnTo>
                    <a:lnTo>
                      <a:pt x="474" y="35"/>
                    </a:lnTo>
                    <a:lnTo>
                      <a:pt x="476" y="35"/>
                    </a:lnTo>
                    <a:lnTo>
                      <a:pt x="477" y="32"/>
                    </a:lnTo>
                    <a:lnTo>
                      <a:pt x="479" y="32"/>
                    </a:lnTo>
                    <a:lnTo>
                      <a:pt x="481" y="32"/>
                    </a:lnTo>
                    <a:lnTo>
                      <a:pt x="486" y="35"/>
                    </a:lnTo>
                    <a:lnTo>
                      <a:pt x="498" y="37"/>
                    </a:lnTo>
                    <a:lnTo>
                      <a:pt x="505" y="34"/>
                    </a:lnTo>
                    <a:lnTo>
                      <a:pt x="508" y="32"/>
                    </a:lnTo>
                    <a:lnTo>
                      <a:pt x="510" y="32"/>
                    </a:lnTo>
                    <a:lnTo>
                      <a:pt x="511" y="32"/>
                    </a:lnTo>
                    <a:lnTo>
                      <a:pt x="515" y="27"/>
                    </a:lnTo>
                    <a:lnTo>
                      <a:pt x="515" y="23"/>
                    </a:lnTo>
                    <a:lnTo>
                      <a:pt x="517" y="23"/>
                    </a:lnTo>
                    <a:lnTo>
                      <a:pt x="518" y="25"/>
                    </a:lnTo>
                    <a:lnTo>
                      <a:pt x="517" y="27"/>
                    </a:lnTo>
                    <a:lnTo>
                      <a:pt x="517" y="30"/>
                    </a:lnTo>
                    <a:lnTo>
                      <a:pt x="517" y="32"/>
                    </a:lnTo>
                    <a:lnTo>
                      <a:pt x="518" y="32"/>
                    </a:lnTo>
                    <a:lnTo>
                      <a:pt x="523" y="35"/>
                    </a:lnTo>
                    <a:lnTo>
                      <a:pt x="518" y="34"/>
                    </a:lnTo>
                    <a:lnTo>
                      <a:pt x="518" y="35"/>
                    </a:lnTo>
                    <a:lnTo>
                      <a:pt x="520" y="35"/>
                    </a:lnTo>
                    <a:lnTo>
                      <a:pt x="518" y="35"/>
                    </a:lnTo>
                    <a:lnTo>
                      <a:pt x="518" y="37"/>
                    </a:lnTo>
                    <a:lnTo>
                      <a:pt x="522" y="39"/>
                    </a:lnTo>
                    <a:lnTo>
                      <a:pt x="525" y="40"/>
                    </a:lnTo>
                    <a:lnTo>
                      <a:pt x="527" y="40"/>
                    </a:lnTo>
                    <a:lnTo>
                      <a:pt x="528" y="40"/>
                    </a:lnTo>
                    <a:lnTo>
                      <a:pt x="523" y="37"/>
                    </a:lnTo>
                    <a:lnTo>
                      <a:pt x="528" y="40"/>
                    </a:lnTo>
                    <a:lnTo>
                      <a:pt x="534" y="42"/>
                    </a:lnTo>
                    <a:lnTo>
                      <a:pt x="539" y="42"/>
                    </a:lnTo>
                    <a:lnTo>
                      <a:pt x="544" y="39"/>
                    </a:lnTo>
                    <a:lnTo>
                      <a:pt x="556" y="42"/>
                    </a:lnTo>
                    <a:lnTo>
                      <a:pt x="554" y="44"/>
                    </a:lnTo>
                    <a:lnTo>
                      <a:pt x="557" y="45"/>
                    </a:lnTo>
                    <a:lnTo>
                      <a:pt x="559" y="45"/>
                    </a:lnTo>
                    <a:lnTo>
                      <a:pt x="564" y="51"/>
                    </a:lnTo>
                    <a:lnTo>
                      <a:pt x="568" y="49"/>
                    </a:lnTo>
                    <a:lnTo>
                      <a:pt x="568" y="52"/>
                    </a:lnTo>
                    <a:lnTo>
                      <a:pt x="571" y="54"/>
                    </a:lnTo>
                    <a:lnTo>
                      <a:pt x="571" y="56"/>
                    </a:lnTo>
                    <a:lnTo>
                      <a:pt x="574" y="57"/>
                    </a:lnTo>
                    <a:lnTo>
                      <a:pt x="576" y="57"/>
                    </a:lnTo>
                    <a:lnTo>
                      <a:pt x="574" y="57"/>
                    </a:lnTo>
                    <a:lnTo>
                      <a:pt x="579" y="59"/>
                    </a:lnTo>
                    <a:lnTo>
                      <a:pt x="578" y="61"/>
                    </a:lnTo>
                    <a:lnTo>
                      <a:pt x="573" y="66"/>
                    </a:lnTo>
                    <a:lnTo>
                      <a:pt x="574" y="66"/>
                    </a:lnTo>
                    <a:lnTo>
                      <a:pt x="579" y="71"/>
                    </a:lnTo>
                    <a:lnTo>
                      <a:pt x="581" y="71"/>
                    </a:lnTo>
                    <a:lnTo>
                      <a:pt x="576" y="76"/>
                    </a:lnTo>
                    <a:lnTo>
                      <a:pt x="581" y="81"/>
                    </a:lnTo>
                    <a:lnTo>
                      <a:pt x="579" y="85"/>
                    </a:lnTo>
                    <a:lnTo>
                      <a:pt x="583" y="91"/>
                    </a:lnTo>
                    <a:lnTo>
                      <a:pt x="581" y="103"/>
                    </a:lnTo>
                    <a:lnTo>
                      <a:pt x="583" y="108"/>
                    </a:lnTo>
                    <a:lnTo>
                      <a:pt x="579" y="112"/>
                    </a:lnTo>
                    <a:lnTo>
                      <a:pt x="581" y="114"/>
                    </a:lnTo>
                    <a:lnTo>
                      <a:pt x="583" y="114"/>
                    </a:lnTo>
                    <a:lnTo>
                      <a:pt x="585" y="115"/>
                    </a:lnTo>
                    <a:lnTo>
                      <a:pt x="586" y="117"/>
                    </a:lnTo>
                    <a:lnTo>
                      <a:pt x="586" y="119"/>
                    </a:lnTo>
                    <a:lnTo>
                      <a:pt x="586" y="120"/>
                    </a:lnTo>
                    <a:lnTo>
                      <a:pt x="585" y="122"/>
                    </a:lnTo>
                    <a:lnTo>
                      <a:pt x="585" y="125"/>
                    </a:lnTo>
                    <a:lnTo>
                      <a:pt x="583" y="129"/>
                    </a:lnTo>
                    <a:lnTo>
                      <a:pt x="583" y="132"/>
                    </a:lnTo>
                    <a:lnTo>
                      <a:pt x="586" y="137"/>
                    </a:lnTo>
                    <a:lnTo>
                      <a:pt x="588" y="141"/>
                    </a:lnTo>
                    <a:lnTo>
                      <a:pt x="591" y="144"/>
                    </a:lnTo>
                    <a:lnTo>
                      <a:pt x="593" y="146"/>
                    </a:lnTo>
                    <a:lnTo>
                      <a:pt x="591" y="149"/>
                    </a:lnTo>
                    <a:lnTo>
                      <a:pt x="590" y="149"/>
                    </a:lnTo>
                    <a:lnTo>
                      <a:pt x="596" y="159"/>
                    </a:lnTo>
                    <a:lnTo>
                      <a:pt x="607" y="166"/>
                    </a:lnTo>
                    <a:lnTo>
                      <a:pt x="612" y="171"/>
                    </a:lnTo>
                    <a:lnTo>
                      <a:pt x="615" y="171"/>
                    </a:lnTo>
                    <a:lnTo>
                      <a:pt x="607" y="180"/>
                    </a:lnTo>
                    <a:lnTo>
                      <a:pt x="605" y="185"/>
                    </a:lnTo>
                    <a:lnTo>
                      <a:pt x="603" y="185"/>
                    </a:lnTo>
                    <a:lnTo>
                      <a:pt x="603" y="188"/>
                    </a:lnTo>
                    <a:lnTo>
                      <a:pt x="602" y="190"/>
                    </a:lnTo>
                    <a:lnTo>
                      <a:pt x="605" y="188"/>
                    </a:lnTo>
                    <a:lnTo>
                      <a:pt x="607" y="190"/>
                    </a:lnTo>
                    <a:lnTo>
                      <a:pt x="608" y="192"/>
                    </a:lnTo>
                    <a:lnTo>
                      <a:pt x="605" y="193"/>
                    </a:lnTo>
                    <a:lnTo>
                      <a:pt x="596" y="193"/>
                    </a:lnTo>
                    <a:lnTo>
                      <a:pt x="588" y="192"/>
                    </a:lnTo>
                    <a:lnTo>
                      <a:pt x="579" y="192"/>
                    </a:lnTo>
                    <a:lnTo>
                      <a:pt x="571" y="190"/>
                    </a:lnTo>
                    <a:lnTo>
                      <a:pt x="568" y="190"/>
                    </a:lnTo>
                    <a:lnTo>
                      <a:pt x="566" y="190"/>
                    </a:lnTo>
                    <a:lnTo>
                      <a:pt x="559" y="192"/>
                    </a:lnTo>
                    <a:lnTo>
                      <a:pt x="554" y="190"/>
                    </a:lnTo>
                    <a:lnTo>
                      <a:pt x="551" y="192"/>
                    </a:lnTo>
                    <a:lnTo>
                      <a:pt x="540" y="190"/>
                    </a:lnTo>
                    <a:lnTo>
                      <a:pt x="539" y="190"/>
                    </a:lnTo>
                    <a:lnTo>
                      <a:pt x="535" y="192"/>
                    </a:lnTo>
                    <a:lnTo>
                      <a:pt x="520" y="192"/>
                    </a:lnTo>
                    <a:lnTo>
                      <a:pt x="518" y="197"/>
                    </a:lnTo>
                    <a:lnTo>
                      <a:pt x="523" y="204"/>
                    </a:lnTo>
                    <a:lnTo>
                      <a:pt x="523" y="209"/>
                    </a:lnTo>
                    <a:lnTo>
                      <a:pt x="501" y="214"/>
                    </a:lnTo>
                    <a:lnTo>
                      <a:pt x="481" y="217"/>
                    </a:lnTo>
                    <a:lnTo>
                      <a:pt x="481" y="229"/>
                    </a:lnTo>
                    <a:lnTo>
                      <a:pt x="483" y="229"/>
                    </a:lnTo>
                    <a:lnTo>
                      <a:pt x="479" y="231"/>
                    </a:lnTo>
                    <a:lnTo>
                      <a:pt x="477" y="231"/>
                    </a:lnTo>
                    <a:lnTo>
                      <a:pt x="476" y="233"/>
                    </a:lnTo>
                    <a:lnTo>
                      <a:pt x="476" y="234"/>
                    </a:lnTo>
                    <a:lnTo>
                      <a:pt x="477" y="234"/>
                    </a:lnTo>
                    <a:lnTo>
                      <a:pt x="476" y="236"/>
                    </a:lnTo>
                    <a:lnTo>
                      <a:pt x="477" y="239"/>
                    </a:lnTo>
                    <a:lnTo>
                      <a:pt x="476" y="241"/>
                    </a:lnTo>
                    <a:lnTo>
                      <a:pt x="476" y="243"/>
                    </a:lnTo>
                    <a:lnTo>
                      <a:pt x="477" y="243"/>
                    </a:lnTo>
                    <a:lnTo>
                      <a:pt x="479" y="241"/>
                    </a:lnTo>
                    <a:lnTo>
                      <a:pt x="477" y="241"/>
                    </a:lnTo>
                    <a:lnTo>
                      <a:pt x="479" y="241"/>
                    </a:lnTo>
                    <a:lnTo>
                      <a:pt x="479" y="239"/>
                    </a:lnTo>
                    <a:lnTo>
                      <a:pt x="481" y="239"/>
                    </a:lnTo>
                    <a:lnTo>
                      <a:pt x="481" y="241"/>
                    </a:lnTo>
                    <a:lnTo>
                      <a:pt x="481" y="245"/>
                    </a:lnTo>
                    <a:lnTo>
                      <a:pt x="483" y="245"/>
                    </a:lnTo>
                    <a:lnTo>
                      <a:pt x="481" y="243"/>
                    </a:lnTo>
                    <a:lnTo>
                      <a:pt x="483" y="245"/>
                    </a:lnTo>
                    <a:lnTo>
                      <a:pt x="483" y="243"/>
                    </a:lnTo>
                    <a:lnTo>
                      <a:pt x="484" y="243"/>
                    </a:lnTo>
                    <a:lnTo>
                      <a:pt x="486" y="246"/>
                    </a:lnTo>
                    <a:lnTo>
                      <a:pt x="488" y="246"/>
                    </a:lnTo>
                    <a:lnTo>
                      <a:pt x="488" y="250"/>
                    </a:lnTo>
                    <a:lnTo>
                      <a:pt x="486" y="253"/>
                    </a:lnTo>
                    <a:lnTo>
                      <a:pt x="486" y="251"/>
                    </a:lnTo>
                    <a:lnTo>
                      <a:pt x="476" y="260"/>
                    </a:lnTo>
                    <a:lnTo>
                      <a:pt x="472" y="268"/>
                    </a:lnTo>
                    <a:lnTo>
                      <a:pt x="462" y="270"/>
                    </a:lnTo>
                    <a:lnTo>
                      <a:pt x="459" y="272"/>
                    </a:lnTo>
                    <a:lnTo>
                      <a:pt x="449" y="273"/>
                    </a:lnTo>
                    <a:lnTo>
                      <a:pt x="435" y="285"/>
                    </a:lnTo>
                    <a:lnTo>
                      <a:pt x="413" y="296"/>
                    </a:lnTo>
                    <a:lnTo>
                      <a:pt x="409" y="299"/>
                    </a:lnTo>
                    <a:lnTo>
                      <a:pt x="406" y="299"/>
                    </a:lnTo>
                    <a:lnTo>
                      <a:pt x="399" y="304"/>
                    </a:lnTo>
                    <a:lnTo>
                      <a:pt x="398" y="309"/>
                    </a:lnTo>
                    <a:lnTo>
                      <a:pt x="398" y="311"/>
                    </a:lnTo>
                    <a:lnTo>
                      <a:pt x="392" y="313"/>
                    </a:lnTo>
                    <a:lnTo>
                      <a:pt x="389" y="316"/>
                    </a:lnTo>
                    <a:lnTo>
                      <a:pt x="386" y="324"/>
                    </a:lnTo>
                    <a:lnTo>
                      <a:pt x="386" y="326"/>
                    </a:lnTo>
                    <a:lnTo>
                      <a:pt x="382" y="328"/>
                    </a:lnTo>
                    <a:lnTo>
                      <a:pt x="381" y="328"/>
                    </a:lnTo>
                    <a:lnTo>
                      <a:pt x="381" y="326"/>
                    </a:lnTo>
                    <a:lnTo>
                      <a:pt x="381" y="324"/>
                    </a:lnTo>
                    <a:lnTo>
                      <a:pt x="379" y="323"/>
                    </a:lnTo>
                    <a:lnTo>
                      <a:pt x="375" y="324"/>
                    </a:lnTo>
                    <a:lnTo>
                      <a:pt x="377" y="321"/>
                    </a:lnTo>
                    <a:lnTo>
                      <a:pt x="375" y="319"/>
                    </a:lnTo>
                    <a:lnTo>
                      <a:pt x="374" y="321"/>
                    </a:lnTo>
                    <a:lnTo>
                      <a:pt x="374" y="323"/>
                    </a:lnTo>
                    <a:lnTo>
                      <a:pt x="369" y="324"/>
                    </a:lnTo>
                    <a:lnTo>
                      <a:pt x="364" y="324"/>
                    </a:lnTo>
                    <a:lnTo>
                      <a:pt x="360" y="324"/>
                    </a:lnTo>
                    <a:lnTo>
                      <a:pt x="353" y="326"/>
                    </a:lnTo>
                    <a:lnTo>
                      <a:pt x="352" y="326"/>
                    </a:lnTo>
                    <a:lnTo>
                      <a:pt x="350" y="324"/>
                    </a:lnTo>
                    <a:lnTo>
                      <a:pt x="347" y="324"/>
                    </a:lnTo>
                    <a:lnTo>
                      <a:pt x="343" y="323"/>
                    </a:lnTo>
                    <a:lnTo>
                      <a:pt x="341" y="324"/>
                    </a:lnTo>
                    <a:lnTo>
                      <a:pt x="340" y="324"/>
                    </a:lnTo>
                    <a:lnTo>
                      <a:pt x="340" y="323"/>
                    </a:lnTo>
                    <a:lnTo>
                      <a:pt x="336" y="323"/>
                    </a:lnTo>
                    <a:lnTo>
                      <a:pt x="331" y="323"/>
                    </a:lnTo>
                    <a:lnTo>
                      <a:pt x="326" y="324"/>
                    </a:lnTo>
                    <a:lnTo>
                      <a:pt x="324" y="326"/>
                    </a:lnTo>
                    <a:lnTo>
                      <a:pt x="321" y="326"/>
                    </a:lnTo>
                    <a:lnTo>
                      <a:pt x="318" y="326"/>
                    </a:lnTo>
                    <a:lnTo>
                      <a:pt x="318" y="324"/>
                    </a:lnTo>
                    <a:lnTo>
                      <a:pt x="311" y="324"/>
                    </a:lnTo>
                    <a:lnTo>
                      <a:pt x="304" y="323"/>
                    </a:lnTo>
                    <a:lnTo>
                      <a:pt x="299" y="326"/>
                    </a:lnTo>
                    <a:lnTo>
                      <a:pt x="296" y="330"/>
                    </a:lnTo>
                    <a:lnTo>
                      <a:pt x="287" y="331"/>
                    </a:lnTo>
                    <a:lnTo>
                      <a:pt x="282" y="331"/>
                    </a:lnTo>
                    <a:lnTo>
                      <a:pt x="280" y="331"/>
                    </a:lnTo>
                    <a:lnTo>
                      <a:pt x="280" y="335"/>
                    </a:lnTo>
                    <a:lnTo>
                      <a:pt x="279" y="335"/>
                    </a:lnTo>
                    <a:lnTo>
                      <a:pt x="273" y="336"/>
                    </a:lnTo>
                    <a:lnTo>
                      <a:pt x="265" y="341"/>
                    </a:lnTo>
                    <a:lnTo>
                      <a:pt x="263" y="343"/>
                    </a:lnTo>
                    <a:lnTo>
                      <a:pt x="250" y="352"/>
                    </a:lnTo>
                    <a:lnTo>
                      <a:pt x="239" y="360"/>
                    </a:lnTo>
                    <a:lnTo>
                      <a:pt x="228" y="364"/>
                    </a:lnTo>
                    <a:lnTo>
                      <a:pt x="228" y="386"/>
                    </a:lnTo>
                    <a:lnTo>
                      <a:pt x="228" y="399"/>
                    </a:lnTo>
                    <a:lnTo>
                      <a:pt x="228" y="418"/>
                    </a:lnTo>
                    <a:lnTo>
                      <a:pt x="197" y="418"/>
                    </a:lnTo>
                    <a:lnTo>
                      <a:pt x="153" y="418"/>
                    </a:lnTo>
                    <a:lnTo>
                      <a:pt x="126" y="416"/>
                    </a:lnTo>
                    <a:lnTo>
                      <a:pt x="109" y="416"/>
                    </a:lnTo>
                    <a:lnTo>
                      <a:pt x="80" y="416"/>
                    </a:lnTo>
                    <a:lnTo>
                      <a:pt x="68" y="416"/>
                    </a:lnTo>
                    <a:lnTo>
                      <a:pt x="59" y="416"/>
                    </a:lnTo>
                    <a:lnTo>
                      <a:pt x="29" y="416"/>
                    </a:lnTo>
                    <a:lnTo>
                      <a:pt x="10" y="416"/>
                    </a:lnTo>
                    <a:lnTo>
                      <a:pt x="0" y="416"/>
                    </a:lnTo>
                    <a:lnTo>
                      <a:pt x="7" y="413"/>
                    </a:lnTo>
                    <a:lnTo>
                      <a:pt x="8" y="411"/>
                    </a:lnTo>
                    <a:lnTo>
                      <a:pt x="10" y="406"/>
                    </a:lnTo>
                    <a:lnTo>
                      <a:pt x="13" y="403"/>
                    </a:lnTo>
                    <a:lnTo>
                      <a:pt x="30" y="401"/>
                    </a:lnTo>
                    <a:lnTo>
                      <a:pt x="47" y="398"/>
                    </a:lnTo>
                    <a:lnTo>
                      <a:pt x="44" y="399"/>
                    </a:lnTo>
                    <a:lnTo>
                      <a:pt x="42" y="403"/>
                    </a:lnTo>
                    <a:lnTo>
                      <a:pt x="46" y="401"/>
                    </a:lnTo>
                    <a:lnTo>
                      <a:pt x="46" y="399"/>
                    </a:lnTo>
                    <a:lnTo>
                      <a:pt x="47" y="399"/>
                    </a:lnTo>
                    <a:lnTo>
                      <a:pt x="47" y="398"/>
                    </a:lnTo>
                    <a:lnTo>
                      <a:pt x="56" y="396"/>
                    </a:lnTo>
                    <a:lnTo>
                      <a:pt x="63" y="393"/>
                    </a:lnTo>
                    <a:lnTo>
                      <a:pt x="85" y="386"/>
                    </a:lnTo>
                    <a:lnTo>
                      <a:pt x="86" y="384"/>
                    </a:lnTo>
                    <a:lnTo>
                      <a:pt x="88" y="382"/>
                    </a:lnTo>
                    <a:lnTo>
                      <a:pt x="92" y="377"/>
                    </a:lnTo>
                    <a:lnTo>
                      <a:pt x="92" y="375"/>
                    </a:lnTo>
                    <a:lnTo>
                      <a:pt x="103" y="367"/>
                    </a:lnTo>
                    <a:lnTo>
                      <a:pt x="107" y="364"/>
                    </a:lnTo>
                    <a:lnTo>
                      <a:pt x="124" y="355"/>
                    </a:lnTo>
                    <a:lnTo>
                      <a:pt x="134" y="350"/>
                    </a:lnTo>
                    <a:lnTo>
                      <a:pt x="137" y="345"/>
                    </a:lnTo>
                    <a:lnTo>
                      <a:pt x="144" y="338"/>
                    </a:lnTo>
                    <a:lnTo>
                      <a:pt x="149" y="335"/>
                    </a:lnTo>
                    <a:lnTo>
                      <a:pt x="151" y="331"/>
                    </a:lnTo>
                    <a:lnTo>
                      <a:pt x="156" y="324"/>
                    </a:lnTo>
                    <a:lnTo>
                      <a:pt x="158" y="321"/>
                    </a:lnTo>
                    <a:lnTo>
                      <a:pt x="161" y="316"/>
                    </a:lnTo>
                    <a:lnTo>
                      <a:pt x="168" y="309"/>
                    </a:lnTo>
                    <a:lnTo>
                      <a:pt x="171" y="306"/>
                    </a:lnTo>
                    <a:lnTo>
                      <a:pt x="178" y="294"/>
                    </a:lnTo>
                    <a:lnTo>
                      <a:pt x="180" y="279"/>
                    </a:lnTo>
                    <a:lnTo>
                      <a:pt x="178" y="277"/>
                    </a:lnTo>
                    <a:lnTo>
                      <a:pt x="178" y="279"/>
                    </a:lnTo>
                    <a:lnTo>
                      <a:pt x="175" y="272"/>
                    </a:lnTo>
                    <a:lnTo>
                      <a:pt x="173" y="272"/>
                    </a:lnTo>
                    <a:lnTo>
                      <a:pt x="171" y="268"/>
                    </a:lnTo>
                    <a:lnTo>
                      <a:pt x="166" y="267"/>
                    </a:lnTo>
                    <a:lnTo>
                      <a:pt x="166" y="263"/>
                    </a:lnTo>
                    <a:lnTo>
                      <a:pt x="170" y="258"/>
                    </a:lnTo>
                    <a:lnTo>
                      <a:pt x="170" y="256"/>
                    </a:lnTo>
                    <a:lnTo>
                      <a:pt x="170" y="255"/>
                    </a:lnTo>
                    <a:lnTo>
                      <a:pt x="170" y="251"/>
                    </a:lnTo>
                    <a:lnTo>
                      <a:pt x="170" y="248"/>
                    </a:lnTo>
                    <a:lnTo>
                      <a:pt x="170" y="245"/>
                    </a:lnTo>
                    <a:lnTo>
                      <a:pt x="168" y="243"/>
                    </a:lnTo>
                    <a:lnTo>
                      <a:pt x="171" y="233"/>
                    </a:lnTo>
                    <a:lnTo>
                      <a:pt x="170" y="229"/>
                    </a:lnTo>
                    <a:lnTo>
                      <a:pt x="168" y="229"/>
                    </a:lnTo>
                    <a:lnTo>
                      <a:pt x="173" y="224"/>
                    </a:lnTo>
                    <a:lnTo>
                      <a:pt x="171" y="222"/>
                    </a:lnTo>
                    <a:lnTo>
                      <a:pt x="177" y="217"/>
                    </a:lnTo>
                    <a:lnTo>
                      <a:pt x="177" y="214"/>
                    </a:lnTo>
                    <a:lnTo>
                      <a:pt x="194" y="197"/>
                    </a:lnTo>
                    <a:lnTo>
                      <a:pt x="195" y="192"/>
                    </a:lnTo>
                    <a:lnTo>
                      <a:pt x="199" y="188"/>
                    </a:lnTo>
                    <a:lnTo>
                      <a:pt x="199" y="187"/>
                    </a:lnTo>
                    <a:lnTo>
                      <a:pt x="197" y="185"/>
                    </a:lnTo>
                    <a:lnTo>
                      <a:pt x="199" y="183"/>
                    </a:lnTo>
                    <a:lnTo>
                      <a:pt x="197" y="182"/>
                    </a:lnTo>
                    <a:lnTo>
                      <a:pt x="197" y="180"/>
                    </a:lnTo>
                    <a:lnTo>
                      <a:pt x="199" y="176"/>
                    </a:lnTo>
                    <a:lnTo>
                      <a:pt x="199" y="175"/>
                    </a:lnTo>
                    <a:lnTo>
                      <a:pt x="197" y="171"/>
                    </a:lnTo>
                    <a:lnTo>
                      <a:pt x="205" y="165"/>
                    </a:lnTo>
                    <a:lnTo>
                      <a:pt x="222" y="151"/>
                    </a:lnTo>
                    <a:lnTo>
                      <a:pt x="229" y="142"/>
                    </a:lnTo>
                    <a:lnTo>
                      <a:pt x="229" y="141"/>
                    </a:lnTo>
                    <a:lnTo>
                      <a:pt x="231" y="141"/>
                    </a:lnTo>
                    <a:lnTo>
                      <a:pt x="229" y="141"/>
                    </a:lnTo>
                    <a:lnTo>
                      <a:pt x="231" y="141"/>
                    </a:lnTo>
                    <a:lnTo>
                      <a:pt x="231" y="139"/>
                    </a:lnTo>
                    <a:lnTo>
                      <a:pt x="234" y="134"/>
                    </a:lnTo>
                    <a:lnTo>
                      <a:pt x="236" y="134"/>
                    </a:lnTo>
                    <a:lnTo>
                      <a:pt x="238" y="136"/>
                    </a:lnTo>
                    <a:lnTo>
                      <a:pt x="239" y="134"/>
                    </a:lnTo>
                    <a:lnTo>
                      <a:pt x="245" y="131"/>
                    </a:lnTo>
                    <a:lnTo>
                      <a:pt x="246" y="129"/>
                    </a:lnTo>
                    <a:lnTo>
                      <a:pt x="265" y="124"/>
                    </a:lnTo>
                    <a:lnTo>
                      <a:pt x="270" y="120"/>
                    </a:lnTo>
                    <a:lnTo>
                      <a:pt x="272" y="120"/>
                    </a:lnTo>
                    <a:lnTo>
                      <a:pt x="279" y="117"/>
                    </a:lnTo>
                    <a:lnTo>
                      <a:pt x="282" y="117"/>
                    </a:lnTo>
                    <a:lnTo>
                      <a:pt x="282" y="115"/>
                    </a:lnTo>
                    <a:lnTo>
                      <a:pt x="280" y="117"/>
                    </a:lnTo>
                    <a:lnTo>
                      <a:pt x="282" y="117"/>
                    </a:lnTo>
                    <a:lnTo>
                      <a:pt x="285" y="115"/>
                    </a:lnTo>
                    <a:lnTo>
                      <a:pt x="292" y="112"/>
                    </a:lnTo>
                    <a:lnTo>
                      <a:pt x="292" y="110"/>
                    </a:lnTo>
                    <a:lnTo>
                      <a:pt x="292" y="112"/>
                    </a:lnTo>
                    <a:lnTo>
                      <a:pt x="294" y="112"/>
                    </a:lnTo>
                    <a:lnTo>
                      <a:pt x="301" y="107"/>
                    </a:lnTo>
                    <a:lnTo>
                      <a:pt x="306" y="105"/>
                    </a:lnTo>
                    <a:lnTo>
                      <a:pt x="311" y="103"/>
                    </a:lnTo>
                    <a:lnTo>
                      <a:pt x="321" y="95"/>
                    </a:lnTo>
                    <a:lnTo>
                      <a:pt x="326" y="88"/>
                    </a:lnTo>
                    <a:lnTo>
                      <a:pt x="328" y="83"/>
                    </a:lnTo>
                    <a:lnTo>
                      <a:pt x="330" y="83"/>
                    </a:lnTo>
                    <a:lnTo>
                      <a:pt x="328" y="83"/>
                    </a:lnTo>
                    <a:lnTo>
                      <a:pt x="336" y="74"/>
                    </a:lnTo>
                    <a:lnTo>
                      <a:pt x="343" y="61"/>
                    </a:lnTo>
                    <a:lnTo>
                      <a:pt x="348" y="52"/>
                    </a:lnTo>
                    <a:lnTo>
                      <a:pt x="355" y="37"/>
                    </a:lnTo>
                    <a:lnTo>
                      <a:pt x="357" y="35"/>
                    </a:lnTo>
                    <a:lnTo>
                      <a:pt x="355" y="35"/>
                    </a:lnTo>
                    <a:lnTo>
                      <a:pt x="358" y="27"/>
                    </a:lnTo>
                    <a:lnTo>
                      <a:pt x="362" y="20"/>
                    </a:lnTo>
                    <a:lnTo>
                      <a:pt x="367" y="6"/>
                    </a:lnTo>
                    <a:lnTo>
                      <a:pt x="370" y="5"/>
                    </a:lnTo>
                    <a:lnTo>
                      <a:pt x="374" y="6"/>
                    </a:lnTo>
                    <a:lnTo>
                      <a:pt x="372" y="6"/>
                    </a:lnTo>
                    <a:lnTo>
                      <a:pt x="374" y="6"/>
                    </a:lnTo>
                    <a:lnTo>
                      <a:pt x="375" y="6"/>
                    </a:lnTo>
                    <a:lnTo>
                      <a:pt x="375" y="5"/>
                    </a:lnTo>
                    <a:lnTo>
                      <a:pt x="377" y="5"/>
                    </a:lnTo>
                    <a:lnTo>
                      <a:pt x="384" y="3"/>
                    </a:lnTo>
                    <a:lnTo>
                      <a:pt x="386" y="3"/>
                    </a:lnTo>
                    <a:lnTo>
                      <a:pt x="389" y="0"/>
                    </a:lnTo>
                    <a:lnTo>
                      <a:pt x="391" y="0"/>
                    </a:lnTo>
                    <a:lnTo>
                      <a:pt x="394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2" name="Freeform 43">
                <a:extLst>
                  <a:ext uri="{FF2B5EF4-FFF2-40B4-BE49-F238E27FC236}">
                    <a16:creationId xmlns:a16="http://schemas.microsoft.com/office/drawing/2014/main" id="{E9A8836D-823D-4AB5-8739-59F463D095C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007025" y="4295598"/>
                <a:ext cx="852462" cy="1319159"/>
              </a:xfrm>
              <a:custGeom>
                <a:avLst/>
                <a:gdLst>
                  <a:gd name="T0" fmla="*/ 92 w 537"/>
                  <a:gd name="T1" fmla="*/ 744 h 831"/>
                  <a:gd name="T2" fmla="*/ 64 w 537"/>
                  <a:gd name="T3" fmla="*/ 596 h 831"/>
                  <a:gd name="T4" fmla="*/ 132 w 537"/>
                  <a:gd name="T5" fmla="*/ 497 h 831"/>
                  <a:gd name="T6" fmla="*/ 134 w 537"/>
                  <a:gd name="T7" fmla="*/ 467 h 831"/>
                  <a:gd name="T8" fmla="*/ 134 w 537"/>
                  <a:gd name="T9" fmla="*/ 422 h 831"/>
                  <a:gd name="T10" fmla="*/ 139 w 537"/>
                  <a:gd name="T11" fmla="*/ 378 h 831"/>
                  <a:gd name="T12" fmla="*/ 137 w 537"/>
                  <a:gd name="T13" fmla="*/ 336 h 831"/>
                  <a:gd name="T14" fmla="*/ 76 w 537"/>
                  <a:gd name="T15" fmla="*/ 291 h 831"/>
                  <a:gd name="T16" fmla="*/ 39 w 537"/>
                  <a:gd name="T17" fmla="*/ 283 h 831"/>
                  <a:gd name="T18" fmla="*/ 64 w 537"/>
                  <a:gd name="T19" fmla="*/ 210 h 831"/>
                  <a:gd name="T20" fmla="*/ 168 w 537"/>
                  <a:gd name="T21" fmla="*/ 203 h 831"/>
                  <a:gd name="T22" fmla="*/ 211 w 537"/>
                  <a:gd name="T23" fmla="*/ 199 h 831"/>
                  <a:gd name="T24" fmla="*/ 212 w 537"/>
                  <a:gd name="T25" fmla="*/ 254 h 831"/>
                  <a:gd name="T26" fmla="*/ 216 w 537"/>
                  <a:gd name="T27" fmla="*/ 295 h 831"/>
                  <a:gd name="T28" fmla="*/ 250 w 537"/>
                  <a:gd name="T29" fmla="*/ 322 h 831"/>
                  <a:gd name="T30" fmla="*/ 256 w 537"/>
                  <a:gd name="T31" fmla="*/ 322 h 831"/>
                  <a:gd name="T32" fmla="*/ 268 w 537"/>
                  <a:gd name="T33" fmla="*/ 290 h 831"/>
                  <a:gd name="T34" fmla="*/ 253 w 537"/>
                  <a:gd name="T35" fmla="*/ 174 h 831"/>
                  <a:gd name="T36" fmla="*/ 262 w 537"/>
                  <a:gd name="T37" fmla="*/ 57 h 831"/>
                  <a:gd name="T38" fmla="*/ 284 w 537"/>
                  <a:gd name="T39" fmla="*/ 48 h 831"/>
                  <a:gd name="T40" fmla="*/ 309 w 537"/>
                  <a:gd name="T41" fmla="*/ 63 h 831"/>
                  <a:gd name="T42" fmla="*/ 357 w 537"/>
                  <a:gd name="T43" fmla="*/ 60 h 831"/>
                  <a:gd name="T44" fmla="*/ 396 w 537"/>
                  <a:gd name="T45" fmla="*/ 41 h 831"/>
                  <a:gd name="T46" fmla="*/ 452 w 537"/>
                  <a:gd name="T47" fmla="*/ 34 h 831"/>
                  <a:gd name="T48" fmla="*/ 489 w 537"/>
                  <a:gd name="T49" fmla="*/ 19 h 831"/>
                  <a:gd name="T50" fmla="*/ 518 w 537"/>
                  <a:gd name="T51" fmla="*/ 14 h 831"/>
                  <a:gd name="T52" fmla="*/ 515 w 537"/>
                  <a:gd name="T53" fmla="*/ 46 h 831"/>
                  <a:gd name="T54" fmla="*/ 518 w 537"/>
                  <a:gd name="T55" fmla="*/ 72 h 831"/>
                  <a:gd name="T56" fmla="*/ 520 w 537"/>
                  <a:gd name="T57" fmla="*/ 104 h 831"/>
                  <a:gd name="T58" fmla="*/ 523 w 537"/>
                  <a:gd name="T59" fmla="*/ 118 h 831"/>
                  <a:gd name="T60" fmla="*/ 523 w 537"/>
                  <a:gd name="T61" fmla="*/ 137 h 831"/>
                  <a:gd name="T62" fmla="*/ 523 w 537"/>
                  <a:gd name="T63" fmla="*/ 179 h 831"/>
                  <a:gd name="T64" fmla="*/ 527 w 537"/>
                  <a:gd name="T65" fmla="*/ 189 h 831"/>
                  <a:gd name="T66" fmla="*/ 528 w 537"/>
                  <a:gd name="T67" fmla="*/ 208 h 831"/>
                  <a:gd name="T68" fmla="*/ 528 w 537"/>
                  <a:gd name="T69" fmla="*/ 225 h 831"/>
                  <a:gd name="T70" fmla="*/ 530 w 537"/>
                  <a:gd name="T71" fmla="*/ 233 h 831"/>
                  <a:gd name="T72" fmla="*/ 527 w 537"/>
                  <a:gd name="T73" fmla="*/ 247 h 831"/>
                  <a:gd name="T74" fmla="*/ 493 w 537"/>
                  <a:gd name="T75" fmla="*/ 293 h 831"/>
                  <a:gd name="T76" fmla="*/ 457 w 537"/>
                  <a:gd name="T77" fmla="*/ 320 h 831"/>
                  <a:gd name="T78" fmla="*/ 374 w 537"/>
                  <a:gd name="T79" fmla="*/ 358 h 831"/>
                  <a:gd name="T80" fmla="*/ 324 w 537"/>
                  <a:gd name="T81" fmla="*/ 402 h 831"/>
                  <a:gd name="T82" fmla="*/ 306 w 537"/>
                  <a:gd name="T83" fmla="*/ 426 h 831"/>
                  <a:gd name="T84" fmla="*/ 292 w 537"/>
                  <a:gd name="T85" fmla="*/ 427 h 831"/>
                  <a:gd name="T86" fmla="*/ 246 w 537"/>
                  <a:gd name="T87" fmla="*/ 468 h 831"/>
                  <a:gd name="T88" fmla="*/ 226 w 537"/>
                  <a:gd name="T89" fmla="*/ 499 h 831"/>
                  <a:gd name="T90" fmla="*/ 234 w 537"/>
                  <a:gd name="T91" fmla="*/ 514 h 831"/>
                  <a:gd name="T92" fmla="*/ 236 w 537"/>
                  <a:gd name="T93" fmla="*/ 521 h 831"/>
                  <a:gd name="T94" fmla="*/ 243 w 537"/>
                  <a:gd name="T95" fmla="*/ 524 h 831"/>
                  <a:gd name="T96" fmla="*/ 246 w 537"/>
                  <a:gd name="T97" fmla="*/ 545 h 831"/>
                  <a:gd name="T98" fmla="*/ 260 w 537"/>
                  <a:gd name="T99" fmla="*/ 596 h 831"/>
                  <a:gd name="T100" fmla="*/ 268 w 537"/>
                  <a:gd name="T101" fmla="*/ 632 h 831"/>
                  <a:gd name="T102" fmla="*/ 258 w 537"/>
                  <a:gd name="T103" fmla="*/ 683 h 831"/>
                  <a:gd name="T104" fmla="*/ 262 w 537"/>
                  <a:gd name="T105" fmla="*/ 698 h 831"/>
                  <a:gd name="T106" fmla="*/ 127 w 537"/>
                  <a:gd name="T107" fmla="*/ 781 h 831"/>
                  <a:gd name="T108" fmla="*/ 132 w 537"/>
                  <a:gd name="T109" fmla="*/ 800 h 831"/>
                  <a:gd name="T110" fmla="*/ 221 w 537"/>
                  <a:gd name="T111" fmla="*/ 80 h 831"/>
                  <a:gd name="T112" fmla="*/ 136 w 537"/>
                  <a:gd name="T113" fmla="*/ 791 h 831"/>
                  <a:gd name="T114" fmla="*/ 525 w 537"/>
                  <a:gd name="T115" fmla="*/ 89 h 831"/>
                  <a:gd name="T116" fmla="*/ 238 w 537"/>
                  <a:gd name="T117" fmla="*/ 514 h 831"/>
                  <a:gd name="T118" fmla="*/ 523 w 537"/>
                  <a:gd name="T119" fmla="*/ 106 h 831"/>
                  <a:gd name="T120" fmla="*/ 126 w 537"/>
                  <a:gd name="T121" fmla="*/ 778 h 831"/>
                  <a:gd name="T122" fmla="*/ 535 w 537"/>
                  <a:gd name="T123" fmla="*/ 222 h 831"/>
                  <a:gd name="T124" fmla="*/ 333 w 537"/>
                  <a:gd name="T125" fmla="*/ 393 h 8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37" h="831">
                    <a:moveTo>
                      <a:pt x="134" y="831"/>
                    </a:moveTo>
                    <a:lnTo>
                      <a:pt x="124" y="831"/>
                    </a:lnTo>
                    <a:lnTo>
                      <a:pt x="107" y="831"/>
                    </a:lnTo>
                    <a:lnTo>
                      <a:pt x="100" y="829"/>
                    </a:lnTo>
                    <a:lnTo>
                      <a:pt x="98" y="831"/>
                    </a:lnTo>
                    <a:lnTo>
                      <a:pt x="95" y="829"/>
                    </a:lnTo>
                    <a:lnTo>
                      <a:pt x="97" y="814"/>
                    </a:lnTo>
                    <a:lnTo>
                      <a:pt x="93" y="807"/>
                    </a:lnTo>
                    <a:lnTo>
                      <a:pt x="95" y="795"/>
                    </a:lnTo>
                    <a:lnTo>
                      <a:pt x="93" y="788"/>
                    </a:lnTo>
                    <a:lnTo>
                      <a:pt x="90" y="786"/>
                    </a:lnTo>
                    <a:lnTo>
                      <a:pt x="88" y="785"/>
                    </a:lnTo>
                    <a:lnTo>
                      <a:pt x="86" y="780"/>
                    </a:lnTo>
                    <a:lnTo>
                      <a:pt x="90" y="769"/>
                    </a:lnTo>
                    <a:lnTo>
                      <a:pt x="88" y="761"/>
                    </a:lnTo>
                    <a:lnTo>
                      <a:pt x="90" y="756"/>
                    </a:lnTo>
                    <a:lnTo>
                      <a:pt x="92" y="744"/>
                    </a:lnTo>
                    <a:lnTo>
                      <a:pt x="90" y="720"/>
                    </a:lnTo>
                    <a:lnTo>
                      <a:pt x="90" y="708"/>
                    </a:lnTo>
                    <a:lnTo>
                      <a:pt x="88" y="701"/>
                    </a:lnTo>
                    <a:lnTo>
                      <a:pt x="85" y="694"/>
                    </a:lnTo>
                    <a:lnTo>
                      <a:pt x="83" y="684"/>
                    </a:lnTo>
                    <a:lnTo>
                      <a:pt x="78" y="681"/>
                    </a:lnTo>
                    <a:lnTo>
                      <a:pt x="75" y="672"/>
                    </a:lnTo>
                    <a:lnTo>
                      <a:pt x="73" y="667"/>
                    </a:lnTo>
                    <a:lnTo>
                      <a:pt x="68" y="659"/>
                    </a:lnTo>
                    <a:lnTo>
                      <a:pt x="66" y="655"/>
                    </a:lnTo>
                    <a:lnTo>
                      <a:pt x="68" y="645"/>
                    </a:lnTo>
                    <a:lnTo>
                      <a:pt x="66" y="642"/>
                    </a:lnTo>
                    <a:lnTo>
                      <a:pt x="63" y="632"/>
                    </a:lnTo>
                    <a:lnTo>
                      <a:pt x="56" y="611"/>
                    </a:lnTo>
                    <a:lnTo>
                      <a:pt x="54" y="606"/>
                    </a:lnTo>
                    <a:lnTo>
                      <a:pt x="64" y="598"/>
                    </a:lnTo>
                    <a:lnTo>
                      <a:pt x="64" y="596"/>
                    </a:lnTo>
                    <a:lnTo>
                      <a:pt x="73" y="587"/>
                    </a:lnTo>
                    <a:lnTo>
                      <a:pt x="88" y="572"/>
                    </a:lnTo>
                    <a:lnTo>
                      <a:pt x="105" y="555"/>
                    </a:lnTo>
                    <a:lnTo>
                      <a:pt x="110" y="550"/>
                    </a:lnTo>
                    <a:lnTo>
                      <a:pt x="114" y="550"/>
                    </a:lnTo>
                    <a:lnTo>
                      <a:pt x="109" y="543"/>
                    </a:lnTo>
                    <a:lnTo>
                      <a:pt x="110" y="543"/>
                    </a:lnTo>
                    <a:lnTo>
                      <a:pt x="107" y="541"/>
                    </a:lnTo>
                    <a:lnTo>
                      <a:pt x="112" y="536"/>
                    </a:lnTo>
                    <a:lnTo>
                      <a:pt x="115" y="529"/>
                    </a:lnTo>
                    <a:lnTo>
                      <a:pt x="114" y="524"/>
                    </a:lnTo>
                    <a:lnTo>
                      <a:pt x="114" y="514"/>
                    </a:lnTo>
                    <a:lnTo>
                      <a:pt x="119" y="512"/>
                    </a:lnTo>
                    <a:lnTo>
                      <a:pt x="124" y="511"/>
                    </a:lnTo>
                    <a:lnTo>
                      <a:pt x="129" y="502"/>
                    </a:lnTo>
                    <a:lnTo>
                      <a:pt x="131" y="501"/>
                    </a:lnTo>
                    <a:lnTo>
                      <a:pt x="132" y="497"/>
                    </a:lnTo>
                    <a:lnTo>
                      <a:pt x="132" y="495"/>
                    </a:lnTo>
                    <a:lnTo>
                      <a:pt x="132" y="494"/>
                    </a:lnTo>
                    <a:lnTo>
                      <a:pt x="134" y="492"/>
                    </a:lnTo>
                    <a:lnTo>
                      <a:pt x="132" y="490"/>
                    </a:lnTo>
                    <a:lnTo>
                      <a:pt x="134" y="489"/>
                    </a:lnTo>
                    <a:lnTo>
                      <a:pt x="136" y="489"/>
                    </a:lnTo>
                    <a:lnTo>
                      <a:pt x="136" y="485"/>
                    </a:lnTo>
                    <a:lnTo>
                      <a:pt x="139" y="485"/>
                    </a:lnTo>
                    <a:lnTo>
                      <a:pt x="141" y="484"/>
                    </a:lnTo>
                    <a:lnTo>
                      <a:pt x="141" y="477"/>
                    </a:lnTo>
                    <a:lnTo>
                      <a:pt x="143" y="473"/>
                    </a:lnTo>
                    <a:lnTo>
                      <a:pt x="141" y="472"/>
                    </a:lnTo>
                    <a:lnTo>
                      <a:pt x="137" y="470"/>
                    </a:lnTo>
                    <a:lnTo>
                      <a:pt x="137" y="468"/>
                    </a:lnTo>
                    <a:lnTo>
                      <a:pt x="139" y="467"/>
                    </a:lnTo>
                    <a:lnTo>
                      <a:pt x="137" y="467"/>
                    </a:lnTo>
                    <a:lnTo>
                      <a:pt x="134" y="467"/>
                    </a:lnTo>
                    <a:lnTo>
                      <a:pt x="131" y="467"/>
                    </a:lnTo>
                    <a:lnTo>
                      <a:pt x="132" y="463"/>
                    </a:lnTo>
                    <a:lnTo>
                      <a:pt x="132" y="460"/>
                    </a:lnTo>
                    <a:lnTo>
                      <a:pt x="132" y="458"/>
                    </a:lnTo>
                    <a:lnTo>
                      <a:pt x="132" y="456"/>
                    </a:lnTo>
                    <a:lnTo>
                      <a:pt x="129" y="456"/>
                    </a:lnTo>
                    <a:lnTo>
                      <a:pt x="129" y="451"/>
                    </a:lnTo>
                    <a:lnTo>
                      <a:pt x="132" y="448"/>
                    </a:lnTo>
                    <a:lnTo>
                      <a:pt x="134" y="438"/>
                    </a:lnTo>
                    <a:lnTo>
                      <a:pt x="131" y="433"/>
                    </a:lnTo>
                    <a:lnTo>
                      <a:pt x="129" y="433"/>
                    </a:lnTo>
                    <a:lnTo>
                      <a:pt x="127" y="434"/>
                    </a:lnTo>
                    <a:lnTo>
                      <a:pt x="126" y="434"/>
                    </a:lnTo>
                    <a:lnTo>
                      <a:pt x="126" y="429"/>
                    </a:lnTo>
                    <a:lnTo>
                      <a:pt x="126" y="424"/>
                    </a:lnTo>
                    <a:lnTo>
                      <a:pt x="131" y="421"/>
                    </a:lnTo>
                    <a:lnTo>
                      <a:pt x="134" y="422"/>
                    </a:lnTo>
                    <a:lnTo>
                      <a:pt x="136" y="421"/>
                    </a:lnTo>
                    <a:lnTo>
                      <a:pt x="137" y="416"/>
                    </a:lnTo>
                    <a:lnTo>
                      <a:pt x="134" y="412"/>
                    </a:lnTo>
                    <a:lnTo>
                      <a:pt x="134" y="407"/>
                    </a:lnTo>
                    <a:lnTo>
                      <a:pt x="137" y="405"/>
                    </a:lnTo>
                    <a:lnTo>
                      <a:pt x="139" y="407"/>
                    </a:lnTo>
                    <a:lnTo>
                      <a:pt x="141" y="405"/>
                    </a:lnTo>
                    <a:lnTo>
                      <a:pt x="141" y="402"/>
                    </a:lnTo>
                    <a:lnTo>
                      <a:pt x="143" y="400"/>
                    </a:lnTo>
                    <a:lnTo>
                      <a:pt x="139" y="397"/>
                    </a:lnTo>
                    <a:lnTo>
                      <a:pt x="139" y="390"/>
                    </a:lnTo>
                    <a:lnTo>
                      <a:pt x="139" y="388"/>
                    </a:lnTo>
                    <a:lnTo>
                      <a:pt x="137" y="383"/>
                    </a:lnTo>
                    <a:lnTo>
                      <a:pt x="137" y="381"/>
                    </a:lnTo>
                    <a:lnTo>
                      <a:pt x="137" y="380"/>
                    </a:lnTo>
                    <a:lnTo>
                      <a:pt x="139" y="380"/>
                    </a:lnTo>
                    <a:lnTo>
                      <a:pt x="139" y="378"/>
                    </a:lnTo>
                    <a:lnTo>
                      <a:pt x="137" y="376"/>
                    </a:lnTo>
                    <a:lnTo>
                      <a:pt x="137" y="373"/>
                    </a:lnTo>
                    <a:lnTo>
                      <a:pt x="139" y="371"/>
                    </a:lnTo>
                    <a:lnTo>
                      <a:pt x="141" y="371"/>
                    </a:lnTo>
                    <a:lnTo>
                      <a:pt x="141" y="370"/>
                    </a:lnTo>
                    <a:lnTo>
                      <a:pt x="141" y="368"/>
                    </a:lnTo>
                    <a:lnTo>
                      <a:pt x="141" y="366"/>
                    </a:lnTo>
                    <a:lnTo>
                      <a:pt x="143" y="361"/>
                    </a:lnTo>
                    <a:lnTo>
                      <a:pt x="141" y="359"/>
                    </a:lnTo>
                    <a:lnTo>
                      <a:pt x="139" y="359"/>
                    </a:lnTo>
                    <a:lnTo>
                      <a:pt x="137" y="356"/>
                    </a:lnTo>
                    <a:lnTo>
                      <a:pt x="139" y="354"/>
                    </a:lnTo>
                    <a:lnTo>
                      <a:pt x="141" y="351"/>
                    </a:lnTo>
                    <a:lnTo>
                      <a:pt x="143" y="349"/>
                    </a:lnTo>
                    <a:lnTo>
                      <a:pt x="139" y="346"/>
                    </a:lnTo>
                    <a:lnTo>
                      <a:pt x="139" y="341"/>
                    </a:lnTo>
                    <a:lnTo>
                      <a:pt x="137" y="336"/>
                    </a:lnTo>
                    <a:lnTo>
                      <a:pt x="132" y="327"/>
                    </a:lnTo>
                    <a:lnTo>
                      <a:pt x="136" y="325"/>
                    </a:lnTo>
                    <a:lnTo>
                      <a:pt x="139" y="317"/>
                    </a:lnTo>
                    <a:lnTo>
                      <a:pt x="136" y="315"/>
                    </a:lnTo>
                    <a:lnTo>
                      <a:pt x="134" y="317"/>
                    </a:lnTo>
                    <a:lnTo>
                      <a:pt x="132" y="315"/>
                    </a:lnTo>
                    <a:lnTo>
                      <a:pt x="127" y="317"/>
                    </a:lnTo>
                    <a:lnTo>
                      <a:pt x="124" y="315"/>
                    </a:lnTo>
                    <a:lnTo>
                      <a:pt x="126" y="312"/>
                    </a:lnTo>
                    <a:lnTo>
                      <a:pt x="119" y="308"/>
                    </a:lnTo>
                    <a:lnTo>
                      <a:pt x="105" y="303"/>
                    </a:lnTo>
                    <a:lnTo>
                      <a:pt x="92" y="303"/>
                    </a:lnTo>
                    <a:lnTo>
                      <a:pt x="85" y="302"/>
                    </a:lnTo>
                    <a:lnTo>
                      <a:pt x="85" y="298"/>
                    </a:lnTo>
                    <a:lnTo>
                      <a:pt x="81" y="296"/>
                    </a:lnTo>
                    <a:lnTo>
                      <a:pt x="80" y="295"/>
                    </a:lnTo>
                    <a:lnTo>
                      <a:pt x="76" y="291"/>
                    </a:lnTo>
                    <a:lnTo>
                      <a:pt x="71" y="290"/>
                    </a:lnTo>
                    <a:lnTo>
                      <a:pt x="68" y="290"/>
                    </a:lnTo>
                    <a:lnTo>
                      <a:pt x="64" y="288"/>
                    </a:lnTo>
                    <a:lnTo>
                      <a:pt x="64" y="290"/>
                    </a:lnTo>
                    <a:lnTo>
                      <a:pt x="64" y="288"/>
                    </a:lnTo>
                    <a:lnTo>
                      <a:pt x="61" y="288"/>
                    </a:lnTo>
                    <a:lnTo>
                      <a:pt x="59" y="288"/>
                    </a:lnTo>
                    <a:lnTo>
                      <a:pt x="59" y="286"/>
                    </a:lnTo>
                    <a:lnTo>
                      <a:pt x="56" y="285"/>
                    </a:lnTo>
                    <a:lnTo>
                      <a:pt x="56" y="283"/>
                    </a:lnTo>
                    <a:lnTo>
                      <a:pt x="54" y="281"/>
                    </a:lnTo>
                    <a:lnTo>
                      <a:pt x="52" y="281"/>
                    </a:lnTo>
                    <a:lnTo>
                      <a:pt x="47" y="281"/>
                    </a:lnTo>
                    <a:lnTo>
                      <a:pt x="47" y="279"/>
                    </a:lnTo>
                    <a:lnTo>
                      <a:pt x="46" y="279"/>
                    </a:lnTo>
                    <a:lnTo>
                      <a:pt x="41" y="281"/>
                    </a:lnTo>
                    <a:lnTo>
                      <a:pt x="39" y="283"/>
                    </a:lnTo>
                    <a:lnTo>
                      <a:pt x="34" y="281"/>
                    </a:lnTo>
                    <a:lnTo>
                      <a:pt x="15" y="281"/>
                    </a:lnTo>
                    <a:lnTo>
                      <a:pt x="10" y="281"/>
                    </a:lnTo>
                    <a:lnTo>
                      <a:pt x="10" y="261"/>
                    </a:lnTo>
                    <a:lnTo>
                      <a:pt x="7" y="257"/>
                    </a:lnTo>
                    <a:lnTo>
                      <a:pt x="8" y="254"/>
                    </a:lnTo>
                    <a:lnTo>
                      <a:pt x="7" y="252"/>
                    </a:lnTo>
                    <a:lnTo>
                      <a:pt x="7" y="247"/>
                    </a:lnTo>
                    <a:lnTo>
                      <a:pt x="1" y="240"/>
                    </a:lnTo>
                    <a:lnTo>
                      <a:pt x="0" y="233"/>
                    </a:lnTo>
                    <a:lnTo>
                      <a:pt x="0" y="232"/>
                    </a:lnTo>
                    <a:lnTo>
                      <a:pt x="0" y="230"/>
                    </a:lnTo>
                    <a:lnTo>
                      <a:pt x="8" y="227"/>
                    </a:lnTo>
                    <a:lnTo>
                      <a:pt x="27" y="218"/>
                    </a:lnTo>
                    <a:lnTo>
                      <a:pt x="42" y="216"/>
                    </a:lnTo>
                    <a:lnTo>
                      <a:pt x="52" y="213"/>
                    </a:lnTo>
                    <a:lnTo>
                      <a:pt x="64" y="210"/>
                    </a:lnTo>
                    <a:lnTo>
                      <a:pt x="73" y="205"/>
                    </a:lnTo>
                    <a:lnTo>
                      <a:pt x="80" y="203"/>
                    </a:lnTo>
                    <a:lnTo>
                      <a:pt x="86" y="199"/>
                    </a:lnTo>
                    <a:lnTo>
                      <a:pt x="103" y="194"/>
                    </a:lnTo>
                    <a:lnTo>
                      <a:pt x="112" y="193"/>
                    </a:lnTo>
                    <a:lnTo>
                      <a:pt x="122" y="189"/>
                    </a:lnTo>
                    <a:lnTo>
                      <a:pt x="141" y="182"/>
                    </a:lnTo>
                    <a:lnTo>
                      <a:pt x="151" y="179"/>
                    </a:lnTo>
                    <a:lnTo>
                      <a:pt x="153" y="179"/>
                    </a:lnTo>
                    <a:lnTo>
                      <a:pt x="154" y="181"/>
                    </a:lnTo>
                    <a:lnTo>
                      <a:pt x="156" y="184"/>
                    </a:lnTo>
                    <a:lnTo>
                      <a:pt x="154" y="186"/>
                    </a:lnTo>
                    <a:lnTo>
                      <a:pt x="158" y="189"/>
                    </a:lnTo>
                    <a:lnTo>
                      <a:pt x="160" y="189"/>
                    </a:lnTo>
                    <a:lnTo>
                      <a:pt x="165" y="199"/>
                    </a:lnTo>
                    <a:lnTo>
                      <a:pt x="166" y="201"/>
                    </a:lnTo>
                    <a:lnTo>
                      <a:pt x="168" y="203"/>
                    </a:lnTo>
                    <a:lnTo>
                      <a:pt x="170" y="203"/>
                    </a:lnTo>
                    <a:lnTo>
                      <a:pt x="171" y="205"/>
                    </a:lnTo>
                    <a:lnTo>
                      <a:pt x="173" y="208"/>
                    </a:lnTo>
                    <a:lnTo>
                      <a:pt x="175" y="210"/>
                    </a:lnTo>
                    <a:lnTo>
                      <a:pt x="177" y="208"/>
                    </a:lnTo>
                    <a:lnTo>
                      <a:pt x="175" y="206"/>
                    </a:lnTo>
                    <a:lnTo>
                      <a:pt x="177" y="205"/>
                    </a:lnTo>
                    <a:lnTo>
                      <a:pt x="182" y="206"/>
                    </a:lnTo>
                    <a:lnTo>
                      <a:pt x="183" y="205"/>
                    </a:lnTo>
                    <a:lnTo>
                      <a:pt x="185" y="205"/>
                    </a:lnTo>
                    <a:lnTo>
                      <a:pt x="187" y="203"/>
                    </a:lnTo>
                    <a:lnTo>
                      <a:pt x="195" y="203"/>
                    </a:lnTo>
                    <a:lnTo>
                      <a:pt x="195" y="201"/>
                    </a:lnTo>
                    <a:lnTo>
                      <a:pt x="204" y="201"/>
                    </a:lnTo>
                    <a:lnTo>
                      <a:pt x="205" y="199"/>
                    </a:lnTo>
                    <a:lnTo>
                      <a:pt x="209" y="199"/>
                    </a:lnTo>
                    <a:lnTo>
                      <a:pt x="211" y="199"/>
                    </a:lnTo>
                    <a:lnTo>
                      <a:pt x="214" y="205"/>
                    </a:lnTo>
                    <a:lnTo>
                      <a:pt x="217" y="208"/>
                    </a:lnTo>
                    <a:lnTo>
                      <a:pt x="217" y="211"/>
                    </a:lnTo>
                    <a:lnTo>
                      <a:pt x="217" y="213"/>
                    </a:lnTo>
                    <a:lnTo>
                      <a:pt x="219" y="220"/>
                    </a:lnTo>
                    <a:lnTo>
                      <a:pt x="219" y="225"/>
                    </a:lnTo>
                    <a:lnTo>
                      <a:pt x="222" y="230"/>
                    </a:lnTo>
                    <a:lnTo>
                      <a:pt x="219" y="233"/>
                    </a:lnTo>
                    <a:lnTo>
                      <a:pt x="221" y="233"/>
                    </a:lnTo>
                    <a:lnTo>
                      <a:pt x="219" y="237"/>
                    </a:lnTo>
                    <a:lnTo>
                      <a:pt x="221" y="244"/>
                    </a:lnTo>
                    <a:lnTo>
                      <a:pt x="219" y="245"/>
                    </a:lnTo>
                    <a:lnTo>
                      <a:pt x="217" y="247"/>
                    </a:lnTo>
                    <a:lnTo>
                      <a:pt x="217" y="250"/>
                    </a:lnTo>
                    <a:lnTo>
                      <a:pt x="214" y="252"/>
                    </a:lnTo>
                    <a:lnTo>
                      <a:pt x="214" y="254"/>
                    </a:lnTo>
                    <a:lnTo>
                      <a:pt x="212" y="254"/>
                    </a:lnTo>
                    <a:lnTo>
                      <a:pt x="214" y="259"/>
                    </a:lnTo>
                    <a:lnTo>
                      <a:pt x="212" y="261"/>
                    </a:lnTo>
                    <a:lnTo>
                      <a:pt x="212" y="262"/>
                    </a:lnTo>
                    <a:lnTo>
                      <a:pt x="211" y="264"/>
                    </a:lnTo>
                    <a:lnTo>
                      <a:pt x="209" y="268"/>
                    </a:lnTo>
                    <a:lnTo>
                      <a:pt x="207" y="268"/>
                    </a:lnTo>
                    <a:lnTo>
                      <a:pt x="204" y="269"/>
                    </a:lnTo>
                    <a:lnTo>
                      <a:pt x="204" y="273"/>
                    </a:lnTo>
                    <a:lnTo>
                      <a:pt x="204" y="274"/>
                    </a:lnTo>
                    <a:lnTo>
                      <a:pt x="204" y="276"/>
                    </a:lnTo>
                    <a:lnTo>
                      <a:pt x="205" y="276"/>
                    </a:lnTo>
                    <a:lnTo>
                      <a:pt x="209" y="279"/>
                    </a:lnTo>
                    <a:lnTo>
                      <a:pt x="211" y="281"/>
                    </a:lnTo>
                    <a:lnTo>
                      <a:pt x="212" y="283"/>
                    </a:lnTo>
                    <a:lnTo>
                      <a:pt x="211" y="286"/>
                    </a:lnTo>
                    <a:lnTo>
                      <a:pt x="212" y="293"/>
                    </a:lnTo>
                    <a:lnTo>
                      <a:pt x="216" y="295"/>
                    </a:lnTo>
                    <a:lnTo>
                      <a:pt x="217" y="295"/>
                    </a:lnTo>
                    <a:lnTo>
                      <a:pt x="219" y="296"/>
                    </a:lnTo>
                    <a:lnTo>
                      <a:pt x="221" y="302"/>
                    </a:lnTo>
                    <a:lnTo>
                      <a:pt x="224" y="303"/>
                    </a:lnTo>
                    <a:lnTo>
                      <a:pt x="226" y="305"/>
                    </a:lnTo>
                    <a:lnTo>
                      <a:pt x="229" y="307"/>
                    </a:lnTo>
                    <a:lnTo>
                      <a:pt x="231" y="308"/>
                    </a:lnTo>
                    <a:lnTo>
                      <a:pt x="231" y="310"/>
                    </a:lnTo>
                    <a:lnTo>
                      <a:pt x="233" y="312"/>
                    </a:lnTo>
                    <a:lnTo>
                      <a:pt x="234" y="315"/>
                    </a:lnTo>
                    <a:lnTo>
                      <a:pt x="236" y="315"/>
                    </a:lnTo>
                    <a:lnTo>
                      <a:pt x="238" y="319"/>
                    </a:lnTo>
                    <a:lnTo>
                      <a:pt x="241" y="319"/>
                    </a:lnTo>
                    <a:lnTo>
                      <a:pt x="241" y="320"/>
                    </a:lnTo>
                    <a:lnTo>
                      <a:pt x="243" y="322"/>
                    </a:lnTo>
                    <a:lnTo>
                      <a:pt x="246" y="322"/>
                    </a:lnTo>
                    <a:lnTo>
                      <a:pt x="250" y="322"/>
                    </a:lnTo>
                    <a:lnTo>
                      <a:pt x="248" y="325"/>
                    </a:lnTo>
                    <a:lnTo>
                      <a:pt x="250" y="327"/>
                    </a:lnTo>
                    <a:lnTo>
                      <a:pt x="245" y="330"/>
                    </a:lnTo>
                    <a:lnTo>
                      <a:pt x="245" y="334"/>
                    </a:lnTo>
                    <a:lnTo>
                      <a:pt x="246" y="336"/>
                    </a:lnTo>
                    <a:lnTo>
                      <a:pt x="245" y="336"/>
                    </a:lnTo>
                    <a:lnTo>
                      <a:pt x="246" y="337"/>
                    </a:lnTo>
                    <a:lnTo>
                      <a:pt x="256" y="337"/>
                    </a:lnTo>
                    <a:lnTo>
                      <a:pt x="256" y="336"/>
                    </a:lnTo>
                    <a:lnTo>
                      <a:pt x="256" y="334"/>
                    </a:lnTo>
                    <a:lnTo>
                      <a:pt x="256" y="332"/>
                    </a:lnTo>
                    <a:lnTo>
                      <a:pt x="256" y="330"/>
                    </a:lnTo>
                    <a:lnTo>
                      <a:pt x="256" y="329"/>
                    </a:lnTo>
                    <a:lnTo>
                      <a:pt x="255" y="329"/>
                    </a:lnTo>
                    <a:lnTo>
                      <a:pt x="256" y="325"/>
                    </a:lnTo>
                    <a:lnTo>
                      <a:pt x="255" y="325"/>
                    </a:lnTo>
                    <a:lnTo>
                      <a:pt x="256" y="322"/>
                    </a:lnTo>
                    <a:lnTo>
                      <a:pt x="256" y="320"/>
                    </a:lnTo>
                    <a:lnTo>
                      <a:pt x="256" y="317"/>
                    </a:lnTo>
                    <a:lnTo>
                      <a:pt x="253" y="313"/>
                    </a:lnTo>
                    <a:lnTo>
                      <a:pt x="251" y="313"/>
                    </a:lnTo>
                    <a:lnTo>
                      <a:pt x="250" y="312"/>
                    </a:lnTo>
                    <a:lnTo>
                      <a:pt x="248" y="308"/>
                    </a:lnTo>
                    <a:lnTo>
                      <a:pt x="255" y="305"/>
                    </a:lnTo>
                    <a:lnTo>
                      <a:pt x="255" y="300"/>
                    </a:lnTo>
                    <a:lnTo>
                      <a:pt x="256" y="298"/>
                    </a:lnTo>
                    <a:lnTo>
                      <a:pt x="255" y="296"/>
                    </a:lnTo>
                    <a:lnTo>
                      <a:pt x="256" y="295"/>
                    </a:lnTo>
                    <a:lnTo>
                      <a:pt x="256" y="291"/>
                    </a:lnTo>
                    <a:lnTo>
                      <a:pt x="262" y="286"/>
                    </a:lnTo>
                    <a:lnTo>
                      <a:pt x="263" y="286"/>
                    </a:lnTo>
                    <a:lnTo>
                      <a:pt x="267" y="286"/>
                    </a:lnTo>
                    <a:lnTo>
                      <a:pt x="267" y="288"/>
                    </a:lnTo>
                    <a:lnTo>
                      <a:pt x="268" y="290"/>
                    </a:lnTo>
                    <a:lnTo>
                      <a:pt x="270" y="286"/>
                    </a:lnTo>
                    <a:lnTo>
                      <a:pt x="272" y="286"/>
                    </a:lnTo>
                    <a:lnTo>
                      <a:pt x="275" y="285"/>
                    </a:lnTo>
                    <a:lnTo>
                      <a:pt x="277" y="286"/>
                    </a:lnTo>
                    <a:lnTo>
                      <a:pt x="282" y="281"/>
                    </a:lnTo>
                    <a:lnTo>
                      <a:pt x="282" y="278"/>
                    </a:lnTo>
                    <a:lnTo>
                      <a:pt x="284" y="256"/>
                    </a:lnTo>
                    <a:lnTo>
                      <a:pt x="284" y="252"/>
                    </a:lnTo>
                    <a:lnTo>
                      <a:pt x="284" y="250"/>
                    </a:lnTo>
                    <a:lnTo>
                      <a:pt x="282" y="239"/>
                    </a:lnTo>
                    <a:lnTo>
                      <a:pt x="287" y="225"/>
                    </a:lnTo>
                    <a:lnTo>
                      <a:pt x="285" y="223"/>
                    </a:lnTo>
                    <a:lnTo>
                      <a:pt x="285" y="213"/>
                    </a:lnTo>
                    <a:lnTo>
                      <a:pt x="280" y="206"/>
                    </a:lnTo>
                    <a:lnTo>
                      <a:pt x="268" y="193"/>
                    </a:lnTo>
                    <a:lnTo>
                      <a:pt x="265" y="188"/>
                    </a:lnTo>
                    <a:lnTo>
                      <a:pt x="253" y="174"/>
                    </a:lnTo>
                    <a:lnTo>
                      <a:pt x="246" y="164"/>
                    </a:lnTo>
                    <a:lnTo>
                      <a:pt x="234" y="154"/>
                    </a:lnTo>
                    <a:lnTo>
                      <a:pt x="221" y="154"/>
                    </a:lnTo>
                    <a:lnTo>
                      <a:pt x="217" y="147"/>
                    </a:lnTo>
                    <a:lnTo>
                      <a:pt x="217" y="142"/>
                    </a:lnTo>
                    <a:lnTo>
                      <a:pt x="217" y="135"/>
                    </a:lnTo>
                    <a:lnTo>
                      <a:pt x="219" y="131"/>
                    </a:lnTo>
                    <a:lnTo>
                      <a:pt x="216" y="121"/>
                    </a:lnTo>
                    <a:lnTo>
                      <a:pt x="217" y="114"/>
                    </a:lnTo>
                    <a:lnTo>
                      <a:pt x="212" y="96"/>
                    </a:lnTo>
                    <a:lnTo>
                      <a:pt x="212" y="85"/>
                    </a:lnTo>
                    <a:lnTo>
                      <a:pt x="217" y="74"/>
                    </a:lnTo>
                    <a:lnTo>
                      <a:pt x="222" y="63"/>
                    </a:lnTo>
                    <a:lnTo>
                      <a:pt x="222" y="57"/>
                    </a:lnTo>
                    <a:lnTo>
                      <a:pt x="239" y="57"/>
                    </a:lnTo>
                    <a:lnTo>
                      <a:pt x="258" y="55"/>
                    </a:lnTo>
                    <a:lnTo>
                      <a:pt x="262" y="57"/>
                    </a:lnTo>
                    <a:lnTo>
                      <a:pt x="262" y="55"/>
                    </a:lnTo>
                    <a:lnTo>
                      <a:pt x="263" y="57"/>
                    </a:lnTo>
                    <a:lnTo>
                      <a:pt x="265" y="57"/>
                    </a:lnTo>
                    <a:lnTo>
                      <a:pt x="265" y="55"/>
                    </a:lnTo>
                    <a:lnTo>
                      <a:pt x="267" y="55"/>
                    </a:lnTo>
                    <a:lnTo>
                      <a:pt x="267" y="57"/>
                    </a:lnTo>
                    <a:lnTo>
                      <a:pt x="268" y="55"/>
                    </a:lnTo>
                    <a:lnTo>
                      <a:pt x="268" y="57"/>
                    </a:lnTo>
                    <a:lnTo>
                      <a:pt x="270" y="55"/>
                    </a:lnTo>
                    <a:lnTo>
                      <a:pt x="273" y="55"/>
                    </a:lnTo>
                    <a:lnTo>
                      <a:pt x="277" y="53"/>
                    </a:lnTo>
                    <a:lnTo>
                      <a:pt x="277" y="51"/>
                    </a:lnTo>
                    <a:lnTo>
                      <a:pt x="280" y="51"/>
                    </a:lnTo>
                    <a:lnTo>
                      <a:pt x="280" y="50"/>
                    </a:lnTo>
                    <a:lnTo>
                      <a:pt x="280" y="51"/>
                    </a:lnTo>
                    <a:lnTo>
                      <a:pt x="282" y="48"/>
                    </a:lnTo>
                    <a:lnTo>
                      <a:pt x="284" y="48"/>
                    </a:lnTo>
                    <a:lnTo>
                      <a:pt x="287" y="50"/>
                    </a:lnTo>
                    <a:lnTo>
                      <a:pt x="289" y="48"/>
                    </a:lnTo>
                    <a:lnTo>
                      <a:pt x="290" y="50"/>
                    </a:lnTo>
                    <a:lnTo>
                      <a:pt x="292" y="51"/>
                    </a:lnTo>
                    <a:lnTo>
                      <a:pt x="294" y="51"/>
                    </a:lnTo>
                    <a:lnTo>
                      <a:pt x="296" y="55"/>
                    </a:lnTo>
                    <a:lnTo>
                      <a:pt x="297" y="53"/>
                    </a:lnTo>
                    <a:lnTo>
                      <a:pt x="299" y="55"/>
                    </a:lnTo>
                    <a:lnTo>
                      <a:pt x="299" y="57"/>
                    </a:lnTo>
                    <a:lnTo>
                      <a:pt x="301" y="55"/>
                    </a:lnTo>
                    <a:lnTo>
                      <a:pt x="302" y="57"/>
                    </a:lnTo>
                    <a:lnTo>
                      <a:pt x="301" y="60"/>
                    </a:lnTo>
                    <a:lnTo>
                      <a:pt x="302" y="63"/>
                    </a:lnTo>
                    <a:lnTo>
                      <a:pt x="306" y="62"/>
                    </a:lnTo>
                    <a:lnTo>
                      <a:pt x="306" y="63"/>
                    </a:lnTo>
                    <a:lnTo>
                      <a:pt x="307" y="63"/>
                    </a:lnTo>
                    <a:lnTo>
                      <a:pt x="309" y="63"/>
                    </a:lnTo>
                    <a:lnTo>
                      <a:pt x="311" y="62"/>
                    </a:lnTo>
                    <a:lnTo>
                      <a:pt x="316" y="62"/>
                    </a:lnTo>
                    <a:lnTo>
                      <a:pt x="318" y="62"/>
                    </a:lnTo>
                    <a:lnTo>
                      <a:pt x="318" y="63"/>
                    </a:lnTo>
                    <a:lnTo>
                      <a:pt x="318" y="65"/>
                    </a:lnTo>
                    <a:lnTo>
                      <a:pt x="321" y="62"/>
                    </a:lnTo>
                    <a:lnTo>
                      <a:pt x="324" y="63"/>
                    </a:lnTo>
                    <a:lnTo>
                      <a:pt x="331" y="60"/>
                    </a:lnTo>
                    <a:lnTo>
                      <a:pt x="333" y="55"/>
                    </a:lnTo>
                    <a:lnTo>
                      <a:pt x="336" y="57"/>
                    </a:lnTo>
                    <a:lnTo>
                      <a:pt x="338" y="57"/>
                    </a:lnTo>
                    <a:lnTo>
                      <a:pt x="338" y="58"/>
                    </a:lnTo>
                    <a:lnTo>
                      <a:pt x="341" y="57"/>
                    </a:lnTo>
                    <a:lnTo>
                      <a:pt x="343" y="57"/>
                    </a:lnTo>
                    <a:lnTo>
                      <a:pt x="347" y="58"/>
                    </a:lnTo>
                    <a:lnTo>
                      <a:pt x="353" y="60"/>
                    </a:lnTo>
                    <a:lnTo>
                      <a:pt x="357" y="60"/>
                    </a:lnTo>
                    <a:lnTo>
                      <a:pt x="358" y="62"/>
                    </a:lnTo>
                    <a:lnTo>
                      <a:pt x="362" y="62"/>
                    </a:lnTo>
                    <a:lnTo>
                      <a:pt x="364" y="62"/>
                    </a:lnTo>
                    <a:lnTo>
                      <a:pt x="365" y="60"/>
                    </a:lnTo>
                    <a:lnTo>
                      <a:pt x="367" y="58"/>
                    </a:lnTo>
                    <a:lnTo>
                      <a:pt x="369" y="58"/>
                    </a:lnTo>
                    <a:lnTo>
                      <a:pt x="372" y="58"/>
                    </a:lnTo>
                    <a:lnTo>
                      <a:pt x="375" y="57"/>
                    </a:lnTo>
                    <a:lnTo>
                      <a:pt x="381" y="55"/>
                    </a:lnTo>
                    <a:lnTo>
                      <a:pt x="382" y="53"/>
                    </a:lnTo>
                    <a:lnTo>
                      <a:pt x="382" y="51"/>
                    </a:lnTo>
                    <a:lnTo>
                      <a:pt x="382" y="50"/>
                    </a:lnTo>
                    <a:lnTo>
                      <a:pt x="384" y="46"/>
                    </a:lnTo>
                    <a:lnTo>
                      <a:pt x="384" y="43"/>
                    </a:lnTo>
                    <a:lnTo>
                      <a:pt x="386" y="43"/>
                    </a:lnTo>
                    <a:lnTo>
                      <a:pt x="389" y="40"/>
                    </a:lnTo>
                    <a:lnTo>
                      <a:pt x="396" y="41"/>
                    </a:lnTo>
                    <a:lnTo>
                      <a:pt x="399" y="40"/>
                    </a:lnTo>
                    <a:lnTo>
                      <a:pt x="401" y="41"/>
                    </a:lnTo>
                    <a:lnTo>
                      <a:pt x="406" y="41"/>
                    </a:lnTo>
                    <a:lnTo>
                      <a:pt x="408" y="43"/>
                    </a:lnTo>
                    <a:lnTo>
                      <a:pt x="409" y="43"/>
                    </a:lnTo>
                    <a:lnTo>
                      <a:pt x="411" y="46"/>
                    </a:lnTo>
                    <a:lnTo>
                      <a:pt x="415" y="46"/>
                    </a:lnTo>
                    <a:lnTo>
                      <a:pt x="416" y="48"/>
                    </a:lnTo>
                    <a:lnTo>
                      <a:pt x="418" y="48"/>
                    </a:lnTo>
                    <a:lnTo>
                      <a:pt x="425" y="41"/>
                    </a:lnTo>
                    <a:lnTo>
                      <a:pt x="430" y="41"/>
                    </a:lnTo>
                    <a:lnTo>
                      <a:pt x="432" y="41"/>
                    </a:lnTo>
                    <a:lnTo>
                      <a:pt x="432" y="40"/>
                    </a:lnTo>
                    <a:lnTo>
                      <a:pt x="435" y="38"/>
                    </a:lnTo>
                    <a:lnTo>
                      <a:pt x="437" y="36"/>
                    </a:lnTo>
                    <a:lnTo>
                      <a:pt x="447" y="36"/>
                    </a:lnTo>
                    <a:lnTo>
                      <a:pt x="452" y="34"/>
                    </a:lnTo>
                    <a:lnTo>
                      <a:pt x="454" y="36"/>
                    </a:lnTo>
                    <a:lnTo>
                      <a:pt x="457" y="36"/>
                    </a:lnTo>
                    <a:lnTo>
                      <a:pt x="459" y="34"/>
                    </a:lnTo>
                    <a:lnTo>
                      <a:pt x="460" y="34"/>
                    </a:lnTo>
                    <a:lnTo>
                      <a:pt x="460" y="31"/>
                    </a:lnTo>
                    <a:lnTo>
                      <a:pt x="462" y="31"/>
                    </a:lnTo>
                    <a:lnTo>
                      <a:pt x="466" y="29"/>
                    </a:lnTo>
                    <a:lnTo>
                      <a:pt x="467" y="29"/>
                    </a:lnTo>
                    <a:lnTo>
                      <a:pt x="467" y="28"/>
                    </a:lnTo>
                    <a:lnTo>
                      <a:pt x="471" y="28"/>
                    </a:lnTo>
                    <a:lnTo>
                      <a:pt x="471" y="26"/>
                    </a:lnTo>
                    <a:lnTo>
                      <a:pt x="472" y="26"/>
                    </a:lnTo>
                    <a:lnTo>
                      <a:pt x="474" y="24"/>
                    </a:lnTo>
                    <a:lnTo>
                      <a:pt x="481" y="24"/>
                    </a:lnTo>
                    <a:lnTo>
                      <a:pt x="483" y="23"/>
                    </a:lnTo>
                    <a:lnTo>
                      <a:pt x="484" y="23"/>
                    </a:lnTo>
                    <a:lnTo>
                      <a:pt x="489" y="19"/>
                    </a:lnTo>
                    <a:lnTo>
                      <a:pt x="494" y="17"/>
                    </a:lnTo>
                    <a:lnTo>
                      <a:pt x="498" y="14"/>
                    </a:lnTo>
                    <a:lnTo>
                      <a:pt x="501" y="12"/>
                    </a:lnTo>
                    <a:lnTo>
                      <a:pt x="506" y="7"/>
                    </a:lnTo>
                    <a:lnTo>
                      <a:pt x="510" y="6"/>
                    </a:lnTo>
                    <a:lnTo>
                      <a:pt x="513" y="6"/>
                    </a:lnTo>
                    <a:lnTo>
                      <a:pt x="513" y="2"/>
                    </a:lnTo>
                    <a:lnTo>
                      <a:pt x="517" y="0"/>
                    </a:lnTo>
                    <a:lnTo>
                      <a:pt x="522" y="0"/>
                    </a:lnTo>
                    <a:lnTo>
                      <a:pt x="522" y="4"/>
                    </a:lnTo>
                    <a:lnTo>
                      <a:pt x="520" y="4"/>
                    </a:lnTo>
                    <a:lnTo>
                      <a:pt x="523" y="7"/>
                    </a:lnTo>
                    <a:lnTo>
                      <a:pt x="523" y="9"/>
                    </a:lnTo>
                    <a:lnTo>
                      <a:pt x="527" y="11"/>
                    </a:lnTo>
                    <a:lnTo>
                      <a:pt x="527" y="12"/>
                    </a:lnTo>
                    <a:lnTo>
                      <a:pt x="523" y="11"/>
                    </a:lnTo>
                    <a:lnTo>
                      <a:pt x="518" y="14"/>
                    </a:lnTo>
                    <a:lnTo>
                      <a:pt x="523" y="17"/>
                    </a:lnTo>
                    <a:lnTo>
                      <a:pt x="525" y="19"/>
                    </a:lnTo>
                    <a:lnTo>
                      <a:pt x="525" y="21"/>
                    </a:lnTo>
                    <a:lnTo>
                      <a:pt x="520" y="23"/>
                    </a:lnTo>
                    <a:lnTo>
                      <a:pt x="520" y="24"/>
                    </a:lnTo>
                    <a:lnTo>
                      <a:pt x="520" y="26"/>
                    </a:lnTo>
                    <a:lnTo>
                      <a:pt x="520" y="28"/>
                    </a:lnTo>
                    <a:lnTo>
                      <a:pt x="523" y="29"/>
                    </a:lnTo>
                    <a:lnTo>
                      <a:pt x="522" y="31"/>
                    </a:lnTo>
                    <a:lnTo>
                      <a:pt x="520" y="34"/>
                    </a:lnTo>
                    <a:lnTo>
                      <a:pt x="520" y="36"/>
                    </a:lnTo>
                    <a:lnTo>
                      <a:pt x="517" y="38"/>
                    </a:lnTo>
                    <a:lnTo>
                      <a:pt x="515" y="41"/>
                    </a:lnTo>
                    <a:lnTo>
                      <a:pt x="513" y="43"/>
                    </a:lnTo>
                    <a:lnTo>
                      <a:pt x="513" y="45"/>
                    </a:lnTo>
                    <a:lnTo>
                      <a:pt x="515" y="45"/>
                    </a:lnTo>
                    <a:lnTo>
                      <a:pt x="515" y="46"/>
                    </a:lnTo>
                    <a:lnTo>
                      <a:pt x="517" y="48"/>
                    </a:lnTo>
                    <a:lnTo>
                      <a:pt x="517" y="46"/>
                    </a:lnTo>
                    <a:lnTo>
                      <a:pt x="517" y="48"/>
                    </a:lnTo>
                    <a:lnTo>
                      <a:pt x="518" y="48"/>
                    </a:lnTo>
                    <a:lnTo>
                      <a:pt x="518" y="50"/>
                    </a:lnTo>
                    <a:lnTo>
                      <a:pt x="518" y="51"/>
                    </a:lnTo>
                    <a:lnTo>
                      <a:pt x="517" y="53"/>
                    </a:lnTo>
                    <a:lnTo>
                      <a:pt x="515" y="55"/>
                    </a:lnTo>
                    <a:lnTo>
                      <a:pt x="517" y="57"/>
                    </a:lnTo>
                    <a:lnTo>
                      <a:pt x="518" y="58"/>
                    </a:lnTo>
                    <a:lnTo>
                      <a:pt x="517" y="60"/>
                    </a:lnTo>
                    <a:lnTo>
                      <a:pt x="517" y="62"/>
                    </a:lnTo>
                    <a:lnTo>
                      <a:pt x="517" y="63"/>
                    </a:lnTo>
                    <a:lnTo>
                      <a:pt x="518" y="65"/>
                    </a:lnTo>
                    <a:lnTo>
                      <a:pt x="518" y="68"/>
                    </a:lnTo>
                    <a:lnTo>
                      <a:pt x="520" y="70"/>
                    </a:lnTo>
                    <a:lnTo>
                      <a:pt x="518" y="72"/>
                    </a:lnTo>
                    <a:lnTo>
                      <a:pt x="520" y="75"/>
                    </a:lnTo>
                    <a:lnTo>
                      <a:pt x="522" y="77"/>
                    </a:lnTo>
                    <a:lnTo>
                      <a:pt x="520" y="79"/>
                    </a:lnTo>
                    <a:lnTo>
                      <a:pt x="520" y="80"/>
                    </a:lnTo>
                    <a:lnTo>
                      <a:pt x="520" y="82"/>
                    </a:lnTo>
                    <a:lnTo>
                      <a:pt x="520" y="85"/>
                    </a:lnTo>
                    <a:lnTo>
                      <a:pt x="520" y="87"/>
                    </a:lnTo>
                    <a:lnTo>
                      <a:pt x="520" y="89"/>
                    </a:lnTo>
                    <a:lnTo>
                      <a:pt x="520" y="91"/>
                    </a:lnTo>
                    <a:lnTo>
                      <a:pt x="520" y="94"/>
                    </a:lnTo>
                    <a:lnTo>
                      <a:pt x="518" y="97"/>
                    </a:lnTo>
                    <a:lnTo>
                      <a:pt x="520" y="97"/>
                    </a:lnTo>
                    <a:lnTo>
                      <a:pt x="522" y="97"/>
                    </a:lnTo>
                    <a:lnTo>
                      <a:pt x="523" y="97"/>
                    </a:lnTo>
                    <a:lnTo>
                      <a:pt x="520" y="99"/>
                    </a:lnTo>
                    <a:lnTo>
                      <a:pt x="518" y="103"/>
                    </a:lnTo>
                    <a:lnTo>
                      <a:pt x="520" y="104"/>
                    </a:lnTo>
                    <a:lnTo>
                      <a:pt x="518" y="106"/>
                    </a:lnTo>
                    <a:lnTo>
                      <a:pt x="520" y="104"/>
                    </a:lnTo>
                    <a:lnTo>
                      <a:pt x="523" y="104"/>
                    </a:lnTo>
                    <a:lnTo>
                      <a:pt x="522" y="106"/>
                    </a:lnTo>
                    <a:lnTo>
                      <a:pt x="523" y="109"/>
                    </a:lnTo>
                    <a:lnTo>
                      <a:pt x="525" y="111"/>
                    </a:lnTo>
                    <a:lnTo>
                      <a:pt x="525" y="109"/>
                    </a:lnTo>
                    <a:lnTo>
                      <a:pt x="525" y="111"/>
                    </a:lnTo>
                    <a:lnTo>
                      <a:pt x="523" y="111"/>
                    </a:lnTo>
                    <a:lnTo>
                      <a:pt x="523" y="114"/>
                    </a:lnTo>
                    <a:lnTo>
                      <a:pt x="525" y="113"/>
                    </a:lnTo>
                    <a:lnTo>
                      <a:pt x="525" y="114"/>
                    </a:lnTo>
                    <a:lnTo>
                      <a:pt x="525" y="116"/>
                    </a:lnTo>
                    <a:lnTo>
                      <a:pt x="527" y="116"/>
                    </a:lnTo>
                    <a:lnTo>
                      <a:pt x="525" y="118"/>
                    </a:lnTo>
                    <a:lnTo>
                      <a:pt x="523" y="120"/>
                    </a:lnTo>
                    <a:lnTo>
                      <a:pt x="523" y="118"/>
                    </a:lnTo>
                    <a:lnTo>
                      <a:pt x="523" y="120"/>
                    </a:lnTo>
                    <a:lnTo>
                      <a:pt x="522" y="120"/>
                    </a:lnTo>
                    <a:lnTo>
                      <a:pt x="520" y="125"/>
                    </a:lnTo>
                    <a:lnTo>
                      <a:pt x="520" y="123"/>
                    </a:lnTo>
                    <a:lnTo>
                      <a:pt x="518" y="123"/>
                    </a:lnTo>
                    <a:lnTo>
                      <a:pt x="515" y="125"/>
                    </a:lnTo>
                    <a:lnTo>
                      <a:pt x="515" y="126"/>
                    </a:lnTo>
                    <a:lnTo>
                      <a:pt x="517" y="130"/>
                    </a:lnTo>
                    <a:lnTo>
                      <a:pt x="518" y="130"/>
                    </a:lnTo>
                    <a:lnTo>
                      <a:pt x="520" y="131"/>
                    </a:lnTo>
                    <a:lnTo>
                      <a:pt x="520" y="128"/>
                    </a:lnTo>
                    <a:lnTo>
                      <a:pt x="518" y="126"/>
                    </a:lnTo>
                    <a:lnTo>
                      <a:pt x="520" y="126"/>
                    </a:lnTo>
                    <a:lnTo>
                      <a:pt x="522" y="126"/>
                    </a:lnTo>
                    <a:lnTo>
                      <a:pt x="523" y="126"/>
                    </a:lnTo>
                    <a:lnTo>
                      <a:pt x="522" y="133"/>
                    </a:lnTo>
                    <a:lnTo>
                      <a:pt x="523" y="137"/>
                    </a:lnTo>
                    <a:lnTo>
                      <a:pt x="523" y="142"/>
                    </a:lnTo>
                    <a:lnTo>
                      <a:pt x="522" y="143"/>
                    </a:lnTo>
                    <a:lnTo>
                      <a:pt x="523" y="147"/>
                    </a:lnTo>
                    <a:lnTo>
                      <a:pt x="523" y="148"/>
                    </a:lnTo>
                    <a:lnTo>
                      <a:pt x="522" y="150"/>
                    </a:lnTo>
                    <a:lnTo>
                      <a:pt x="522" y="155"/>
                    </a:lnTo>
                    <a:lnTo>
                      <a:pt x="523" y="157"/>
                    </a:lnTo>
                    <a:lnTo>
                      <a:pt x="525" y="157"/>
                    </a:lnTo>
                    <a:lnTo>
                      <a:pt x="525" y="159"/>
                    </a:lnTo>
                    <a:lnTo>
                      <a:pt x="522" y="160"/>
                    </a:lnTo>
                    <a:lnTo>
                      <a:pt x="522" y="162"/>
                    </a:lnTo>
                    <a:lnTo>
                      <a:pt x="523" y="164"/>
                    </a:lnTo>
                    <a:lnTo>
                      <a:pt x="525" y="174"/>
                    </a:lnTo>
                    <a:lnTo>
                      <a:pt x="525" y="176"/>
                    </a:lnTo>
                    <a:lnTo>
                      <a:pt x="527" y="177"/>
                    </a:lnTo>
                    <a:lnTo>
                      <a:pt x="523" y="177"/>
                    </a:lnTo>
                    <a:lnTo>
                      <a:pt x="523" y="179"/>
                    </a:lnTo>
                    <a:lnTo>
                      <a:pt x="525" y="179"/>
                    </a:lnTo>
                    <a:lnTo>
                      <a:pt x="527" y="179"/>
                    </a:lnTo>
                    <a:lnTo>
                      <a:pt x="527" y="181"/>
                    </a:lnTo>
                    <a:lnTo>
                      <a:pt x="527" y="182"/>
                    </a:lnTo>
                    <a:lnTo>
                      <a:pt x="523" y="184"/>
                    </a:lnTo>
                    <a:lnTo>
                      <a:pt x="525" y="184"/>
                    </a:lnTo>
                    <a:lnTo>
                      <a:pt x="525" y="186"/>
                    </a:lnTo>
                    <a:lnTo>
                      <a:pt x="522" y="188"/>
                    </a:lnTo>
                    <a:lnTo>
                      <a:pt x="523" y="189"/>
                    </a:lnTo>
                    <a:lnTo>
                      <a:pt x="522" y="191"/>
                    </a:lnTo>
                    <a:lnTo>
                      <a:pt x="523" y="191"/>
                    </a:lnTo>
                    <a:lnTo>
                      <a:pt x="523" y="189"/>
                    </a:lnTo>
                    <a:lnTo>
                      <a:pt x="525" y="191"/>
                    </a:lnTo>
                    <a:lnTo>
                      <a:pt x="523" y="191"/>
                    </a:lnTo>
                    <a:lnTo>
                      <a:pt x="525" y="193"/>
                    </a:lnTo>
                    <a:lnTo>
                      <a:pt x="525" y="191"/>
                    </a:lnTo>
                    <a:lnTo>
                      <a:pt x="527" y="189"/>
                    </a:lnTo>
                    <a:lnTo>
                      <a:pt x="530" y="189"/>
                    </a:lnTo>
                    <a:lnTo>
                      <a:pt x="530" y="193"/>
                    </a:lnTo>
                    <a:lnTo>
                      <a:pt x="532" y="193"/>
                    </a:lnTo>
                    <a:lnTo>
                      <a:pt x="532" y="196"/>
                    </a:lnTo>
                    <a:lnTo>
                      <a:pt x="528" y="198"/>
                    </a:lnTo>
                    <a:lnTo>
                      <a:pt x="527" y="196"/>
                    </a:lnTo>
                    <a:lnTo>
                      <a:pt x="525" y="196"/>
                    </a:lnTo>
                    <a:lnTo>
                      <a:pt x="527" y="198"/>
                    </a:lnTo>
                    <a:lnTo>
                      <a:pt x="527" y="201"/>
                    </a:lnTo>
                    <a:lnTo>
                      <a:pt x="528" y="203"/>
                    </a:lnTo>
                    <a:lnTo>
                      <a:pt x="527" y="203"/>
                    </a:lnTo>
                    <a:lnTo>
                      <a:pt x="527" y="205"/>
                    </a:lnTo>
                    <a:lnTo>
                      <a:pt x="528" y="203"/>
                    </a:lnTo>
                    <a:lnTo>
                      <a:pt x="525" y="205"/>
                    </a:lnTo>
                    <a:lnTo>
                      <a:pt x="527" y="206"/>
                    </a:lnTo>
                    <a:lnTo>
                      <a:pt x="525" y="210"/>
                    </a:lnTo>
                    <a:lnTo>
                      <a:pt x="528" y="208"/>
                    </a:lnTo>
                    <a:lnTo>
                      <a:pt x="528" y="203"/>
                    </a:lnTo>
                    <a:lnTo>
                      <a:pt x="530" y="201"/>
                    </a:lnTo>
                    <a:lnTo>
                      <a:pt x="535" y="199"/>
                    </a:lnTo>
                    <a:lnTo>
                      <a:pt x="537" y="205"/>
                    </a:lnTo>
                    <a:lnTo>
                      <a:pt x="534" y="206"/>
                    </a:lnTo>
                    <a:lnTo>
                      <a:pt x="534" y="208"/>
                    </a:lnTo>
                    <a:lnTo>
                      <a:pt x="535" y="206"/>
                    </a:lnTo>
                    <a:lnTo>
                      <a:pt x="537" y="206"/>
                    </a:lnTo>
                    <a:lnTo>
                      <a:pt x="535" y="211"/>
                    </a:lnTo>
                    <a:lnTo>
                      <a:pt x="537" y="213"/>
                    </a:lnTo>
                    <a:lnTo>
                      <a:pt x="537" y="218"/>
                    </a:lnTo>
                    <a:lnTo>
                      <a:pt x="535" y="220"/>
                    </a:lnTo>
                    <a:lnTo>
                      <a:pt x="537" y="220"/>
                    </a:lnTo>
                    <a:lnTo>
                      <a:pt x="537" y="222"/>
                    </a:lnTo>
                    <a:lnTo>
                      <a:pt x="535" y="222"/>
                    </a:lnTo>
                    <a:lnTo>
                      <a:pt x="532" y="223"/>
                    </a:lnTo>
                    <a:lnTo>
                      <a:pt x="528" y="225"/>
                    </a:lnTo>
                    <a:lnTo>
                      <a:pt x="527" y="222"/>
                    </a:lnTo>
                    <a:lnTo>
                      <a:pt x="527" y="223"/>
                    </a:lnTo>
                    <a:lnTo>
                      <a:pt x="527" y="225"/>
                    </a:lnTo>
                    <a:lnTo>
                      <a:pt x="530" y="227"/>
                    </a:lnTo>
                    <a:lnTo>
                      <a:pt x="532" y="227"/>
                    </a:lnTo>
                    <a:lnTo>
                      <a:pt x="534" y="230"/>
                    </a:lnTo>
                    <a:lnTo>
                      <a:pt x="532" y="230"/>
                    </a:lnTo>
                    <a:lnTo>
                      <a:pt x="532" y="228"/>
                    </a:lnTo>
                    <a:lnTo>
                      <a:pt x="528" y="228"/>
                    </a:lnTo>
                    <a:lnTo>
                      <a:pt x="527" y="227"/>
                    </a:lnTo>
                    <a:lnTo>
                      <a:pt x="527" y="228"/>
                    </a:lnTo>
                    <a:lnTo>
                      <a:pt x="527" y="230"/>
                    </a:lnTo>
                    <a:lnTo>
                      <a:pt x="528" y="230"/>
                    </a:lnTo>
                    <a:lnTo>
                      <a:pt x="528" y="228"/>
                    </a:lnTo>
                    <a:lnTo>
                      <a:pt x="528" y="230"/>
                    </a:lnTo>
                    <a:lnTo>
                      <a:pt x="530" y="232"/>
                    </a:lnTo>
                    <a:lnTo>
                      <a:pt x="530" y="233"/>
                    </a:lnTo>
                    <a:lnTo>
                      <a:pt x="527" y="233"/>
                    </a:lnTo>
                    <a:lnTo>
                      <a:pt x="523" y="237"/>
                    </a:lnTo>
                    <a:lnTo>
                      <a:pt x="523" y="235"/>
                    </a:lnTo>
                    <a:lnTo>
                      <a:pt x="522" y="237"/>
                    </a:lnTo>
                    <a:lnTo>
                      <a:pt x="520" y="239"/>
                    </a:lnTo>
                    <a:lnTo>
                      <a:pt x="520" y="240"/>
                    </a:lnTo>
                    <a:lnTo>
                      <a:pt x="520" y="239"/>
                    </a:lnTo>
                    <a:lnTo>
                      <a:pt x="523" y="240"/>
                    </a:lnTo>
                    <a:lnTo>
                      <a:pt x="525" y="239"/>
                    </a:lnTo>
                    <a:lnTo>
                      <a:pt x="523" y="239"/>
                    </a:lnTo>
                    <a:lnTo>
                      <a:pt x="525" y="237"/>
                    </a:lnTo>
                    <a:lnTo>
                      <a:pt x="527" y="239"/>
                    </a:lnTo>
                    <a:lnTo>
                      <a:pt x="527" y="237"/>
                    </a:lnTo>
                    <a:lnTo>
                      <a:pt x="528" y="239"/>
                    </a:lnTo>
                    <a:lnTo>
                      <a:pt x="528" y="244"/>
                    </a:lnTo>
                    <a:lnTo>
                      <a:pt x="525" y="249"/>
                    </a:lnTo>
                    <a:lnTo>
                      <a:pt x="527" y="247"/>
                    </a:lnTo>
                    <a:lnTo>
                      <a:pt x="523" y="250"/>
                    </a:lnTo>
                    <a:lnTo>
                      <a:pt x="523" y="252"/>
                    </a:lnTo>
                    <a:lnTo>
                      <a:pt x="522" y="252"/>
                    </a:lnTo>
                    <a:lnTo>
                      <a:pt x="523" y="252"/>
                    </a:lnTo>
                    <a:lnTo>
                      <a:pt x="523" y="254"/>
                    </a:lnTo>
                    <a:lnTo>
                      <a:pt x="520" y="257"/>
                    </a:lnTo>
                    <a:lnTo>
                      <a:pt x="517" y="261"/>
                    </a:lnTo>
                    <a:lnTo>
                      <a:pt x="511" y="268"/>
                    </a:lnTo>
                    <a:lnTo>
                      <a:pt x="503" y="278"/>
                    </a:lnTo>
                    <a:lnTo>
                      <a:pt x="500" y="278"/>
                    </a:lnTo>
                    <a:lnTo>
                      <a:pt x="501" y="279"/>
                    </a:lnTo>
                    <a:lnTo>
                      <a:pt x="501" y="281"/>
                    </a:lnTo>
                    <a:lnTo>
                      <a:pt x="500" y="283"/>
                    </a:lnTo>
                    <a:lnTo>
                      <a:pt x="500" y="285"/>
                    </a:lnTo>
                    <a:lnTo>
                      <a:pt x="496" y="286"/>
                    </a:lnTo>
                    <a:lnTo>
                      <a:pt x="496" y="290"/>
                    </a:lnTo>
                    <a:lnTo>
                      <a:pt x="493" y="293"/>
                    </a:lnTo>
                    <a:lnTo>
                      <a:pt x="491" y="293"/>
                    </a:lnTo>
                    <a:lnTo>
                      <a:pt x="484" y="295"/>
                    </a:lnTo>
                    <a:lnTo>
                      <a:pt x="486" y="295"/>
                    </a:lnTo>
                    <a:lnTo>
                      <a:pt x="489" y="295"/>
                    </a:lnTo>
                    <a:lnTo>
                      <a:pt x="491" y="296"/>
                    </a:lnTo>
                    <a:lnTo>
                      <a:pt x="493" y="296"/>
                    </a:lnTo>
                    <a:lnTo>
                      <a:pt x="489" y="300"/>
                    </a:lnTo>
                    <a:lnTo>
                      <a:pt x="488" y="300"/>
                    </a:lnTo>
                    <a:lnTo>
                      <a:pt x="489" y="300"/>
                    </a:lnTo>
                    <a:lnTo>
                      <a:pt x="489" y="302"/>
                    </a:lnTo>
                    <a:lnTo>
                      <a:pt x="489" y="300"/>
                    </a:lnTo>
                    <a:lnTo>
                      <a:pt x="489" y="302"/>
                    </a:lnTo>
                    <a:lnTo>
                      <a:pt x="486" y="302"/>
                    </a:lnTo>
                    <a:lnTo>
                      <a:pt x="488" y="303"/>
                    </a:lnTo>
                    <a:lnTo>
                      <a:pt x="472" y="312"/>
                    </a:lnTo>
                    <a:lnTo>
                      <a:pt x="469" y="315"/>
                    </a:lnTo>
                    <a:lnTo>
                      <a:pt x="457" y="320"/>
                    </a:lnTo>
                    <a:lnTo>
                      <a:pt x="452" y="324"/>
                    </a:lnTo>
                    <a:lnTo>
                      <a:pt x="450" y="327"/>
                    </a:lnTo>
                    <a:lnTo>
                      <a:pt x="450" y="325"/>
                    </a:lnTo>
                    <a:lnTo>
                      <a:pt x="449" y="327"/>
                    </a:lnTo>
                    <a:lnTo>
                      <a:pt x="450" y="329"/>
                    </a:lnTo>
                    <a:lnTo>
                      <a:pt x="447" y="332"/>
                    </a:lnTo>
                    <a:lnTo>
                      <a:pt x="443" y="332"/>
                    </a:lnTo>
                    <a:lnTo>
                      <a:pt x="435" y="334"/>
                    </a:lnTo>
                    <a:lnTo>
                      <a:pt x="428" y="336"/>
                    </a:lnTo>
                    <a:lnTo>
                      <a:pt x="416" y="339"/>
                    </a:lnTo>
                    <a:lnTo>
                      <a:pt x="404" y="344"/>
                    </a:lnTo>
                    <a:lnTo>
                      <a:pt x="403" y="346"/>
                    </a:lnTo>
                    <a:lnTo>
                      <a:pt x="391" y="349"/>
                    </a:lnTo>
                    <a:lnTo>
                      <a:pt x="379" y="356"/>
                    </a:lnTo>
                    <a:lnTo>
                      <a:pt x="377" y="354"/>
                    </a:lnTo>
                    <a:lnTo>
                      <a:pt x="377" y="356"/>
                    </a:lnTo>
                    <a:lnTo>
                      <a:pt x="374" y="358"/>
                    </a:lnTo>
                    <a:lnTo>
                      <a:pt x="358" y="364"/>
                    </a:lnTo>
                    <a:lnTo>
                      <a:pt x="353" y="370"/>
                    </a:lnTo>
                    <a:lnTo>
                      <a:pt x="348" y="373"/>
                    </a:lnTo>
                    <a:lnTo>
                      <a:pt x="341" y="383"/>
                    </a:lnTo>
                    <a:lnTo>
                      <a:pt x="341" y="385"/>
                    </a:lnTo>
                    <a:lnTo>
                      <a:pt x="336" y="390"/>
                    </a:lnTo>
                    <a:lnTo>
                      <a:pt x="335" y="390"/>
                    </a:lnTo>
                    <a:lnTo>
                      <a:pt x="331" y="392"/>
                    </a:lnTo>
                    <a:lnTo>
                      <a:pt x="331" y="393"/>
                    </a:lnTo>
                    <a:lnTo>
                      <a:pt x="333" y="393"/>
                    </a:lnTo>
                    <a:lnTo>
                      <a:pt x="333" y="392"/>
                    </a:lnTo>
                    <a:lnTo>
                      <a:pt x="335" y="392"/>
                    </a:lnTo>
                    <a:lnTo>
                      <a:pt x="335" y="393"/>
                    </a:lnTo>
                    <a:lnTo>
                      <a:pt x="326" y="400"/>
                    </a:lnTo>
                    <a:lnTo>
                      <a:pt x="326" y="402"/>
                    </a:lnTo>
                    <a:lnTo>
                      <a:pt x="324" y="400"/>
                    </a:lnTo>
                    <a:lnTo>
                      <a:pt x="324" y="402"/>
                    </a:lnTo>
                    <a:lnTo>
                      <a:pt x="323" y="402"/>
                    </a:lnTo>
                    <a:lnTo>
                      <a:pt x="323" y="404"/>
                    </a:lnTo>
                    <a:lnTo>
                      <a:pt x="318" y="409"/>
                    </a:lnTo>
                    <a:lnTo>
                      <a:pt x="318" y="410"/>
                    </a:lnTo>
                    <a:lnTo>
                      <a:pt x="314" y="410"/>
                    </a:lnTo>
                    <a:lnTo>
                      <a:pt x="316" y="412"/>
                    </a:lnTo>
                    <a:lnTo>
                      <a:pt x="314" y="414"/>
                    </a:lnTo>
                    <a:lnTo>
                      <a:pt x="313" y="414"/>
                    </a:lnTo>
                    <a:lnTo>
                      <a:pt x="314" y="414"/>
                    </a:lnTo>
                    <a:lnTo>
                      <a:pt x="313" y="416"/>
                    </a:lnTo>
                    <a:lnTo>
                      <a:pt x="311" y="417"/>
                    </a:lnTo>
                    <a:lnTo>
                      <a:pt x="309" y="421"/>
                    </a:lnTo>
                    <a:lnTo>
                      <a:pt x="313" y="419"/>
                    </a:lnTo>
                    <a:lnTo>
                      <a:pt x="311" y="421"/>
                    </a:lnTo>
                    <a:lnTo>
                      <a:pt x="311" y="422"/>
                    </a:lnTo>
                    <a:lnTo>
                      <a:pt x="307" y="426"/>
                    </a:lnTo>
                    <a:lnTo>
                      <a:pt x="306" y="426"/>
                    </a:lnTo>
                    <a:lnTo>
                      <a:pt x="301" y="427"/>
                    </a:lnTo>
                    <a:lnTo>
                      <a:pt x="299" y="427"/>
                    </a:lnTo>
                    <a:lnTo>
                      <a:pt x="299" y="426"/>
                    </a:lnTo>
                    <a:lnTo>
                      <a:pt x="297" y="427"/>
                    </a:lnTo>
                    <a:lnTo>
                      <a:pt x="296" y="429"/>
                    </a:lnTo>
                    <a:lnTo>
                      <a:pt x="297" y="427"/>
                    </a:lnTo>
                    <a:lnTo>
                      <a:pt x="296" y="427"/>
                    </a:lnTo>
                    <a:lnTo>
                      <a:pt x="294" y="427"/>
                    </a:lnTo>
                    <a:lnTo>
                      <a:pt x="294" y="429"/>
                    </a:lnTo>
                    <a:lnTo>
                      <a:pt x="292" y="429"/>
                    </a:lnTo>
                    <a:lnTo>
                      <a:pt x="290" y="429"/>
                    </a:lnTo>
                    <a:lnTo>
                      <a:pt x="292" y="427"/>
                    </a:lnTo>
                    <a:lnTo>
                      <a:pt x="294" y="426"/>
                    </a:lnTo>
                    <a:lnTo>
                      <a:pt x="294" y="424"/>
                    </a:lnTo>
                    <a:lnTo>
                      <a:pt x="292" y="424"/>
                    </a:lnTo>
                    <a:lnTo>
                      <a:pt x="294" y="426"/>
                    </a:lnTo>
                    <a:lnTo>
                      <a:pt x="292" y="427"/>
                    </a:lnTo>
                    <a:lnTo>
                      <a:pt x="289" y="427"/>
                    </a:lnTo>
                    <a:lnTo>
                      <a:pt x="289" y="431"/>
                    </a:lnTo>
                    <a:lnTo>
                      <a:pt x="287" y="431"/>
                    </a:lnTo>
                    <a:lnTo>
                      <a:pt x="285" y="429"/>
                    </a:lnTo>
                    <a:lnTo>
                      <a:pt x="285" y="431"/>
                    </a:lnTo>
                    <a:lnTo>
                      <a:pt x="287" y="431"/>
                    </a:lnTo>
                    <a:lnTo>
                      <a:pt x="277" y="436"/>
                    </a:lnTo>
                    <a:lnTo>
                      <a:pt x="277" y="438"/>
                    </a:lnTo>
                    <a:lnTo>
                      <a:pt x="279" y="438"/>
                    </a:lnTo>
                    <a:lnTo>
                      <a:pt x="277" y="438"/>
                    </a:lnTo>
                    <a:lnTo>
                      <a:pt x="275" y="438"/>
                    </a:lnTo>
                    <a:lnTo>
                      <a:pt x="275" y="439"/>
                    </a:lnTo>
                    <a:lnTo>
                      <a:pt x="267" y="448"/>
                    </a:lnTo>
                    <a:lnTo>
                      <a:pt x="262" y="455"/>
                    </a:lnTo>
                    <a:lnTo>
                      <a:pt x="248" y="467"/>
                    </a:lnTo>
                    <a:lnTo>
                      <a:pt x="248" y="465"/>
                    </a:lnTo>
                    <a:lnTo>
                      <a:pt x="246" y="468"/>
                    </a:lnTo>
                    <a:lnTo>
                      <a:pt x="236" y="475"/>
                    </a:lnTo>
                    <a:lnTo>
                      <a:pt x="233" y="475"/>
                    </a:lnTo>
                    <a:lnTo>
                      <a:pt x="231" y="472"/>
                    </a:lnTo>
                    <a:lnTo>
                      <a:pt x="229" y="470"/>
                    </a:lnTo>
                    <a:lnTo>
                      <a:pt x="229" y="472"/>
                    </a:lnTo>
                    <a:lnTo>
                      <a:pt x="229" y="475"/>
                    </a:lnTo>
                    <a:lnTo>
                      <a:pt x="228" y="477"/>
                    </a:lnTo>
                    <a:lnTo>
                      <a:pt x="229" y="480"/>
                    </a:lnTo>
                    <a:lnTo>
                      <a:pt x="228" y="484"/>
                    </a:lnTo>
                    <a:lnTo>
                      <a:pt x="229" y="490"/>
                    </a:lnTo>
                    <a:lnTo>
                      <a:pt x="229" y="492"/>
                    </a:lnTo>
                    <a:lnTo>
                      <a:pt x="228" y="490"/>
                    </a:lnTo>
                    <a:lnTo>
                      <a:pt x="226" y="490"/>
                    </a:lnTo>
                    <a:lnTo>
                      <a:pt x="226" y="492"/>
                    </a:lnTo>
                    <a:lnTo>
                      <a:pt x="228" y="494"/>
                    </a:lnTo>
                    <a:lnTo>
                      <a:pt x="228" y="495"/>
                    </a:lnTo>
                    <a:lnTo>
                      <a:pt x="226" y="499"/>
                    </a:lnTo>
                    <a:lnTo>
                      <a:pt x="224" y="501"/>
                    </a:lnTo>
                    <a:lnTo>
                      <a:pt x="224" y="499"/>
                    </a:lnTo>
                    <a:lnTo>
                      <a:pt x="224" y="501"/>
                    </a:lnTo>
                    <a:lnTo>
                      <a:pt x="226" y="501"/>
                    </a:lnTo>
                    <a:lnTo>
                      <a:pt x="226" y="502"/>
                    </a:lnTo>
                    <a:lnTo>
                      <a:pt x="224" y="504"/>
                    </a:lnTo>
                    <a:lnTo>
                      <a:pt x="226" y="506"/>
                    </a:lnTo>
                    <a:lnTo>
                      <a:pt x="228" y="507"/>
                    </a:lnTo>
                    <a:lnTo>
                      <a:pt x="226" y="509"/>
                    </a:lnTo>
                    <a:lnTo>
                      <a:pt x="228" y="509"/>
                    </a:lnTo>
                    <a:lnTo>
                      <a:pt x="229" y="511"/>
                    </a:lnTo>
                    <a:lnTo>
                      <a:pt x="228" y="511"/>
                    </a:lnTo>
                    <a:lnTo>
                      <a:pt x="229" y="511"/>
                    </a:lnTo>
                    <a:lnTo>
                      <a:pt x="231" y="512"/>
                    </a:lnTo>
                    <a:lnTo>
                      <a:pt x="229" y="512"/>
                    </a:lnTo>
                    <a:lnTo>
                      <a:pt x="231" y="512"/>
                    </a:lnTo>
                    <a:lnTo>
                      <a:pt x="234" y="514"/>
                    </a:lnTo>
                    <a:lnTo>
                      <a:pt x="233" y="516"/>
                    </a:lnTo>
                    <a:lnTo>
                      <a:pt x="234" y="516"/>
                    </a:lnTo>
                    <a:lnTo>
                      <a:pt x="233" y="516"/>
                    </a:lnTo>
                    <a:lnTo>
                      <a:pt x="233" y="518"/>
                    </a:lnTo>
                    <a:lnTo>
                      <a:pt x="231" y="518"/>
                    </a:lnTo>
                    <a:lnTo>
                      <a:pt x="233" y="518"/>
                    </a:lnTo>
                    <a:lnTo>
                      <a:pt x="231" y="518"/>
                    </a:lnTo>
                    <a:lnTo>
                      <a:pt x="231" y="519"/>
                    </a:lnTo>
                    <a:lnTo>
                      <a:pt x="231" y="518"/>
                    </a:lnTo>
                    <a:lnTo>
                      <a:pt x="234" y="518"/>
                    </a:lnTo>
                    <a:lnTo>
                      <a:pt x="234" y="519"/>
                    </a:lnTo>
                    <a:lnTo>
                      <a:pt x="234" y="518"/>
                    </a:lnTo>
                    <a:lnTo>
                      <a:pt x="236" y="516"/>
                    </a:lnTo>
                    <a:lnTo>
                      <a:pt x="234" y="518"/>
                    </a:lnTo>
                    <a:lnTo>
                      <a:pt x="236" y="521"/>
                    </a:lnTo>
                    <a:lnTo>
                      <a:pt x="234" y="521"/>
                    </a:lnTo>
                    <a:lnTo>
                      <a:pt x="236" y="521"/>
                    </a:lnTo>
                    <a:lnTo>
                      <a:pt x="236" y="519"/>
                    </a:lnTo>
                    <a:lnTo>
                      <a:pt x="236" y="518"/>
                    </a:lnTo>
                    <a:lnTo>
                      <a:pt x="238" y="518"/>
                    </a:lnTo>
                    <a:lnTo>
                      <a:pt x="239" y="519"/>
                    </a:lnTo>
                    <a:lnTo>
                      <a:pt x="241" y="519"/>
                    </a:lnTo>
                    <a:lnTo>
                      <a:pt x="239" y="521"/>
                    </a:lnTo>
                    <a:lnTo>
                      <a:pt x="241" y="519"/>
                    </a:lnTo>
                    <a:lnTo>
                      <a:pt x="241" y="521"/>
                    </a:lnTo>
                    <a:lnTo>
                      <a:pt x="241" y="523"/>
                    </a:lnTo>
                    <a:lnTo>
                      <a:pt x="241" y="521"/>
                    </a:lnTo>
                    <a:lnTo>
                      <a:pt x="243" y="523"/>
                    </a:lnTo>
                    <a:lnTo>
                      <a:pt x="241" y="523"/>
                    </a:lnTo>
                    <a:lnTo>
                      <a:pt x="239" y="524"/>
                    </a:lnTo>
                    <a:lnTo>
                      <a:pt x="241" y="524"/>
                    </a:lnTo>
                    <a:lnTo>
                      <a:pt x="241" y="526"/>
                    </a:lnTo>
                    <a:lnTo>
                      <a:pt x="243" y="526"/>
                    </a:lnTo>
                    <a:lnTo>
                      <a:pt x="243" y="524"/>
                    </a:lnTo>
                    <a:lnTo>
                      <a:pt x="245" y="528"/>
                    </a:lnTo>
                    <a:lnTo>
                      <a:pt x="243" y="529"/>
                    </a:lnTo>
                    <a:lnTo>
                      <a:pt x="246" y="529"/>
                    </a:lnTo>
                    <a:lnTo>
                      <a:pt x="248" y="531"/>
                    </a:lnTo>
                    <a:lnTo>
                      <a:pt x="246" y="535"/>
                    </a:lnTo>
                    <a:lnTo>
                      <a:pt x="245" y="535"/>
                    </a:lnTo>
                    <a:lnTo>
                      <a:pt x="246" y="536"/>
                    </a:lnTo>
                    <a:lnTo>
                      <a:pt x="246" y="538"/>
                    </a:lnTo>
                    <a:lnTo>
                      <a:pt x="245" y="538"/>
                    </a:lnTo>
                    <a:lnTo>
                      <a:pt x="243" y="538"/>
                    </a:lnTo>
                    <a:lnTo>
                      <a:pt x="241" y="540"/>
                    </a:lnTo>
                    <a:lnTo>
                      <a:pt x="245" y="540"/>
                    </a:lnTo>
                    <a:lnTo>
                      <a:pt x="245" y="541"/>
                    </a:lnTo>
                    <a:lnTo>
                      <a:pt x="245" y="543"/>
                    </a:lnTo>
                    <a:lnTo>
                      <a:pt x="246" y="545"/>
                    </a:lnTo>
                    <a:lnTo>
                      <a:pt x="246" y="543"/>
                    </a:lnTo>
                    <a:lnTo>
                      <a:pt x="246" y="545"/>
                    </a:lnTo>
                    <a:lnTo>
                      <a:pt x="246" y="546"/>
                    </a:lnTo>
                    <a:lnTo>
                      <a:pt x="245" y="546"/>
                    </a:lnTo>
                    <a:lnTo>
                      <a:pt x="243" y="545"/>
                    </a:lnTo>
                    <a:lnTo>
                      <a:pt x="245" y="546"/>
                    </a:lnTo>
                    <a:lnTo>
                      <a:pt x="245" y="548"/>
                    </a:lnTo>
                    <a:lnTo>
                      <a:pt x="245" y="550"/>
                    </a:lnTo>
                    <a:lnTo>
                      <a:pt x="246" y="546"/>
                    </a:lnTo>
                    <a:lnTo>
                      <a:pt x="246" y="550"/>
                    </a:lnTo>
                    <a:lnTo>
                      <a:pt x="248" y="555"/>
                    </a:lnTo>
                    <a:lnTo>
                      <a:pt x="255" y="565"/>
                    </a:lnTo>
                    <a:lnTo>
                      <a:pt x="255" y="575"/>
                    </a:lnTo>
                    <a:lnTo>
                      <a:pt x="258" y="581"/>
                    </a:lnTo>
                    <a:lnTo>
                      <a:pt x="256" y="582"/>
                    </a:lnTo>
                    <a:lnTo>
                      <a:pt x="258" y="584"/>
                    </a:lnTo>
                    <a:lnTo>
                      <a:pt x="258" y="594"/>
                    </a:lnTo>
                    <a:lnTo>
                      <a:pt x="260" y="594"/>
                    </a:lnTo>
                    <a:lnTo>
                      <a:pt x="260" y="596"/>
                    </a:lnTo>
                    <a:lnTo>
                      <a:pt x="262" y="594"/>
                    </a:lnTo>
                    <a:lnTo>
                      <a:pt x="262" y="596"/>
                    </a:lnTo>
                    <a:lnTo>
                      <a:pt x="262" y="594"/>
                    </a:lnTo>
                    <a:lnTo>
                      <a:pt x="262" y="592"/>
                    </a:lnTo>
                    <a:lnTo>
                      <a:pt x="263" y="592"/>
                    </a:lnTo>
                    <a:lnTo>
                      <a:pt x="263" y="591"/>
                    </a:lnTo>
                    <a:lnTo>
                      <a:pt x="265" y="589"/>
                    </a:lnTo>
                    <a:lnTo>
                      <a:pt x="267" y="594"/>
                    </a:lnTo>
                    <a:lnTo>
                      <a:pt x="268" y="601"/>
                    </a:lnTo>
                    <a:lnTo>
                      <a:pt x="268" y="594"/>
                    </a:lnTo>
                    <a:lnTo>
                      <a:pt x="268" y="592"/>
                    </a:lnTo>
                    <a:lnTo>
                      <a:pt x="268" y="598"/>
                    </a:lnTo>
                    <a:lnTo>
                      <a:pt x="268" y="601"/>
                    </a:lnTo>
                    <a:lnTo>
                      <a:pt x="268" y="606"/>
                    </a:lnTo>
                    <a:lnTo>
                      <a:pt x="267" y="615"/>
                    </a:lnTo>
                    <a:lnTo>
                      <a:pt x="267" y="625"/>
                    </a:lnTo>
                    <a:lnTo>
                      <a:pt x="268" y="632"/>
                    </a:lnTo>
                    <a:lnTo>
                      <a:pt x="270" y="632"/>
                    </a:lnTo>
                    <a:lnTo>
                      <a:pt x="268" y="630"/>
                    </a:lnTo>
                    <a:lnTo>
                      <a:pt x="272" y="632"/>
                    </a:lnTo>
                    <a:lnTo>
                      <a:pt x="272" y="633"/>
                    </a:lnTo>
                    <a:lnTo>
                      <a:pt x="267" y="640"/>
                    </a:lnTo>
                    <a:lnTo>
                      <a:pt x="265" y="643"/>
                    </a:lnTo>
                    <a:lnTo>
                      <a:pt x="267" y="650"/>
                    </a:lnTo>
                    <a:lnTo>
                      <a:pt x="263" y="660"/>
                    </a:lnTo>
                    <a:lnTo>
                      <a:pt x="263" y="667"/>
                    </a:lnTo>
                    <a:lnTo>
                      <a:pt x="262" y="672"/>
                    </a:lnTo>
                    <a:lnTo>
                      <a:pt x="262" y="669"/>
                    </a:lnTo>
                    <a:lnTo>
                      <a:pt x="258" y="669"/>
                    </a:lnTo>
                    <a:lnTo>
                      <a:pt x="258" y="671"/>
                    </a:lnTo>
                    <a:lnTo>
                      <a:pt x="260" y="671"/>
                    </a:lnTo>
                    <a:lnTo>
                      <a:pt x="258" y="679"/>
                    </a:lnTo>
                    <a:lnTo>
                      <a:pt x="258" y="681"/>
                    </a:lnTo>
                    <a:lnTo>
                      <a:pt x="258" y="683"/>
                    </a:lnTo>
                    <a:lnTo>
                      <a:pt x="258" y="686"/>
                    </a:lnTo>
                    <a:lnTo>
                      <a:pt x="260" y="683"/>
                    </a:lnTo>
                    <a:lnTo>
                      <a:pt x="262" y="681"/>
                    </a:lnTo>
                    <a:lnTo>
                      <a:pt x="260" y="679"/>
                    </a:lnTo>
                    <a:lnTo>
                      <a:pt x="262" y="679"/>
                    </a:lnTo>
                    <a:lnTo>
                      <a:pt x="262" y="677"/>
                    </a:lnTo>
                    <a:lnTo>
                      <a:pt x="263" y="679"/>
                    </a:lnTo>
                    <a:lnTo>
                      <a:pt x="263" y="677"/>
                    </a:lnTo>
                    <a:lnTo>
                      <a:pt x="265" y="679"/>
                    </a:lnTo>
                    <a:lnTo>
                      <a:pt x="267" y="677"/>
                    </a:lnTo>
                    <a:lnTo>
                      <a:pt x="267" y="674"/>
                    </a:lnTo>
                    <a:lnTo>
                      <a:pt x="268" y="676"/>
                    </a:lnTo>
                    <a:lnTo>
                      <a:pt x="268" y="677"/>
                    </a:lnTo>
                    <a:lnTo>
                      <a:pt x="270" y="679"/>
                    </a:lnTo>
                    <a:lnTo>
                      <a:pt x="267" y="686"/>
                    </a:lnTo>
                    <a:lnTo>
                      <a:pt x="267" y="691"/>
                    </a:lnTo>
                    <a:lnTo>
                      <a:pt x="262" y="698"/>
                    </a:lnTo>
                    <a:lnTo>
                      <a:pt x="251" y="710"/>
                    </a:lnTo>
                    <a:lnTo>
                      <a:pt x="251" y="713"/>
                    </a:lnTo>
                    <a:lnTo>
                      <a:pt x="248" y="715"/>
                    </a:lnTo>
                    <a:lnTo>
                      <a:pt x="245" y="718"/>
                    </a:lnTo>
                    <a:lnTo>
                      <a:pt x="231" y="723"/>
                    </a:lnTo>
                    <a:lnTo>
                      <a:pt x="212" y="730"/>
                    </a:lnTo>
                    <a:lnTo>
                      <a:pt x="207" y="732"/>
                    </a:lnTo>
                    <a:lnTo>
                      <a:pt x="202" y="734"/>
                    </a:lnTo>
                    <a:lnTo>
                      <a:pt x="190" y="739"/>
                    </a:lnTo>
                    <a:lnTo>
                      <a:pt x="183" y="740"/>
                    </a:lnTo>
                    <a:lnTo>
                      <a:pt x="166" y="747"/>
                    </a:lnTo>
                    <a:lnTo>
                      <a:pt x="151" y="754"/>
                    </a:lnTo>
                    <a:lnTo>
                      <a:pt x="143" y="757"/>
                    </a:lnTo>
                    <a:lnTo>
                      <a:pt x="132" y="766"/>
                    </a:lnTo>
                    <a:lnTo>
                      <a:pt x="127" y="774"/>
                    </a:lnTo>
                    <a:lnTo>
                      <a:pt x="127" y="778"/>
                    </a:lnTo>
                    <a:lnTo>
                      <a:pt x="127" y="781"/>
                    </a:lnTo>
                    <a:lnTo>
                      <a:pt x="126" y="778"/>
                    </a:lnTo>
                    <a:lnTo>
                      <a:pt x="124" y="781"/>
                    </a:lnTo>
                    <a:lnTo>
                      <a:pt x="119" y="786"/>
                    </a:lnTo>
                    <a:lnTo>
                      <a:pt x="115" y="783"/>
                    </a:lnTo>
                    <a:lnTo>
                      <a:pt x="114" y="786"/>
                    </a:lnTo>
                    <a:lnTo>
                      <a:pt x="114" y="788"/>
                    </a:lnTo>
                    <a:lnTo>
                      <a:pt x="115" y="788"/>
                    </a:lnTo>
                    <a:lnTo>
                      <a:pt x="114" y="786"/>
                    </a:lnTo>
                    <a:lnTo>
                      <a:pt x="117" y="786"/>
                    </a:lnTo>
                    <a:lnTo>
                      <a:pt x="119" y="788"/>
                    </a:lnTo>
                    <a:lnTo>
                      <a:pt x="120" y="788"/>
                    </a:lnTo>
                    <a:lnTo>
                      <a:pt x="122" y="793"/>
                    </a:lnTo>
                    <a:lnTo>
                      <a:pt x="124" y="797"/>
                    </a:lnTo>
                    <a:lnTo>
                      <a:pt x="126" y="797"/>
                    </a:lnTo>
                    <a:lnTo>
                      <a:pt x="131" y="802"/>
                    </a:lnTo>
                    <a:lnTo>
                      <a:pt x="134" y="802"/>
                    </a:lnTo>
                    <a:lnTo>
                      <a:pt x="132" y="800"/>
                    </a:lnTo>
                    <a:lnTo>
                      <a:pt x="134" y="797"/>
                    </a:lnTo>
                    <a:lnTo>
                      <a:pt x="136" y="793"/>
                    </a:lnTo>
                    <a:lnTo>
                      <a:pt x="137" y="791"/>
                    </a:lnTo>
                    <a:lnTo>
                      <a:pt x="136" y="807"/>
                    </a:lnTo>
                    <a:lnTo>
                      <a:pt x="136" y="810"/>
                    </a:lnTo>
                    <a:lnTo>
                      <a:pt x="134" y="820"/>
                    </a:lnTo>
                    <a:lnTo>
                      <a:pt x="136" y="824"/>
                    </a:lnTo>
                    <a:lnTo>
                      <a:pt x="134" y="831"/>
                    </a:lnTo>
                    <a:close/>
                    <a:moveTo>
                      <a:pt x="228" y="79"/>
                    </a:moveTo>
                    <a:lnTo>
                      <a:pt x="226" y="82"/>
                    </a:lnTo>
                    <a:lnTo>
                      <a:pt x="228" y="82"/>
                    </a:lnTo>
                    <a:lnTo>
                      <a:pt x="229" y="80"/>
                    </a:lnTo>
                    <a:lnTo>
                      <a:pt x="228" y="79"/>
                    </a:lnTo>
                    <a:close/>
                    <a:moveTo>
                      <a:pt x="221" y="79"/>
                    </a:moveTo>
                    <a:lnTo>
                      <a:pt x="222" y="79"/>
                    </a:lnTo>
                    <a:lnTo>
                      <a:pt x="222" y="80"/>
                    </a:lnTo>
                    <a:lnTo>
                      <a:pt x="221" y="80"/>
                    </a:lnTo>
                    <a:lnTo>
                      <a:pt x="221" y="79"/>
                    </a:lnTo>
                    <a:close/>
                    <a:moveTo>
                      <a:pt x="267" y="567"/>
                    </a:moveTo>
                    <a:lnTo>
                      <a:pt x="265" y="574"/>
                    </a:lnTo>
                    <a:lnTo>
                      <a:pt x="263" y="570"/>
                    </a:lnTo>
                    <a:lnTo>
                      <a:pt x="263" y="569"/>
                    </a:lnTo>
                    <a:lnTo>
                      <a:pt x="263" y="567"/>
                    </a:lnTo>
                    <a:lnTo>
                      <a:pt x="265" y="565"/>
                    </a:lnTo>
                    <a:lnTo>
                      <a:pt x="265" y="562"/>
                    </a:lnTo>
                    <a:lnTo>
                      <a:pt x="265" y="560"/>
                    </a:lnTo>
                    <a:lnTo>
                      <a:pt x="267" y="562"/>
                    </a:lnTo>
                    <a:lnTo>
                      <a:pt x="267" y="565"/>
                    </a:lnTo>
                    <a:lnTo>
                      <a:pt x="267" y="567"/>
                    </a:lnTo>
                    <a:close/>
                    <a:moveTo>
                      <a:pt x="137" y="791"/>
                    </a:moveTo>
                    <a:lnTo>
                      <a:pt x="137" y="788"/>
                    </a:lnTo>
                    <a:lnTo>
                      <a:pt x="136" y="788"/>
                    </a:lnTo>
                    <a:lnTo>
                      <a:pt x="136" y="790"/>
                    </a:lnTo>
                    <a:lnTo>
                      <a:pt x="136" y="791"/>
                    </a:lnTo>
                    <a:lnTo>
                      <a:pt x="134" y="790"/>
                    </a:lnTo>
                    <a:lnTo>
                      <a:pt x="136" y="788"/>
                    </a:lnTo>
                    <a:lnTo>
                      <a:pt x="137" y="786"/>
                    </a:lnTo>
                    <a:lnTo>
                      <a:pt x="139" y="786"/>
                    </a:lnTo>
                    <a:lnTo>
                      <a:pt x="137" y="791"/>
                    </a:lnTo>
                    <a:close/>
                    <a:moveTo>
                      <a:pt x="527" y="94"/>
                    </a:moveTo>
                    <a:lnTo>
                      <a:pt x="525" y="96"/>
                    </a:lnTo>
                    <a:lnTo>
                      <a:pt x="525" y="97"/>
                    </a:lnTo>
                    <a:lnTo>
                      <a:pt x="523" y="99"/>
                    </a:lnTo>
                    <a:lnTo>
                      <a:pt x="523" y="97"/>
                    </a:lnTo>
                    <a:lnTo>
                      <a:pt x="522" y="96"/>
                    </a:lnTo>
                    <a:lnTo>
                      <a:pt x="523" y="96"/>
                    </a:lnTo>
                    <a:lnTo>
                      <a:pt x="525" y="96"/>
                    </a:lnTo>
                    <a:lnTo>
                      <a:pt x="523" y="94"/>
                    </a:lnTo>
                    <a:lnTo>
                      <a:pt x="527" y="94"/>
                    </a:lnTo>
                    <a:close/>
                    <a:moveTo>
                      <a:pt x="525" y="87"/>
                    </a:moveTo>
                    <a:lnTo>
                      <a:pt x="525" y="89"/>
                    </a:lnTo>
                    <a:lnTo>
                      <a:pt x="525" y="91"/>
                    </a:lnTo>
                    <a:lnTo>
                      <a:pt x="523" y="87"/>
                    </a:lnTo>
                    <a:lnTo>
                      <a:pt x="525" y="87"/>
                    </a:lnTo>
                    <a:close/>
                    <a:moveTo>
                      <a:pt x="262" y="577"/>
                    </a:moveTo>
                    <a:lnTo>
                      <a:pt x="265" y="577"/>
                    </a:lnTo>
                    <a:lnTo>
                      <a:pt x="265" y="581"/>
                    </a:lnTo>
                    <a:lnTo>
                      <a:pt x="262" y="581"/>
                    </a:lnTo>
                    <a:lnTo>
                      <a:pt x="262" y="577"/>
                    </a:lnTo>
                    <a:close/>
                    <a:moveTo>
                      <a:pt x="238" y="514"/>
                    </a:moveTo>
                    <a:lnTo>
                      <a:pt x="239" y="516"/>
                    </a:lnTo>
                    <a:lnTo>
                      <a:pt x="238" y="516"/>
                    </a:lnTo>
                    <a:lnTo>
                      <a:pt x="239" y="516"/>
                    </a:lnTo>
                    <a:lnTo>
                      <a:pt x="239" y="518"/>
                    </a:lnTo>
                    <a:lnTo>
                      <a:pt x="236" y="518"/>
                    </a:lnTo>
                    <a:lnTo>
                      <a:pt x="236" y="516"/>
                    </a:lnTo>
                    <a:lnTo>
                      <a:pt x="236" y="514"/>
                    </a:lnTo>
                    <a:lnTo>
                      <a:pt x="238" y="514"/>
                    </a:lnTo>
                    <a:close/>
                    <a:moveTo>
                      <a:pt x="530" y="28"/>
                    </a:moveTo>
                    <a:lnTo>
                      <a:pt x="527" y="29"/>
                    </a:lnTo>
                    <a:lnTo>
                      <a:pt x="525" y="28"/>
                    </a:lnTo>
                    <a:lnTo>
                      <a:pt x="527" y="29"/>
                    </a:lnTo>
                    <a:lnTo>
                      <a:pt x="530" y="28"/>
                    </a:lnTo>
                    <a:close/>
                    <a:moveTo>
                      <a:pt x="525" y="97"/>
                    </a:moveTo>
                    <a:lnTo>
                      <a:pt x="525" y="101"/>
                    </a:lnTo>
                    <a:lnTo>
                      <a:pt x="525" y="97"/>
                    </a:lnTo>
                    <a:close/>
                    <a:moveTo>
                      <a:pt x="527" y="17"/>
                    </a:moveTo>
                    <a:lnTo>
                      <a:pt x="528" y="17"/>
                    </a:lnTo>
                    <a:lnTo>
                      <a:pt x="528" y="21"/>
                    </a:lnTo>
                    <a:lnTo>
                      <a:pt x="527" y="21"/>
                    </a:lnTo>
                    <a:lnTo>
                      <a:pt x="527" y="17"/>
                    </a:lnTo>
                    <a:close/>
                    <a:moveTo>
                      <a:pt x="523" y="104"/>
                    </a:moveTo>
                    <a:lnTo>
                      <a:pt x="525" y="104"/>
                    </a:lnTo>
                    <a:lnTo>
                      <a:pt x="525" y="106"/>
                    </a:lnTo>
                    <a:lnTo>
                      <a:pt x="523" y="106"/>
                    </a:lnTo>
                    <a:lnTo>
                      <a:pt x="523" y="104"/>
                    </a:lnTo>
                    <a:close/>
                    <a:moveTo>
                      <a:pt x="527" y="34"/>
                    </a:moveTo>
                    <a:lnTo>
                      <a:pt x="530" y="34"/>
                    </a:lnTo>
                    <a:lnTo>
                      <a:pt x="530" y="36"/>
                    </a:lnTo>
                    <a:lnTo>
                      <a:pt x="527" y="36"/>
                    </a:lnTo>
                    <a:lnTo>
                      <a:pt x="527" y="34"/>
                    </a:lnTo>
                    <a:close/>
                    <a:moveTo>
                      <a:pt x="527" y="16"/>
                    </a:moveTo>
                    <a:lnTo>
                      <a:pt x="528" y="16"/>
                    </a:lnTo>
                    <a:lnTo>
                      <a:pt x="528" y="17"/>
                    </a:lnTo>
                    <a:lnTo>
                      <a:pt x="527" y="17"/>
                    </a:lnTo>
                    <a:lnTo>
                      <a:pt x="527" y="16"/>
                    </a:lnTo>
                    <a:close/>
                    <a:moveTo>
                      <a:pt x="335" y="390"/>
                    </a:moveTo>
                    <a:lnTo>
                      <a:pt x="336" y="390"/>
                    </a:lnTo>
                    <a:lnTo>
                      <a:pt x="336" y="392"/>
                    </a:lnTo>
                    <a:lnTo>
                      <a:pt x="335" y="392"/>
                    </a:lnTo>
                    <a:lnTo>
                      <a:pt x="335" y="390"/>
                    </a:lnTo>
                    <a:close/>
                    <a:moveTo>
                      <a:pt x="126" y="778"/>
                    </a:moveTo>
                    <a:lnTo>
                      <a:pt x="126" y="780"/>
                    </a:lnTo>
                    <a:lnTo>
                      <a:pt x="126" y="778"/>
                    </a:lnTo>
                    <a:close/>
                    <a:moveTo>
                      <a:pt x="523" y="77"/>
                    </a:moveTo>
                    <a:lnTo>
                      <a:pt x="525" y="77"/>
                    </a:lnTo>
                    <a:lnTo>
                      <a:pt x="523" y="77"/>
                    </a:lnTo>
                    <a:close/>
                    <a:moveTo>
                      <a:pt x="523" y="36"/>
                    </a:moveTo>
                    <a:lnTo>
                      <a:pt x="527" y="36"/>
                    </a:lnTo>
                    <a:lnTo>
                      <a:pt x="523" y="36"/>
                    </a:lnTo>
                    <a:close/>
                    <a:moveTo>
                      <a:pt x="268" y="591"/>
                    </a:moveTo>
                    <a:lnTo>
                      <a:pt x="268" y="592"/>
                    </a:lnTo>
                    <a:lnTo>
                      <a:pt x="268" y="591"/>
                    </a:lnTo>
                    <a:close/>
                    <a:moveTo>
                      <a:pt x="525" y="108"/>
                    </a:moveTo>
                    <a:lnTo>
                      <a:pt x="527" y="108"/>
                    </a:lnTo>
                    <a:lnTo>
                      <a:pt x="527" y="109"/>
                    </a:lnTo>
                    <a:lnTo>
                      <a:pt x="525" y="109"/>
                    </a:lnTo>
                    <a:lnTo>
                      <a:pt x="525" y="108"/>
                    </a:lnTo>
                    <a:close/>
                    <a:moveTo>
                      <a:pt x="535" y="222"/>
                    </a:moveTo>
                    <a:lnTo>
                      <a:pt x="537" y="222"/>
                    </a:lnTo>
                    <a:lnTo>
                      <a:pt x="537" y="223"/>
                    </a:lnTo>
                    <a:lnTo>
                      <a:pt x="535" y="223"/>
                    </a:lnTo>
                    <a:lnTo>
                      <a:pt x="535" y="222"/>
                    </a:lnTo>
                    <a:close/>
                    <a:moveTo>
                      <a:pt x="124" y="783"/>
                    </a:moveTo>
                    <a:lnTo>
                      <a:pt x="124" y="785"/>
                    </a:lnTo>
                    <a:lnTo>
                      <a:pt x="124" y="783"/>
                    </a:lnTo>
                    <a:close/>
                    <a:moveTo>
                      <a:pt x="263" y="582"/>
                    </a:moveTo>
                    <a:lnTo>
                      <a:pt x="263" y="584"/>
                    </a:lnTo>
                    <a:lnTo>
                      <a:pt x="263" y="582"/>
                    </a:lnTo>
                    <a:close/>
                    <a:moveTo>
                      <a:pt x="246" y="540"/>
                    </a:moveTo>
                    <a:lnTo>
                      <a:pt x="248" y="540"/>
                    </a:lnTo>
                    <a:lnTo>
                      <a:pt x="248" y="541"/>
                    </a:lnTo>
                    <a:lnTo>
                      <a:pt x="246" y="541"/>
                    </a:lnTo>
                    <a:lnTo>
                      <a:pt x="246" y="540"/>
                    </a:lnTo>
                    <a:close/>
                    <a:moveTo>
                      <a:pt x="331" y="393"/>
                    </a:moveTo>
                    <a:lnTo>
                      <a:pt x="333" y="393"/>
                    </a:lnTo>
                    <a:lnTo>
                      <a:pt x="331" y="393"/>
                    </a:lnTo>
                    <a:close/>
                    <a:moveTo>
                      <a:pt x="525" y="23"/>
                    </a:moveTo>
                    <a:lnTo>
                      <a:pt x="527" y="23"/>
                    </a:lnTo>
                    <a:lnTo>
                      <a:pt x="525" y="23"/>
                    </a:lnTo>
                    <a:close/>
                    <a:moveTo>
                      <a:pt x="246" y="543"/>
                    </a:moveTo>
                    <a:lnTo>
                      <a:pt x="246" y="545"/>
                    </a:lnTo>
                    <a:lnTo>
                      <a:pt x="246" y="543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3" name="Freeform 44">
                <a:extLst>
                  <a:ext uri="{FF2B5EF4-FFF2-40B4-BE49-F238E27FC236}">
                    <a16:creationId xmlns:a16="http://schemas.microsoft.com/office/drawing/2014/main" id="{7CA36FA1-246C-4227-9C0C-2EAC7366538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519581" y="4817864"/>
                <a:ext cx="1087406" cy="966748"/>
              </a:xfrm>
              <a:custGeom>
                <a:avLst/>
                <a:gdLst>
                  <a:gd name="T0" fmla="*/ 649 w 685"/>
                  <a:gd name="T1" fmla="*/ 27 h 609"/>
                  <a:gd name="T2" fmla="*/ 668 w 685"/>
                  <a:gd name="T3" fmla="*/ 30 h 609"/>
                  <a:gd name="T4" fmla="*/ 678 w 685"/>
                  <a:gd name="T5" fmla="*/ 39 h 609"/>
                  <a:gd name="T6" fmla="*/ 675 w 685"/>
                  <a:gd name="T7" fmla="*/ 42 h 609"/>
                  <a:gd name="T8" fmla="*/ 663 w 685"/>
                  <a:gd name="T9" fmla="*/ 46 h 609"/>
                  <a:gd name="T10" fmla="*/ 651 w 685"/>
                  <a:gd name="T11" fmla="*/ 54 h 609"/>
                  <a:gd name="T12" fmla="*/ 639 w 685"/>
                  <a:gd name="T13" fmla="*/ 51 h 609"/>
                  <a:gd name="T14" fmla="*/ 622 w 685"/>
                  <a:gd name="T15" fmla="*/ 59 h 609"/>
                  <a:gd name="T16" fmla="*/ 610 w 685"/>
                  <a:gd name="T17" fmla="*/ 73 h 609"/>
                  <a:gd name="T18" fmla="*/ 597 w 685"/>
                  <a:gd name="T19" fmla="*/ 66 h 609"/>
                  <a:gd name="T20" fmla="*/ 587 w 685"/>
                  <a:gd name="T21" fmla="*/ 56 h 609"/>
                  <a:gd name="T22" fmla="*/ 493 w 685"/>
                  <a:gd name="T23" fmla="*/ 69 h 609"/>
                  <a:gd name="T24" fmla="*/ 469 w 685"/>
                  <a:gd name="T25" fmla="*/ 173 h 609"/>
                  <a:gd name="T26" fmla="*/ 418 w 685"/>
                  <a:gd name="T27" fmla="*/ 263 h 609"/>
                  <a:gd name="T28" fmla="*/ 418 w 685"/>
                  <a:gd name="T29" fmla="*/ 362 h 609"/>
                  <a:gd name="T30" fmla="*/ 418 w 685"/>
                  <a:gd name="T31" fmla="*/ 490 h 609"/>
                  <a:gd name="T32" fmla="*/ 405 w 685"/>
                  <a:gd name="T33" fmla="*/ 583 h 609"/>
                  <a:gd name="T34" fmla="*/ 383 w 685"/>
                  <a:gd name="T35" fmla="*/ 597 h 609"/>
                  <a:gd name="T36" fmla="*/ 371 w 685"/>
                  <a:gd name="T37" fmla="*/ 607 h 609"/>
                  <a:gd name="T38" fmla="*/ 338 w 685"/>
                  <a:gd name="T39" fmla="*/ 605 h 609"/>
                  <a:gd name="T40" fmla="*/ 316 w 685"/>
                  <a:gd name="T41" fmla="*/ 599 h 609"/>
                  <a:gd name="T42" fmla="*/ 298 w 685"/>
                  <a:gd name="T43" fmla="*/ 595 h 609"/>
                  <a:gd name="T44" fmla="*/ 284 w 685"/>
                  <a:gd name="T45" fmla="*/ 583 h 609"/>
                  <a:gd name="T46" fmla="*/ 281 w 685"/>
                  <a:gd name="T47" fmla="*/ 571 h 609"/>
                  <a:gd name="T48" fmla="*/ 262 w 685"/>
                  <a:gd name="T49" fmla="*/ 563 h 609"/>
                  <a:gd name="T50" fmla="*/ 255 w 685"/>
                  <a:gd name="T51" fmla="*/ 573 h 609"/>
                  <a:gd name="T52" fmla="*/ 240 w 685"/>
                  <a:gd name="T53" fmla="*/ 588 h 609"/>
                  <a:gd name="T54" fmla="*/ 192 w 685"/>
                  <a:gd name="T55" fmla="*/ 544 h 609"/>
                  <a:gd name="T56" fmla="*/ 179 w 685"/>
                  <a:gd name="T57" fmla="*/ 515 h 609"/>
                  <a:gd name="T58" fmla="*/ 170 w 685"/>
                  <a:gd name="T59" fmla="*/ 495 h 609"/>
                  <a:gd name="T60" fmla="*/ 172 w 685"/>
                  <a:gd name="T61" fmla="*/ 483 h 609"/>
                  <a:gd name="T62" fmla="*/ 165 w 685"/>
                  <a:gd name="T63" fmla="*/ 462 h 609"/>
                  <a:gd name="T64" fmla="*/ 158 w 685"/>
                  <a:gd name="T65" fmla="*/ 428 h 609"/>
                  <a:gd name="T66" fmla="*/ 146 w 685"/>
                  <a:gd name="T67" fmla="*/ 379 h 609"/>
                  <a:gd name="T68" fmla="*/ 139 w 685"/>
                  <a:gd name="T69" fmla="*/ 325 h 609"/>
                  <a:gd name="T70" fmla="*/ 136 w 685"/>
                  <a:gd name="T71" fmla="*/ 301 h 609"/>
                  <a:gd name="T72" fmla="*/ 141 w 685"/>
                  <a:gd name="T73" fmla="*/ 289 h 609"/>
                  <a:gd name="T74" fmla="*/ 112 w 685"/>
                  <a:gd name="T75" fmla="*/ 245 h 609"/>
                  <a:gd name="T76" fmla="*/ 85 w 685"/>
                  <a:gd name="T77" fmla="*/ 199 h 609"/>
                  <a:gd name="T78" fmla="*/ 66 w 685"/>
                  <a:gd name="T79" fmla="*/ 158 h 609"/>
                  <a:gd name="T80" fmla="*/ 31 w 685"/>
                  <a:gd name="T81" fmla="*/ 90 h 609"/>
                  <a:gd name="T82" fmla="*/ 2 w 685"/>
                  <a:gd name="T83" fmla="*/ 42 h 609"/>
                  <a:gd name="T84" fmla="*/ 22 w 685"/>
                  <a:gd name="T85" fmla="*/ 10 h 609"/>
                  <a:gd name="T86" fmla="*/ 43 w 685"/>
                  <a:gd name="T87" fmla="*/ 15 h 609"/>
                  <a:gd name="T88" fmla="*/ 63 w 685"/>
                  <a:gd name="T89" fmla="*/ 3 h 609"/>
                  <a:gd name="T90" fmla="*/ 109 w 685"/>
                  <a:gd name="T91" fmla="*/ 20 h 609"/>
                  <a:gd name="T92" fmla="*/ 126 w 685"/>
                  <a:gd name="T93" fmla="*/ 22 h 609"/>
                  <a:gd name="T94" fmla="*/ 252 w 685"/>
                  <a:gd name="T95" fmla="*/ 22 h 609"/>
                  <a:gd name="T96" fmla="*/ 342 w 685"/>
                  <a:gd name="T97" fmla="*/ 27 h 609"/>
                  <a:gd name="T98" fmla="*/ 360 w 685"/>
                  <a:gd name="T99" fmla="*/ 41 h 609"/>
                  <a:gd name="T100" fmla="*/ 383 w 685"/>
                  <a:gd name="T101" fmla="*/ 44 h 609"/>
                  <a:gd name="T102" fmla="*/ 398 w 685"/>
                  <a:gd name="T103" fmla="*/ 46 h 609"/>
                  <a:gd name="T104" fmla="*/ 420 w 685"/>
                  <a:gd name="T105" fmla="*/ 47 h 609"/>
                  <a:gd name="T106" fmla="*/ 442 w 685"/>
                  <a:gd name="T107" fmla="*/ 47 h 609"/>
                  <a:gd name="T108" fmla="*/ 462 w 685"/>
                  <a:gd name="T109" fmla="*/ 54 h 609"/>
                  <a:gd name="T110" fmla="*/ 491 w 685"/>
                  <a:gd name="T111" fmla="*/ 54 h 609"/>
                  <a:gd name="T112" fmla="*/ 593 w 685"/>
                  <a:gd name="T113" fmla="*/ 34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85" h="609">
                    <a:moveTo>
                      <a:pt x="593" y="34"/>
                    </a:moveTo>
                    <a:lnTo>
                      <a:pt x="614" y="30"/>
                    </a:lnTo>
                    <a:lnTo>
                      <a:pt x="634" y="25"/>
                    </a:lnTo>
                    <a:lnTo>
                      <a:pt x="634" y="27"/>
                    </a:lnTo>
                    <a:lnTo>
                      <a:pt x="638" y="27"/>
                    </a:lnTo>
                    <a:lnTo>
                      <a:pt x="641" y="25"/>
                    </a:lnTo>
                    <a:lnTo>
                      <a:pt x="644" y="27"/>
                    </a:lnTo>
                    <a:lnTo>
                      <a:pt x="648" y="29"/>
                    </a:lnTo>
                    <a:lnTo>
                      <a:pt x="649" y="27"/>
                    </a:lnTo>
                    <a:lnTo>
                      <a:pt x="649" y="29"/>
                    </a:lnTo>
                    <a:lnTo>
                      <a:pt x="656" y="27"/>
                    </a:lnTo>
                    <a:lnTo>
                      <a:pt x="660" y="29"/>
                    </a:lnTo>
                    <a:lnTo>
                      <a:pt x="661" y="27"/>
                    </a:lnTo>
                    <a:lnTo>
                      <a:pt x="661" y="29"/>
                    </a:lnTo>
                    <a:lnTo>
                      <a:pt x="663" y="29"/>
                    </a:lnTo>
                    <a:lnTo>
                      <a:pt x="666" y="29"/>
                    </a:lnTo>
                    <a:lnTo>
                      <a:pt x="666" y="30"/>
                    </a:lnTo>
                    <a:lnTo>
                      <a:pt x="668" y="30"/>
                    </a:lnTo>
                    <a:lnTo>
                      <a:pt x="672" y="30"/>
                    </a:lnTo>
                    <a:lnTo>
                      <a:pt x="672" y="32"/>
                    </a:lnTo>
                    <a:lnTo>
                      <a:pt x="675" y="32"/>
                    </a:lnTo>
                    <a:lnTo>
                      <a:pt x="673" y="34"/>
                    </a:lnTo>
                    <a:lnTo>
                      <a:pt x="675" y="34"/>
                    </a:lnTo>
                    <a:lnTo>
                      <a:pt x="677" y="35"/>
                    </a:lnTo>
                    <a:lnTo>
                      <a:pt x="677" y="37"/>
                    </a:lnTo>
                    <a:lnTo>
                      <a:pt x="678" y="37"/>
                    </a:lnTo>
                    <a:lnTo>
                      <a:pt x="678" y="39"/>
                    </a:lnTo>
                    <a:lnTo>
                      <a:pt x="680" y="37"/>
                    </a:lnTo>
                    <a:lnTo>
                      <a:pt x="680" y="39"/>
                    </a:lnTo>
                    <a:lnTo>
                      <a:pt x="682" y="41"/>
                    </a:lnTo>
                    <a:lnTo>
                      <a:pt x="683" y="41"/>
                    </a:lnTo>
                    <a:lnTo>
                      <a:pt x="685" y="42"/>
                    </a:lnTo>
                    <a:lnTo>
                      <a:pt x="680" y="42"/>
                    </a:lnTo>
                    <a:lnTo>
                      <a:pt x="678" y="44"/>
                    </a:lnTo>
                    <a:lnTo>
                      <a:pt x="675" y="44"/>
                    </a:lnTo>
                    <a:lnTo>
                      <a:pt x="675" y="42"/>
                    </a:lnTo>
                    <a:lnTo>
                      <a:pt x="673" y="44"/>
                    </a:lnTo>
                    <a:lnTo>
                      <a:pt x="672" y="44"/>
                    </a:lnTo>
                    <a:lnTo>
                      <a:pt x="670" y="42"/>
                    </a:lnTo>
                    <a:lnTo>
                      <a:pt x="672" y="42"/>
                    </a:lnTo>
                    <a:lnTo>
                      <a:pt x="670" y="42"/>
                    </a:lnTo>
                    <a:lnTo>
                      <a:pt x="668" y="44"/>
                    </a:lnTo>
                    <a:lnTo>
                      <a:pt x="666" y="42"/>
                    </a:lnTo>
                    <a:lnTo>
                      <a:pt x="665" y="46"/>
                    </a:lnTo>
                    <a:lnTo>
                      <a:pt x="663" y="46"/>
                    </a:lnTo>
                    <a:lnTo>
                      <a:pt x="661" y="46"/>
                    </a:lnTo>
                    <a:lnTo>
                      <a:pt x="660" y="46"/>
                    </a:lnTo>
                    <a:lnTo>
                      <a:pt x="660" y="47"/>
                    </a:lnTo>
                    <a:lnTo>
                      <a:pt x="658" y="47"/>
                    </a:lnTo>
                    <a:lnTo>
                      <a:pt x="656" y="49"/>
                    </a:lnTo>
                    <a:lnTo>
                      <a:pt x="655" y="49"/>
                    </a:lnTo>
                    <a:lnTo>
                      <a:pt x="655" y="51"/>
                    </a:lnTo>
                    <a:lnTo>
                      <a:pt x="653" y="52"/>
                    </a:lnTo>
                    <a:lnTo>
                      <a:pt x="651" y="54"/>
                    </a:lnTo>
                    <a:lnTo>
                      <a:pt x="649" y="56"/>
                    </a:lnTo>
                    <a:lnTo>
                      <a:pt x="648" y="56"/>
                    </a:lnTo>
                    <a:lnTo>
                      <a:pt x="646" y="56"/>
                    </a:lnTo>
                    <a:lnTo>
                      <a:pt x="646" y="54"/>
                    </a:lnTo>
                    <a:lnTo>
                      <a:pt x="646" y="52"/>
                    </a:lnTo>
                    <a:lnTo>
                      <a:pt x="644" y="52"/>
                    </a:lnTo>
                    <a:lnTo>
                      <a:pt x="644" y="51"/>
                    </a:lnTo>
                    <a:lnTo>
                      <a:pt x="643" y="51"/>
                    </a:lnTo>
                    <a:lnTo>
                      <a:pt x="639" y="51"/>
                    </a:lnTo>
                    <a:lnTo>
                      <a:pt x="636" y="54"/>
                    </a:lnTo>
                    <a:lnTo>
                      <a:pt x="634" y="54"/>
                    </a:lnTo>
                    <a:lnTo>
                      <a:pt x="631" y="54"/>
                    </a:lnTo>
                    <a:lnTo>
                      <a:pt x="629" y="54"/>
                    </a:lnTo>
                    <a:lnTo>
                      <a:pt x="629" y="56"/>
                    </a:lnTo>
                    <a:lnTo>
                      <a:pt x="627" y="58"/>
                    </a:lnTo>
                    <a:lnTo>
                      <a:pt x="624" y="58"/>
                    </a:lnTo>
                    <a:lnTo>
                      <a:pt x="624" y="59"/>
                    </a:lnTo>
                    <a:lnTo>
                      <a:pt x="622" y="59"/>
                    </a:lnTo>
                    <a:lnTo>
                      <a:pt x="621" y="63"/>
                    </a:lnTo>
                    <a:lnTo>
                      <a:pt x="619" y="63"/>
                    </a:lnTo>
                    <a:lnTo>
                      <a:pt x="617" y="63"/>
                    </a:lnTo>
                    <a:lnTo>
                      <a:pt x="617" y="64"/>
                    </a:lnTo>
                    <a:lnTo>
                      <a:pt x="617" y="66"/>
                    </a:lnTo>
                    <a:lnTo>
                      <a:pt x="615" y="66"/>
                    </a:lnTo>
                    <a:lnTo>
                      <a:pt x="614" y="69"/>
                    </a:lnTo>
                    <a:lnTo>
                      <a:pt x="612" y="69"/>
                    </a:lnTo>
                    <a:lnTo>
                      <a:pt x="610" y="73"/>
                    </a:lnTo>
                    <a:lnTo>
                      <a:pt x="607" y="75"/>
                    </a:lnTo>
                    <a:lnTo>
                      <a:pt x="605" y="75"/>
                    </a:lnTo>
                    <a:lnTo>
                      <a:pt x="604" y="76"/>
                    </a:lnTo>
                    <a:lnTo>
                      <a:pt x="602" y="78"/>
                    </a:lnTo>
                    <a:lnTo>
                      <a:pt x="598" y="76"/>
                    </a:lnTo>
                    <a:lnTo>
                      <a:pt x="600" y="76"/>
                    </a:lnTo>
                    <a:lnTo>
                      <a:pt x="598" y="75"/>
                    </a:lnTo>
                    <a:lnTo>
                      <a:pt x="598" y="71"/>
                    </a:lnTo>
                    <a:lnTo>
                      <a:pt x="597" y="66"/>
                    </a:lnTo>
                    <a:lnTo>
                      <a:pt x="595" y="64"/>
                    </a:lnTo>
                    <a:lnTo>
                      <a:pt x="593" y="64"/>
                    </a:lnTo>
                    <a:lnTo>
                      <a:pt x="593" y="63"/>
                    </a:lnTo>
                    <a:lnTo>
                      <a:pt x="590" y="63"/>
                    </a:lnTo>
                    <a:lnTo>
                      <a:pt x="592" y="61"/>
                    </a:lnTo>
                    <a:lnTo>
                      <a:pt x="590" y="61"/>
                    </a:lnTo>
                    <a:lnTo>
                      <a:pt x="590" y="59"/>
                    </a:lnTo>
                    <a:lnTo>
                      <a:pt x="587" y="58"/>
                    </a:lnTo>
                    <a:lnTo>
                      <a:pt x="587" y="56"/>
                    </a:lnTo>
                    <a:lnTo>
                      <a:pt x="588" y="56"/>
                    </a:lnTo>
                    <a:lnTo>
                      <a:pt x="587" y="54"/>
                    </a:lnTo>
                    <a:lnTo>
                      <a:pt x="585" y="52"/>
                    </a:lnTo>
                    <a:lnTo>
                      <a:pt x="575" y="52"/>
                    </a:lnTo>
                    <a:lnTo>
                      <a:pt x="558" y="56"/>
                    </a:lnTo>
                    <a:lnTo>
                      <a:pt x="546" y="59"/>
                    </a:lnTo>
                    <a:lnTo>
                      <a:pt x="532" y="61"/>
                    </a:lnTo>
                    <a:lnTo>
                      <a:pt x="510" y="66"/>
                    </a:lnTo>
                    <a:lnTo>
                      <a:pt x="493" y="69"/>
                    </a:lnTo>
                    <a:lnTo>
                      <a:pt x="469" y="69"/>
                    </a:lnTo>
                    <a:lnTo>
                      <a:pt x="469" y="78"/>
                    </a:lnTo>
                    <a:lnTo>
                      <a:pt x="469" y="95"/>
                    </a:lnTo>
                    <a:lnTo>
                      <a:pt x="469" y="112"/>
                    </a:lnTo>
                    <a:lnTo>
                      <a:pt x="469" y="115"/>
                    </a:lnTo>
                    <a:lnTo>
                      <a:pt x="469" y="138"/>
                    </a:lnTo>
                    <a:lnTo>
                      <a:pt x="469" y="155"/>
                    </a:lnTo>
                    <a:lnTo>
                      <a:pt x="469" y="163"/>
                    </a:lnTo>
                    <a:lnTo>
                      <a:pt x="469" y="173"/>
                    </a:lnTo>
                    <a:lnTo>
                      <a:pt x="469" y="175"/>
                    </a:lnTo>
                    <a:lnTo>
                      <a:pt x="469" y="200"/>
                    </a:lnTo>
                    <a:lnTo>
                      <a:pt x="469" y="204"/>
                    </a:lnTo>
                    <a:lnTo>
                      <a:pt x="469" y="234"/>
                    </a:lnTo>
                    <a:lnTo>
                      <a:pt x="469" y="255"/>
                    </a:lnTo>
                    <a:lnTo>
                      <a:pt x="454" y="255"/>
                    </a:lnTo>
                    <a:lnTo>
                      <a:pt x="432" y="255"/>
                    </a:lnTo>
                    <a:lnTo>
                      <a:pt x="418" y="255"/>
                    </a:lnTo>
                    <a:lnTo>
                      <a:pt x="418" y="263"/>
                    </a:lnTo>
                    <a:lnTo>
                      <a:pt x="418" y="275"/>
                    </a:lnTo>
                    <a:lnTo>
                      <a:pt x="418" y="297"/>
                    </a:lnTo>
                    <a:lnTo>
                      <a:pt x="418" y="304"/>
                    </a:lnTo>
                    <a:lnTo>
                      <a:pt x="418" y="318"/>
                    </a:lnTo>
                    <a:lnTo>
                      <a:pt x="418" y="321"/>
                    </a:lnTo>
                    <a:lnTo>
                      <a:pt x="418" y="335"/>
                    </a:lnTo>
                    <a:lnTo>
                      <a:pt x="418" y="348"/>
                    </a:lnTo>
                    <a:lnTo>
                      <a:pt x="418" y="350"/>
                    </a:lnTo>
                    <a:lnTo>
                      <a:pt x="418" y="362"/>
                    </a:lnTo>
                    <a:lnTo>
                      <a:pt x="418" y="389"/>
                    </a:lnTo>
                    <a:lnTo>
                      <a:pt x="418" y="394"/>
                    </a:lnTo>
                    <a:lnTo>
                      <a:pt x="418" y="396"/>
                    </a:lnTo>
                    <a:lnTo>
                      <a:pt x="418" y="413"/>
                    </a:lnTo>
                    <a:lnTo>
                      <a:pt x="418" y="434"/>
                    </a:lnTo>
                    <a:lnTo>
                      <a:pt x="418" y="439"/>
                    </a:lnTo>
                    <a:lnTo>
                      <a:pt x="418" y="457"/>
                    </a:lnTo>
                    <a:lnTo>
                      <a:pt x="418" y="473"/>
                    </a:lnTo>
                    <a:lnTo>
                      <a:pt x="418" y="490"/>
                    </a:lnTo>
                    <a:lnTo>
                      <a:pt x="418" y="507"/>
                    </a:lnTo>
                    <a:lnTo>
                      <a:pt x="418" y="527"/>
                    </a:lnTo>
                    <a:lnTo>
                      <a:pt x="418" y="534"/>
                    </a:lnTo>
                    <a:lnTo>
                      <a:pt x="418" y="547"/>
                    </a:lnTo>
                    <a:lnTo>
                      <a:pt x="418" y="559"/>
                    </a:lnTo>
                    <a:lnTo>
                      <a:pt x="418" y="582"/>
                    </a:lnTo>
                    <a:lnTo>
                      <a:pt x="413" y="582"/>
                    </a:lnTo>
                    <a:lnTo>
                      <a:pt x="410" y="585"/>
                    </a:lnTo>
                    <a:lnTo>
                      <a:pt x="405" y="583"/>
                    </a:lnTo>
                    <a:lnTo>
                      <a:pt x="401" y="587"/>
                    </a:lnTo>
                    <a:lnTo>
                      <a:pt x="400" y="585"/>
                    </a:lnTo>
                    <a:lnTo>
                      <a:pt x="396" y="587"/>
                    </a:lnTo>
                    <a:lnTo>
                      <a:pt x="394" y="588"/>
                    </a:lnTo>
                    <a:lnTo>
                      <a:pt x="393" y="590"/>
                    </a:lnTo>
                    <a:lnTo>
                      <a:pt x="393" y="593"/>
                    </a:lnTo>
                    <a:lnTo>
                      <a:pt x="391" y="595"/>
                    </a:lnTo>
                    <a:lnTo>
                      <a:pt x="388" y="597"/>
                    </a:lnTo>
                    <a:lnTo>
                      <a:pt x="383" y="597"/>
                    </a:lnTo>
                    <a:lnTo>
                      <a:pt x="381" y="597"/>
                    </a:lnTo>
                    <a:lnTo>
                      <a:pt x="381" y="600"/>
                    </a:lnTo>
                    <a:lnTo>
                      <a:pt x="381" y="604"/>
                    </a:lnTo>
                    <a:lnTo>
                      <a:pt x="383" y="605"/>
                    </a:lnTo>
                    <a:lnTo>
                      <a:pt x="381" y="605"/>
                    </a:lnTo>
                    <a:lnTo>
                      <a:pt x="377" y="607"/>
                    </a:lnTo>
                    <a:lnTo>
                      <a:pt x="376" y="609"/>
                    </a:lnTo>
                    <a:lnTo>
                      <a:pt x="372" y="609"/>
                    </a:lnTo>
                    <a:lnTo>
                      <a:pt x="371" y="607"/>
                    </a:lnTo>
                    <a:lnTo>
                      <a:pt x="369" y="607"/>
                    </a:lnTo>
                    <a:lnTo>
                      <a:pt x="367" y="604"/>
                    </a:lnTo>
                    <a:lnTo>
                      <a:pt x="364" y="604"/>
                    </a:lnTo>
                    <a:lnTo>
                      <a:pt x="354" y="602"/>
                    </a:lnTo>
                    <a:lnTo>
                      <a:pt x="349" y="602"/>
                    </a:lnTo>
                    <a:lnTo>
                      <a:pt x="345" y="604"/>
                    </a:lnTo>
                    <a:lnTo>
                      <a:pt x="343" y="605"/>
                    </a:lnTo>
                    <a:lnTo>
                      <a:pt x="342" y="604"/>
                    </a:lnTo>
                    <a:lnTo>
                      <a:pt x="338" y="605"/>
                    </a:lnTo>
                    <a:lnTo>
                      <a:pt x="335" y="604"/>
                    </a:lnTo>
                    <a:lnTo>
                      <a:pt x="330" y="604"/>
                    </a:lnTo>
                    <a:lnTo>
                      <a:pt x="330" y="605"/>
                    </a:lnTo>
                    <a:lnTo>
                      <a:pt x="328" y="605"/>
                    </a:lnTo>
                    <a:lnTo>
                      <a:pt x="326" y="605"/>
                    </a:lnTo>
                    <a:lnTo>
                      <a:pt x="321" y="604"/>
                    </a:lnTo>
                    <a:lnTo>
                      <a:pt x="320" y="604"/>
                    </a:lnTo>
                    <a:lnTo>
                      <a:pt x="316" y="600"/>
                    </a:lnTo>
                    <a:lnTo>
                      <a:pt x="316" y="599"/>
                    </a:lnTo>
                    <a:lnTo>
                      <a:pt x="315" y="599"/>
                    </a:lnTo>
                    <a:lnTo>
                      <a:pt x="313" y="599"/>
                    </a:lnTo>
                    <a:lnTo>
                      <a:pt x="306" y="599"/>
                    </a:lnTo>
                    <a:lnTo>
                      <a:pt x="304" y="597"/>
                    </a:lnTo>
                    <a:lnTo>
                      <a:pt x="304" y="599"/>
                    </a:lnTo>
                    <a:lnTo>
                      <a:pt x="303" y="597"/>
                    </a:lnTo>
                    <a:lnTo>
                      <a:pt x="299" y="599"/>
                    </a:lnTo>
                    <a:lnTo>
                      <a:pt x="298" y="599"/>
                    </a:lnTo>
                    <a:lnTo>
                      <a:pt x="298" y="595"/>
                    </a:lnTo>
                    <a:lnTo>
                      <a:pt x="296" y="593"/>
                    </a:lnTo>
                    <a:lnTo>
                      <a:pt x="294" y="595"/>
                    </a:lnTo>
                    <a:lnTo>
                      <a:pt x="291" y="595"/>
                    </a:lnTo>
                    <a:lnTo>
                      <a:pt x="287" y="597"/>
                    </a:lnTo>
                    <a:lnTo>
                      <a:pt x="289" y="588"/>
                    </a:lnTo>
                    <a:lnTo>
                      <a:pt x="287" y="588"/>
                    </a:lnTo>
                    <a:lnTo>
                      <a:pt x="286" y="588"/>
                    </a:lnTo>
                    <a:lnTo>
                      <a:pt x="286" y="585"/>
                    </a:lnTo>
                    <a:lnTo>
                      <a:pt x="284" y="583"/>
                    </a:lnTo>
                    <a:lnTo>
                      <a:pt x="284" y="582"/>
                    </a:lnTo>
                    <a:lnTo>
                      <a:pt x="286" y="582"/>
                    </a:lnTo>
                    <a:lnTo>
                      <a:pt x="287" y="580"/>
                    </a:lnTo>
                    <a:lnTo>
                      <a:pt x="287" y="578"/>
                    </a:lnTo>
                    <a:lnTo>
                      <a:pt x="286" y="576"/>
                    </a:lnTo>
                    <a:lnTo>
                      <a:pt x="286" y="575"/>
                    </a:lnTo>
                    <a:lnTo>
                      <a:pt x="284" y="571"/>
                    </a:lnTo>
                    <a:lnTo>
                      <a:pt x="282" y="571"/>
                    </a:lnTo>
                    <a:lnTo>
                      <a:pt x="281" y="571"/>
                    </a:lnTo>
                    <a:lnTo>
                      <a:pt x="277" y="571"/>
                    </a:lnTo>
                    <a:lnTo>
                      <a:pt x="275" y="570"/>
                    </a:lnTo>
                    <a:lnTo>
                      <a:pt x="277" y="565"/>
                    </a:lnTo>
                    <a:lnTo>
                      <a:pt x="274" y="565"/>
                    </a:lnTo>
                    <a:lnTo>
                      <a:pt x="270" y="561"/>
                    </a:lnTo>
                    <a:lnTo>
                      <a:pt x="267" y="563"/>
                    </a:lnTo>
                    <a:lnTo>
                      <a:pt x="265" y="563"/>
                    </a:lnTo>
                    <a:lnTo>
                      <a:pt x="264" y="563"/>
                    </a:lnTo>
                    <a:lnTo>
                      <a:pt x="262" y="563"/>
                    </a:lnTo>
                    <a:lnTo>
                      <a:pt x="260" y="565"/>
                    </a:lnTo>
                    <a:lnTo>
                      <a:pt x="260" y="568"/>
                    </a:lnTo>
                    <a:lnTo>
                      <a:pt x="258" y="568"/>
                    </a:lnTo>
                    <a:lnTo>
                      <a:pt x="260" y="570"/>
                    </a:lnTo>
                    <a:lnTo>
                      <a:pt x="257" y="571"/>
                    </a:lnTo>
                    <a:lnTo>
                      <a:pt x="258" y="571"/>
                    </a:lnTo>
                    <a:lnTo>
                      <a:pt x="258" y="573"/>
                    </a:lnTo>
                    <a:lnTo>
                      <a:pt x="257" y="573"/>
                    </a:lnTo>
                    <a:lnTo>
                      <a:pt x="255" y="573"/>
                    </a:lnTo>
                    <a:lnTo>
                      <a:pt x="255" y="575"/>
                    </a:lnTo>
                    <a:lnTo>
                      <a:pt x="257" y="578"/>
                    </a:lnTo>
                    <a:lnTo>
                      <a:pt x="255" y="580"/>
                    </a:lnTo>
                    <a:lnTo>
                      <a:pt x="255" y="583"/>
                    </a:lnTo>
                    <a:lnTo>
                      <a:pt x="253" y="585"/>
                    </a:lnTo>
                    <a:lnTo>
                      <a:pt x="250" y="583"/>
                    </a:lnTo>
                    <a:lnTo>
                      <a:pt x="248" y="585"/>
                    </a:lnTo>
                    <a:lnTo>
                      <a:pt x="247" y="587"/>
                    </a:lnTo>
                    <a:lnTo>
                      <a:pt x="240" y="588"/>
                    </a:lnTo>
                    <a:lnTo>
                      <a:pt x="240" y="590"/>
                    </a:lnTo>
                    <a:lnTo>
                      <a:pt x="240" y="592"/>
                    </a:lnTo>
                    <a:lnTo>
                      <a:pt x="233" y="588"/>
                    </a:lnTo>
                    <a:lnTo>
                      <a:pt x="218" y="573"/>
                    </a:lnTo>
                    <a:lnTo>
                      <a:pt x="206" y="565"/>
                    </a:lnTo>
                    <a:lnTo>
                      <a:pt x="201" y="558"/>
                    </a:lnTo>
                    <a:lnTo>
                      <a:pt x="201" y="554"/>
                    </a:lnTo>
                    <a:lnTo>
                      <a:pt x="194" y="547"/>
                    </a:lnTo>
                    <a:lnTo>
                      <a:pt x="192" y="544"/>
                    </a:lnTo>
                    <a:lnTo>
                      <a:pt x="192" y="542"/>
                    </a:lnTo>
                    <a:lnTo>
                      <a:pt x="189" y="537"/>
                    </a:lnTo>
                    <a:lnTo>
                      <a:pt x="187" y="534"/>
                    </a:lnTo>
                    <a:lnTo>
                      <a:pt x="184" y="530"/>
                    </a:lnTo>
                    <a:lnTo>
                      <a:pt x="184" y="529"/>
                    </a:lnTo>
                    <a:lnTo>
                      <a:pt x="180" y="525"/>
                    </a:lnTo>
                    <a:lnTo>
                      <a:pt x="179" y="519"/>
                    </a:lnTo>
                    <a:lnTo>
                      <a:pt x="179" y="517"/>
                    </a:lnTo>
                    <a:lnTo>
                      <a:pt x="179" y="515"/>
                    </a:lnTo>
                    <a:lnTo>
                      <a:pt x="179" y="513"/>
                    </a:lnTo>
                    <a:lnTo>
                      <a:pt x="177" y="512"/>
                    </a:lnTo>
                    <a:lnTo>
                      <a:pt x="177" y="505"/>
                    </a:lnTo>
                    <a:lnTo>
                      <a:pt x="173" y="503"/>
                    </a:lnTo>
                    <a:lnTo>
                      <a:pt x="173" y="502"/>
                    </a:lnTo>
                    <a:lnTo>
                      <a:pt x="172" y="498"/>
                    </a:lnTo>
                    <a:lnTo>
                      <a:pt x="172" y="495"/>
                    </a:lnTo>
                    <a:lnTo>
                      <a:pt x="170" y="496"/>
                    </a:lnTo>
                    <a:lnTo>
                      <a:pt x="170" y="495"/>
                    </a:lnTo>
                    <a:lnTo>
                      <a:pt x="170" y="490"/>
                    </a:lnTo>
                    <a:lnTo>
                      <a:pt x="170" y="491"/>
                    </a:lnTo>
                    <a:lnTo>
                      <a:pt x="172" y="490"/>
                    </a:lnTo>
                    <a:lnTo>
                      <a:pt x="173" y="493"/>
                    </a:lnTo>
                    <a:lnTo>
                      <a:pt x="173" y="490"/>
                    </a:lnTo>
                    <a:lnTo>
                      <a:pt x="173" y="491"/>
                    </a:lnTo>
                    <a:lnTo>
                      <a:pt x="175" y="488"/>
                    </a:lnTo>
                    <a:lnTo>
                      <a:pt x="173" y="488"/>
                    </a:lnTo>
                    <a:lnTo>
                      <a:pt x="172" y="483"/>
                    </a:lnTo>
                    <a:lnTo>
                      <a:pt x="172" y="481"/>
                    </a:lnTo>
                    <a:lnTo>
                      <a:pt x="170" y="478"/>
                    </a:lnTo>
                    <a:lnTo>
                      <a:pt x="165" y="476"/>
                    </a:lnTo>
                    <a:lnTo>
                      <a:pt x="163" y="474"/>
                    </a:lnTo>
                    <a:lnTo>
                      <a:pt x="163" y="469"/>
                    </a:lnTo>
                    <a:lnTo>
                      <a:pt x="163" y="468"/>
                    </a:lnTo>
                    <a:lnTo>
                      <a:pt x="162" y="466"/>
                    </a:lnTo>
                    <a:lnTo>
                      <a:pt x="163" y="464"/>
                    </a:lnTo>
                    <a:lnTo>
                      <a:pt x="165" y="462"/>
                    </a:lnTo>
                    <a:lnTo>
                      <a:pt x="163" y="457"/>
                    </a:lnTo>
                    <a:lnTo>
                      <a:pt x="162" y="454"/>
                    </a:lnTo>
                    <a:lnTo>
                      <a:pt x="162" y="451"/>
                    </a:lnTo>
                    <a:lnTo>
                      <a:pt x="156" y="445"/>
                    </a:lnTo>
                    <a:lnTo>
                      <a:pt x="158" y="444"/>
                    </a:lnTo>
                    <a:lnTo>
                      <a:pt x="158" y="439"/>
                    </a:lnTo>
                    <a:lnTo>
                      <a:pt x="160" y="435"/>
                    </a:lnTo>
                    <a:lnTo>
                      <a:pt x="156" y="432"/>
                    </a:lnTo>
                    <a:lnTo>
                      <a:pt x="158" y="428"/>
                    </a:lnTo>
                    <a:lnTo>
                      <a:pt x="156" y="427"/>
                    </a:lnTo>
                    <a:lnTo>
                      <a:pt x="155" y="423"/>
                    </a:lnTo>
                    <a:lnTo>
                      <a:pt x="160" y="411"/>
                    </a:lnTo>
                    <a:lnTo>
                      <a:pt x="155" y="403"/>
                    </a:lnTo>
                    <a:lnTo>
                      <a:pt x="155" y="400"/>
                    </a:lnTo>
                    <a:lnTo>
                      <a:pt x="153" y="396"/>
                    </a:lnTo>
                    <a:lnTo>
                      <a:pt x="145" y="384"/>
                    </a:lnTo>
                    <a:lnTo>
                      <a:pt x="146" y="381"/>
                    </a:lnTo>
                    <a:lnTo>
                      <a:pt x="146" y="379"/>
                    </a:lnTo>
                    <a:lnTo>
                      <a:pt x="141" y="369"/>
                    </a:lnTo>
                    <a:lnTo>
                      <a:pt x="138" y="359"/>
                    </a:lnTo>
                    <a:lnTo>
                      <a:pt x="138" y="355"/>
                    </a:lnTo>
                    <a:lnTo>
                      <a:pt x="141" y="352"/>
                    </a:lnTo>
                    <a:lnTo>
                      <a:pt x="139" y="345"/>
                    </a:lnTo>
                    <a:lnTo>
                      <a:pt x="141" y="338"/>
                    </a:lnTo>
                    <a:lnTo>
                      <a:pt x="136" y="326"/>
                    </a:lnTo>
                    <a:lnTo>
                      <a:pt x="138" y="325"/>
                    </a:lnTo>
                    <a:lnTo>
                      <a:pt x="139" y="325"/>
                    </a:lnTo>
                    <a:lnTo>
                      <a:pt x="138" y="325"/>
                    </a:lnTo>
                    <a:lnTo>
                      <a:pt x="139" y="325"/>
                    </a:lnTo>
                    <a:lnTo>
                      <a:pt x="138" y="326"/>
                    </a:lnTo>
                    <a:lnTo>
                      <a:pt x="139" y="326"/>
                    </a:lnTo>
                    <a:lnTo>
                      <a:pt x="139" y="323"/>
                    </a:lnTo>
                    <a:lnTo>
                      <a:pt x="136" y="311"/>
                    </a:lnTo>
                    <a:lnTo>
                      <a:pt x="136" y="304"/>
                    </a:lnTo>
                    <a:lnTo>
                      <a:pt x="136" y="303"/>
                    </a:lnTo>
                    <a:lnTo>
                      <a:pt x="136" y="301"/>
                    </a:lnTo>
                    <a:lnTo>
                      <a:pt x="138" y="299"/>
                    </a:lnTo>
                    <a:lnTo>
                      <a:pt x="136" y="304"/>
                    </a:lnTo>
                    <a:lnTo>
                      <a:pt x="139" y="304"/>
                    </a:lnTo>
                    <a:lnTo>
                      <a:pt x="138" y="308"/>
                    </a:lnTo>
                    <a:lnTo>
                      <a:pt x="139" y="304"/>
                    </a:lnTo>
                    <a:lnTo>
                      <a:pt x="141" y="301"/>
                    </a:lnTo>
                    <a:lnTo>
                      <a:pt x="143" y="296"/>
                    </a:lnTo>
                    <a:lnTo>
                      <a:pt x="141" y="294"/>
                    </a:lnTo>
                    <a:lnTo>
                      <a:pt x="141" y="289"/>
                    </a:lnTo>
                    <a:lnTo>
                      <a:pt x="141" y="286"/>
                    </a:lnTo>
                    <a:lnTo>
                      <a:pt x="141" y="284"/>
                    </a:lnTo>
                    <a:lnTo>
                      <a:pt x="138" y="279"/>
                    </a:lnTo>
                    <a:lnTo>
                      <a:pt x="136" y="274"/>
                    </a:lnTo>
                    <a:lnTo>
                      <a:pt x="134" y="270"/>
                    </a:lnTo>
                    <a:lnTo>
                      <a:pt x="129" y="263"/>
                    </a:lnTo>
                    <a:lnTo>
                      <a:pt x="129" y="262"/>
                    </a:lnTo>
                    <a:lnTo>
                      <a:pt x="117" y="248"/>
                    </a:lnTo>
                    <a:lnTo>
                      <a:pt x="112" y="245"/>
                    </a:lnTo>
                    <a:lnTo>
                      <a:pt x="114" y="243"/>
                    </a:lnTo>
                    <a:lnTo>
                      <a:pt x="114" y="241"/>
                    </a:lnTo>
                    <a:lnTo>
                      <a:pt x="109" y="234"/>
                    </a:lnTo>
                    <a:lnTo>
                      <a:pt x="107" y="231"/>
                    </a:lnTo>
                    <a:lnTo>
                      <a:pt x="100" y="221"/>
                    </a:lnTo>
                    <a:lnTo>
                      <a:pt x="99" y="217"/>
                    </a:lnTo>
                    <a:lnTo>
                      <a:pt x="94" y="211"/>
                    </a:lnTo>
                    <a:lnTo>
                      <a:pt x="92" y="207"/>
                    </a:lnTo>
                    <a:lnTo>
                      <a:pt x="85" y="199"/>
                    </a:lnTo>
                    <a:lnTo>
                      <a:pt x="83" y="194"/>
                    </a:lnTo>
                    <a:lnTo>
                      <a:pt x="83" y="189"/>
                    </a:lnTo>
                    <a:lnTo>
                      <a:pt x="82" y="185"/>
                    </a:lnTo>
                    <a:lnTo>
                      <a:pt x="77" y="177"/>
                    </a:lnTo>
                    <a:lnTo>
                      <a:pt x="77" y="170"/>
                    </a:lnTo>
                    <a:lnTo>
                      <a:pt x="75" y="166"/>
                    </a:lnTo>
                    <a:lnTo>
                      <a:pt x="75" y="165"/>
                    </a:lnTo>
                    <a:lnTo>
                      <a:pt x="71" y="161"/>
                    </a:lnTo>
                    <a:lnTo>
                      <a:pt x="66" y="158"/>
                    </a:lnTo>
                    <a:lnTo>
                      <a:pt x="66" y="153"/>
                    </a:lnTo>
                    <a:lnTo>
                      <a:pt x="58" y="139"/>
                    </a:lnTo>
                    <a:lnTo>
                      <a:pt x="56" y="136"/>
                    </a:lnTo>
                    <a:lnTo>
                      <a:pt x="49" y="126"/>
                    </a:lnTo>
                    <a:lnTo>
                      <a:pt x="49" y="119"/>
                    </a:lnTo>
                    <a:lnTo>
                      <a:pt x="43" y="107"/>
                    </a:lnTo>
                    <a:lnTo>
                      <a:pt x="39" y="104"/>
                    </a:lnTo>
                    <a:lnTo>
                      <a:pt x="37" y="98"/>
                    </a:lnTo>
                    <a:lnTo>
                      <a:pt x="31" y="90"/>
                    </a:lnTo>
                    <a:lnTo>
                      <a:pt x="15" y="78"/>
                    </a:lnTo>
                    <a:lnTo>
                      <a:pt x="15" y="76"/>
                    </a:lnTo>
                    <a:lnTo>
                      <a:pt x="14" y="71"/>
                    </a:lnTo>
                    <a:lnTo>
                      <a:pt x="12" y="68"/>
                    </a:lnTo>
                    <a:lnTo>
                      <a:pt x="12" y="66"/>
                    </a:lnTo>
                    <a:lnTo>
                      <a:pt x="7" y="59"/>
                    </a:lnTo>
                    <a:lnTo>
                      <a:pt x="3" y="52"/>
                    </a:lnTo>
                    <a:lnTo>
                      <a:pt x="3" y="47"/>
                    </a:lnTo>
                    <a:lnTo>
                      <a:pt x="2" y="42"/>
                    </a:lnTo>
                    <a:lnTo>
                      <a:pt x="0" y="32"/>
                    </a:lnTo>
                    <a:lnTo>
                      <a:pt x="0" y="25"/>
                    </a:lnTo>
                    <a:lnTo>
                      <a:pt x="2" y="20"/>
                    </a:lnTo>
                    <a:lnTo>
                      <a:pt x="2" y="15"/>
                    </a:lnTo>
                    <a:lnTo>
                      <a:pt x="3" y="15"/>
                    </a:lnTo>
                    <a:lnTo>
                      <a:pt x="10" y="12"/>
                    </a:lnTo>
                    <a:lnTo>
                      <a:pt x="17" y="10"/>
                    </a:lnTo>
                    <a:lnTo>
                      <a:pt x="19" y="10"/>
                    </a:lnTo>
                    <a:lnTo>
                      <a:pt x="22" y="10"/>
                    </a:lnTo>
                    <a:lnTo>
                      <a:pt x="22" y="12"/>
                    </a:lnTo>
                    <a:lnTo>
                      <a:pt x="26" y="13"/>
                    </a:lnTo>
                    <a:lnTo>
                      <a:pt x="31" y="13"/>
                    </a:lnTo>
                    <a:lnTo>
                      <a:pt x="32" y="13"/>
                    </a:lnTo>
                    <a:lnTo>
                      <a:pt x="34" y="12"/>
                    </a:lnTo>
                    <a:lnTo>
                      <a:pt x="36" y="13"/>
                    </a:lnTo>
                    <a:lnTo>
                      <a:pt x="36" y="15"/>
                    </a:lnTo>
                    <a:lnTo>
                      <a:pt x="37" y="15"/>
                    </a:lnTo>
                    <a:lnTo>
                      <a:pt x="43" y="15"/>
                    </a:lnTo>
                    <a:lnTo>
                      <a:pt x="43" y="13"/>
                    </a:lnTo>
                    <a:lnTo>
                      <a:pt x="44" y="13"/>
                    </a:lnTo>
                    <a:lnTo>
                      <a:pt x="48" y="10"/>
                    </a:lnTo>
                    <a:lnTo>
                      <a:pt x="49" y="10"/>
                    </a:lnTo>
                    <a:lnTo>
                      <a:pt x="51" y="10"/>
                    </a:lnTo>
                    <a:lnTo>
                      <a:pt x="54" y="8"/>
                    </a:lnTo>
                    <a:lnTo>
                      <a:pt x="54" y="7"/>
                    </a:lnTo>
                    <a:lnTo>
                      <a:pt x="58" y="5"/>
                    </a:lnTo>
                    <a:lnTo>
                      <a:pt x="63" y="3"/>
                    </a:lnTo>
                    <a:lnTo>
                      <a:pt x="63" y="1"/>
                    </a:lnTo>
                    <a:lnTo>
                      <a:pt x="73" y="0"/>
                    </a:lnTo>
                    <a:lnTo>
                      <a:pt x="77" y="1"/>
                    </a:lnTo>
                    <a:lnTo>
                      <a:pt x="82" y="1"/>
                    </a:lnTo>
                    <a:lnTo>
                      <a:pt x="87" y="3"/>
                    </a:lnTo>
                    <a:lnTo>
                      <a:pt x="90" y="7"/>
                    </a:lnTo>
                    <a:lnTo>
                      <a:pt x="90" y="8"/>
                    </a:lnTo>
                    <a:lnTo>
                      <a:pt x="99" y="15"/>
                    </a:lnTo>
                    <a:lnTo>
                      <a:pt x="109" y="20"/>
                    </a:lnTo>
                    <a:lnTo>
                      <a:pt x="111" y="24"/>
                    </a:lnTo>
                    <a:lnTo>
                      <a:pt x="112" y="24"/>
                    </a:lnTo>
                    <a:lnTo>
                      <a:pt x="114" y="24"/>
                    </a:lnTo>
                    <a:lnTo>
                      <a:pt x="116" y="24"/>
                    </a:lnTo>
                    <a:lnTo>
                      <a:pt x="119" y="24"/>
                    </a:lnTo>
                    <a:lnTo>
                      <a:pt x="121" y="24"/>
                    </a:lnTo>
                    <a:lnTo>
                      <a:pt x="122" y="24"/>
                    </a:lnTo>
                    <a:lnTo>
                      <a:pt x="126" y="24"/>
                    </a:lnTo>
                    <a:lnTo>
                      <a:pt x="126" y="22"/>
                    </a:lnTo>
                    <a:lnTo>
                      <a:pt x="148" y="22"/>
                    </a:lnTo>
                    <a:lnTo>
                      <a:pt x="156" y="22"/>
                    </a:lnTo>
                    <a:lnTo>
                      <a:pt x="173" y="22"/>
                    </a:lnTo>
                    <a:lnTo>
                      <a:pt x="184" y="22"/>
                    </a:lnTo>
                    <a:lnTo>
                      <a:pt x="199" y="22"/>
                    </a:lnTo>
                    <a:lnTo>
                      <a:pt x="211" y="22"/>
                    </a:lnTo>
                    <a:lnTo>
                      <a:pt x="224" y="22"/>
                    </a:lnTo>
                    <a:lnTo>
                      <a:pt x="233" y="22"/>
                    </a:lnTo>
                    <a:lnTo>
                      <a:pt x="252" y="22"/>
                    </a:lnTo>
                    <a:lnTo>
                      <a:pt x="265" y="22"/>
                    </a:lnTo>
                    <a:lnTo>
                      <a:pt x="281" y="22"/>
                    </a:lnTo>
                    <a:lnTo>
                      <a:pt x="286" y="22"/>
                    </a:lnTo>
                    <a:lnTo>
                      <a:pt x="287" y="22"/>
                    </a:lnTo>
                    <a:lnTo>
                      <a:pt x="299" y="22"/>
                    </a:lnTo>
                    <a:lnTo>
                      <a:pt x="318" y="22"/>
                    </a:lnTo>
                    <a:lnTo>
                      <a:pt x="338" y="22"/>
                    </a:lnTo>
                    <a:lnTo>
                      <a:pt x="342" y="25"/>
                    </a:lnTo>
                    <a:lnTo>
                      <a:pt x="342" y="27"/>
                    </a:lnTo>
                    <a:lnTo>
                      <a:pt x="345" y="29"/>
                    </a:lnTo>
                    <a:lnTo>
                      <a:pt x="345" y="32"/>
                    </a:lnTo>
                    <a:lnTo>
                      <a:pt x="347" y="32"/>
                    </a:lnTo>
                    <a:lnTo>
                      <a:pt x="349" y="32"/>
                    </a:lnTo>
                    <a:lnTo>
                      <a:pt x="349" y="34"/>
                    </a:lnTo>
                    <a:lnTo>
                      <a:pt x="355" y="39"/>
                    </a:lnTo>
                    <a:lnTo>
                      <a:pt x="357" y="39"/>
                    </a:lnTo>
                    <a:lnTo>
                      <a:pt x="357" y="41"/>
                    </a:lnTo>
                    <a:lnTo>
                      <a:pt x="360" y="41"/>
                    </a:lnTo>
                    <a:lnTo>
                      <a:pt x="360" y="42"/>
                    </a:lnTo>
                    <a:lnTo>
                      <a:pt x="364" y="44"/>
                    </a:lnTo>
                    <a:lnTo>
                      <a:pt x="374" y="44"/>
                    </a:lnTo>
                    <a:lnTo>
                      <a:pt x="374" y="42"/>
                    </a:lnTo>
                    <a:lnTo>
                      <a:pt x="376" y="44"/>
                    </a:lnTo>
                    <a:lnTo>
                      <a:pt x="377" y="42"/>
                    </a:lnTo>
                    <a:lnTo>
                      <a:pt x="379" y="44"/>
                    </a:lnTo>
                    <a:lnTo>
                      <a:pt x="381" y="44"/>
                    </a:lnTo>
                    <a:lnTo>
                      <a:pt x="383" y="44"/>
                    </a:lnTo>
                    <a:lnTo>
                      <a:pt x="384" y="44"/>
                    </a:lnTo>
                    <a:lnTo>
                      <a:pt x="384" y="46"/>
                    </a:lnTo>
                    <a:lnTo>
                      <a:pt x="386" y="46"/>
                    </a:lnTo>
                    <a:lnTo>
                      <a:pt x="389" y="46"/>
                    </a:lnTo>
                    <a:lnTo>
                      <a:pt x="391" y="46"/>
                    </a:lnTo>
                    <a:lnTo>
                      <a:pt x="393" y="46"/>
                    </a:lnTo>
                    <a:lnTo>
                      <a:pt x="394" y="46"/>
                    </a:lnTo>
                    <a:lnTo>
                      <a:pt x="396" y="46"/>
                    </a:lnTo>
                    <a:lnTo>
                      <a:pt x="398" y="46"/>
                    </a:lnTo>
                    <a:lnTo>
                      <a:pt x="400" y="46"/>
                    </a:lnTo>
                    <a:lnTo>
                      <a:pt x="401" y="46"/>
                    </a:lnTo>
                    <a:lnTo>
                      <a:pt x="403" y="47"/>
                    </a:lnTo>
                    <a:lnTo>
                      <a:pt x="405" y="46"/>
                    </a:lnTo>
                    <a:lnTo>
                      <a:pt x="406" y="47"/>
                    </a:lnTo>
                    <a:lnTo>
                      <a:pt x="410" y="46"/>
                    </a:lnTo>
                    <a:lnTo>
                      <a:pt x="411" y="47"/>
                    </a:lnTo>
                    <a:lnTo>
                      <a:pt x="415" y="46"/>
                    </a:lnTo>
                    <a:lnTo>
                      <a:pt x="420" y="47"/>
                    </a:lnTo>
                    <a:lnTo>
                      <a:pt x="422" y="47"/>
                    </a:lnTo>
                    <a:lnTo>
                      <a:pt x="423" y="47"/>
                    </a:lnTo>
                    <a:lnTo>
                      <a:pt x="427" y="46"/>
                    </a:lnTo>
                    <a:lnTo>
                      <a:pt x="432" y="47"/>
                    </a:lnTo>
                    <a:lnTo>
                      <a:pt x="432" y="46"/>
                    </a:lnTo>
                    <a:lnTo>
                      <a:pt x="434" y="46"/>
                    </a:lnTo>
                    <a:lnTo>
                      <a:pt x="435" y="46"/>
                    </a:lnTo>
                    <a:lnTo>
                      <a:pt x="437" y="47"/>
                    </a:lnTo>
                    <a:lnTo>
                      <a:pt x="442" y="47"/>
                    </a:lnTo>
                    <a:lnTo>
                      <a:pt x="442" y="51"/>
                    </a:lnTo>
                    <a:lnTo>
                      <a:pt x="444" y="51"/>
                    </a:lnTo>
                    <a:lnTo>
                      <a:pt x="445" y="52"/>
                    </a:lnTo>
                    <a:lnTo>
                      <a:pt x="451" y="51"/>
                    </a:lnTo>
                    <a:lnTo>
                      <a:pt x="454" y="52"/>
                    </a:lnTo>
                    <a:lnTo>
                      <a:pt x="456" y="52"/>
                    </a:lnTo>
                    <a:lnTo>
                      <a:pt x="456" y="54"/>
                    </a:lnTo>
                    <a:lnTo>
                      <a:pt x="461" y="54"/>
                    </a:lnTo>
                    <a:lnTo>
                      <a:pt x="462" y="54"/>
                    </a:lnTo>
                    <a:lnTo>
                      <a:pt x="462" y="52"/>
                    </a:lnTo>
                    <a:lnTo>
                      <a:pt x="468" y="51"/>
                    </a:lnTo>
                    <a:lnTo>
                      <a:pt x="474" y="51"/>
                    </a:lnTo>
                    <a:lnTo>
                      <a:pt x="478" y="49"/>
                    </a:lnTo>
                    <a:lnTo>
                      <a:pt x="481" y="49"/>
                    </a:lnTo>
                    <a:lnTo>
                      <a:pt x="481" y="51"/>
                    </a:lnTo>
                    <a:lnTo>
                      <a:pt x="486" y="52"/>
                    </a:lnTo>
                    <a:lnTo>
                      <a:pt x="488" y="52"/>
                    </a:lnTo>
                    <a:lnTo>
                      <a:pt x="491" y="54"/>
                    </a:lnTo>
                    <a:lnTo>
                      <a:pt x="493" y="54"/>
                    </a:lnTo>
                    <a:lnTo>
                      <a:pt x="512" y="51"/>
                    </a:lnTo>
                    <a:lnTo>
                      <a:pt x="520" y="49"/>
                    </a:lnTo>
                    <a:lnTo>
                      <a:pt x="534" y="46"/>
                    </a:lnTo>
                    <a:lnTo>
                      <a:pt x="539" y="44"/>
                    </a:lnTo>
                    <a:lnTo>
                      <a:pt x="551" y="42"/>
                    </a:lnTo>
                    <a:lnTo>
                      <a:pt x="570" y="39"/>
                    </a:lnTo>
                    <a:lnTo>
                      <a:pt x="590" y="35"/>
                    </a:lnTo>
                    <a:lnTo>
                      <a:pt x="593" y="34"/>
                    </a:lnTo>
                    <a:close/>
                    <a:moveTo>
                      <a:pt x="175" y="508"/>
                    </a:moveTo>
                    <a:lnTo>
                      <a:pt x="175" y="510"/>
                    </a:lnTo>
                    <a:lnTo>
                      <a:pt x="175" y="508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4" name="Freeform 45">
                <a:extLst>
                  <a:ext uri="{FF2B5EF4-FFF2-40B4-BE49-F238E27FC236}">
                    <a16:creationId xmlns:a16="http://schemas.microsoft.com/office/drawing/2014/main" id="{683AB6CF-8865-4CBE-AE21-80064F94D4E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89332" y="1560448"/>
                <a:ext cx="1273138" cy="950874"/>
              </a:xfrm>
              <a:custGeom>
                <a:avLst/>
                <a:gdLst>
                  <a:gd name="T0" fmla="*/ 766 w 802"/>
                  <a:gd name="T1" fmla="*/ 106 h 599"/>
                  <a:gd name="T2" fmla="*/ 782 w 802"/>
                  <a:gd name="T3" fmla="*/ 140 h 599"/>
                  <a:gd name="T4" fmla="*/ 790 w 802"/>
                  <a:gd name="T5" fmla="*/ 181 h 599"/>
                  <a:gd name="T6" fmla="*/ 776 w 802"/>
                  <a:gd name="T7" fmla="*/ 337 h 599"/>
                  <a:gd name="T8" fmla="*/ 700 w 802"/>
                  <a:gd name="T9" fmla="*/ 426 h 599"/>
                  <a:gd name="T10" fmla="*/ 688 w 802"/>
                  <a:gd name="T11" fmla="*/ 448 h 599"/>
                  <a:gd name="T12" fmla="*/ 674 w 802"/>
                  <a:gd name="T13" fmla="*/ 460 h 599"/>
                  <a:gd name="T14" fmla="*/ 668 w 802"/>
                  <a:gd name="T15" fmla="*/ 497 h 599"/>
                  <a:gd name="T16" fmla="*/ 663 w 802"/>
                  <a:gd name="T17" fmla="*/ 505 h 599"/>
                  <a:gd name="T18" fmla="*/ 657 w 802"/>
                  <a:gd name="T19" fmla="*/ 505 h 599"/>
                  <a:gd name="T20" fmla="*/ 654 w 802"/>
                  <a:gd name="T21" fmla="*/ 505 h 599"/>
                  <a:gd name="T22" fmla="*/ 646 w 802"/>
                  <a:gd name="T23" fmla="*/ 509 h 599"/>
                  <a:gd name="T24" fmla="*/ 640 w 802"/>
                  <a:gd name="T25" fmla="*/ 512 h 599"/>
                  <a:gd name="T26" fmla="*/ 637 w 802"/>
                  <a:gd name="T27" fmla="*/ 517 h 599"/>
                  <a:gd name="T28" fmla="*/ 632 w 802"/>
                  <a:gd name="T29" fmla="*/ 519 h 599"/>
                  <a:gd name="T30" fmla="*/ 625 w 802"/>
                  <a:gd name="T31" fmla="*/ 526 h 599"/>
                  <a:gd name="T32" fmla="*/ 613 w 802"/>
                  <a:gd name="T33" fmla="*/ 529 h 599"/>
                  <a:gd name="T34" fmla="*/ 601 w 802"/>
                  <a:gd name="T35" fmla="*/ 526 h 599"/>
                  <a:gd name="T36" fmla="*/ 562 w 802"/>
                  <a:gd name="T37" fmla="*/ 514 h 599"/>
                  <a:gd name="T38" fmla="*/ 501 w 802"/>
                  <a:gd name="T39" fmla="*/ 524 h 599"/>
                  <a:gd name="T40" fmla="*/ 445 w 802"/>
                  <a:gd name="T41" fmla="*/ 541 h 599"/>
                  <a:gd name="T42" fmla="*/ 418 w 802"/>
                  <a:gd name="T43" fmla="*/ 531 h 599"/>
                  <a:gd name="T44" fmla="*/ 389 w 802"/>
                  <a:gd name="T45" fmla="*/ 516 h 599"/>
                  <a:gd name="T46" fmla="*/ 357 w 802"/>
                  <a:gd name="T47" fmla="*/ 528 h 599"/>
                  <a:gd name="T48" fmla="*/ 340 w 802"/>
                  <a:gd name="T49" fmla="*/ 529 h 599"/>
                  <a:gd name="T50" fmla="*/ 324 w 802"/>
                  <a:gd name="T51" fmla="*/ 507 h 599"/>
                  <a:gd name="T52" fmla="*/ 304 w 802"/>
                  <a:gd name="T53" fmla="*/ 500 h 599"/>
                  <a:gd name="T54" fmla="*/ 256 w 802"/>
                  <a:gd name="T55" fmla="*/ 497 h 599"/>
                  <a:gd name="T56" fmla="*/ 204 w 802"/>
                  <a:gd name="T57" fmla="*/ 511 h 599"/>
                  <a:gd name="T58" fmla="*/ 176 w 802"/>
                  <a:gd name="T59" fmla="*/ 558 h 599"/>
                  <a:gd name="T60" fmla="*/ 175 w 802"/>
                  <a:gd name="T61" fmla="*/ 592 h 599"/>
                  <a:gd name="T62" fmla="*/ 171 w 802"/>
                  <a:gd name="T63" fmla="*/ 599 h 599"/>
                  <a:gd name="T64" fmla="*/ 166 w 802"/>
                  <a:gd name="T65" fmla="*/ 591 h 599"/>
                  <a:gd name="T66" fmla="*/ 148 w 802"/>
                  <a:gd name="T67" fmla="*/ 575 h 599"/>
                  <a:gd name="T68" fmla="*/ 136 w 802"/>
                  <a:gd name="T69" fmla="*/ 565 h 599"/>
                  <a:gd name="T70" fmla="*/ 127 w 802"/>
                  <a:gd name="T71" fmla="*/ 568 h 599"/>
                  <a:gd name="T72" fmla="*/ 117 w 802"/>
                  <a:gd name="T73" fmla="*/ 570 h 599"/>
                  <a:gd name="T74" fmla="*/ 112 w 802"/>
                  <a:gd name="T75" fmla="*/ 574 h 599"/>
                  <a:gd name="T76" fmla="*/ 117 w 802"/>
                  <a:gd name="T77" fmla="*/ 585 h 599"/>
                  <a:gd name="T78" fmla="*/ 97 w 802"/>
                  <a:gd name="T79" fmla="*/ 567 h 599"/>
                  <a:gd name="T80" fmla="*/ 105 w 802"/>
                  <a:gd name="T81" fmla="*/ 558 h 599"/>
                  <a:gd name="T82" fmla="*/ 98 w 802"/>
                  <a:gd name="T83" fmla="*/ 548 h 599"/>
                  <a:gd name="T84" fmla="*/ 86 w 802"/>
                  <a:gd name="T85" fmla="*/ 553 h 599"/>
                  <a:gd name="T86" fmla="*/ 42 w 802"/>
                  <a:gd name="T87" fmla="*/ 534 h 599"/>
                  <a:gd name="T88" fmla="*/ 54 w 802"/>
                  <a:gd name="T89" fmla="*/ 514 h 599"/>
                  <a:gd name="T90" fmla="*/ 47 w 802"/>
                  <a:gd name="T91" fmla="*/ 511 h 599"/>
                  <a:gd name="T92" fmla="*/ 34 w 802"/>
                  <a:gd name="T93" fmla="*/ 502 h 599"/>
                  <a:gd name="T94" fmla="*/ 23 w 802"/>
                  <a:gd name="T95" fmla="*/ 499 h 599"/>
                  <a:gd name="T96" fmla="*/ 13 w 802"/>
                  <a:gd name="T97" fmla="*/ 483 h 599"/>
                  <a:gd name="T98" fmla="*/ 12 w 802"/>
                  <a:gd name="T99" fmla="*/ 473 h 599"/>
                  <a:gd name="T100" fmla="*/ 6 w 802"/>
                  <a:gd name="T101" fmla="*/ 465 h 599"/>
                  <a:gd name="T102" fmla="*/ 3 w 802"/>
                  <a:gd name="T103" fmla="*/ 439 h 599"/>
                  <a:gd name="T104" fmla="*/ 18 w 802"/>
                  <a:gd name="T105" fmla="*/ 434 h 599"/>
                  <a:gd name="T106" fmla="*/ 59 w 802"/>
                  <a:gd name="T107" fmla="*/ 419 h 599"/>
                  <a:gd name="T108" fmla="*/ 146 w 802"/>
                  <a:gd name="T109" fmla="*/ 415 h 599"/>
                  <a:gd name="T110" fmla="*/ 180 w 802"/>
                  <a:gd name="T111" fmla="*/ 400 h 599"/>
                  <a:gd name="T112" fmla="*/ 193 w 802"/>
                  <a:gd name="T113" fmla="*/ 380 h 599"/>
                  <a:gd name="T114" fmla="*/ 207 w 802"/>
                  <a:gd name="T115" fmla="*/ 247 h 599"/>
                  <a:gd name="T116" fmla="*/ 319 w 802"/>
                  <a:gd name="T117" fmla="*/ 179 h 599"/>
                  <a:gd name="T118" fmla="*/ 600 w 802"/>
                  <a:gd name="T119" fmla="*/ 0 h 599"/>
                  <a:gd name="T120" fmla="*/ 710 w 802"/>
                  <a:gd name="T121" fmla="*/ 44 h 5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02" h="599">
                    <a:moveTo>
                      <a:pt x="751" y="27"/>
                    </a:moveTo>
                    <a:lnTo>
                      <a:pt x="758" y="58"/>
                    </a:lnTo>
                    <a:lnTo>
                      <a:pt x="761" y="79"/>
                    </a:lnTo>
                    <a:lnTo>
                      <a:pt x="761" y="104"/>
                    </a:lnTo>
                    <a:lnTo>
                      <a:pt x="766" y="106"/>
                    </a:lnTo>
                    <a:lnTo>
                      <a:pt x="768" y="109"/>
                    </a:lnTo>
                    <a:lnTo>
                      <a:pt x="775" y="118"/>
                    </a:lnTo>
                    <a:lnTo>
                      <a:pt x="783" y="130"/>
                    </a:lnTo>
                    <a:lnTo>
                      <a:pt x="778" y="135"/>
                    </a:lnTo>
                    <a:lnTo>
                      <a:pt x="782" y="140"/>
                    </a:lnTo>
                    <a:lnTo>
                      <a:pt x="785" y="141"/>
                    </a:lnTo>
                    <a:lnTo>
                      <a:pt x="788" y="147"/>
                    </a:lnTo>
                    <a:lnTo>
                      <a:pt x="795" y="155"/>
                    </a:lnTo>
                    <a:lnTo>
                      <a:pt x="802" y="162"/>
                    </a:lnTo>
                    <a:lnTo>
                      <a:pt x="790" y="181"/>
                    </a:lnTo>
                    <a:lnTo>
                      <a:pt x="790" y="182"/>
                    </a:lnTo>
                    <a:lnTo>
                      <a:pt x="782" y="242"/>
                    </a:lnTo>
                    <a:lnTo>
                      <a:pt x="780" y="281"/>
                    </a:lnTo>
                    <a:lnTo>
                      <a:pt x="778" y="323"/>
                    </a:lnTo>
                    <a:lnTo>
                      <a:pt x="776" y="337"/>
                    </a:lnTo>
                    <a:lnTo>
                      <a:pt x="773" y="340"/>
                    </a:lnTo>
                    <a:lnTo>
                      <a:pt x="751" y="363"/>
                    </a:lnTo>
                    <a:lnTo>
                      <a:pt x="719" y="397"/>
                    </a:lnTo>
                    <a:lnTo>
                      <a:pt x="707" y="414"/>
                    </a:lnTo>
                    <a:lnTo>
                      <a:pt x="700" y="426"/>
                    </a:lnTo>
                    <a:lnTo>
                      <a:pt x="693" y="431"/>
                    </a:lnTo>
                    <a:lnTo>
                      <a:pt x="690" y="439"/>
                    </a:lnTo>
                    <a:lnTo>
                      <a:pt x="691" y="446"/>
                    </a:lnTo>
                    <a:lnTo>
                      <a:pt x="690" y="448"/>
                    </a:lnTo>
                    <a:lnTo>
                      <a:pt x="688" y="448"/>
                    </a:lnTo>
                    <a:lnTo>
                      <a:pt x="685" y="451"/>
                    </a:lnTo>
                    <a:lnTo>
                      <a:pt x="685" y="456"/>
                    </a:lnTo>
                    <a:lnTo>
                      <a:pt x="683" y="458"/>
                    </a:lnTo>
                    <a:lnTo>
                      <a:pt x="680" y="458"/>
                    </a:lnTo>
                    <a:lnTo>
                      <a:pt x="674" y="460"/>
                    </a:lnTo>
                    <a:lnTo>
                      <a:pt x="674" y="465"/>
                    </a:lnTo>
                    <a:lnTo>
                      <a:pt x="676" y="477"/>
                    </a:lnTo>
                    <a:lnTo>
                      <a:pt x="680" y="485"/>
                    </a:lnTo>
                    <a:lnTo>
                      <a:pt x="683" y="499"/>
                    </a:lnTo>
                    <a:lnTo>
                      <a:pt x="668" y="497"/>
                    </a:lnTo>
                    <a:lnTo>
                      <a:pt x="664" y="502"/>
                    </a:lnTo>
                    <a:lnTo>
                      <a:pt x="663" y="502"/>
                    </a:lnTo>
                    <a:lnTo>
                      <a:pt x="663" y="504"/>
                    </a:lnTo>
                    <a:lnTo>
                      <a:pt x="661" y="504"/>
                    </a:lnTo>
                    <a:lnTo>
                      <a:pt x="663" y="505"/>
                    </a:lnTo>
                    <a:lnTo>
                      <a:pt x="661" y="505"/>
                    </a:lnTo>
                    <a:lnTo>
                      <a:pt x="661" y="507"/>
                    </a:lnTo>
                    <a:lnTo>
                      <a:pt x="659" y="507"/>
                    </a:lnTo>
                    <a:lnTo>
                      <a:pt x="657" y="507"/>
                    </a:lnTo>
                    <a:lnTo>
                      <a:pt x="657" y="505"/>
                    </a:lnTo>
                    <a:lnTo>
                      <a:pt x="656" y="507"/>
                    </a:lnTo>
                    <a:lnTo>
                      <a:pt x="654" y="507"/>
                    </a:lnTo>
                    <a:lnTo>
                      <a:pt x="652" y="507"/>
                    </a:lnTo>
                    <a:lnTo>
                      <a:pt x="654" y="507"/>
                    </a:lnTo>
                    <a:lnTo>
                      <a:pt x="654" y="505"/>
                    </a:lnTo>
                    <a:lnTo>
                      <a:pt x="652" y="507"/>
                    </a:lnTo>
                    <a:lnTo>
                      <a:pt x="651" y="507"/>
                    </a:lnTo>
                    <a:lnTo>
                      <a:pt x="647" y="507"/>
                    </a:lnTo>
                    <a:lnTo>
                      <a:pt x="647" y="509"/>
                    </a:lnTo>
                    <a:lnTo>
                      <a:pt x="646" y="509"/>
                    </a:lnTo>
                    <a:lnTo>
                      <a:pt x="644" y="509"/>
                    </a:lnTo>
                    <a:lnTo>
                      <a:pt x="644" y="511"/>
                    </a:lnTo>
                    <a:lnTo>
                      <a:pt x="642" y="509"/>
                    </a:lnTo>
                    <a:lnTo>
                      <a:pt x="642" y="511"/>
                    </a:lnTo>
                    <a:lnTo>
                      <a:pt x="640" y="512"/>
                    </a:lnTo>
                    <a:lnTo>
                      <a:pt x="642" y="514"/>
                    </a:lnTo>
                    <a:lnTo>
                      <a:pt x="639" y="514"/>
                    </a:lnTo>
                    <a:lnTo>
                      <a:pt x="640" y="514"/>
                    </a:lnTo>
                    <a:lnTo>
                      <a:pt x="637" y="516"/>
                    </a:lnTo>
                    <a:lnTo>
                      <a:pt x="637" y="517"/>
                    </a:lnTo>
                    <a:lnTo>
                      <a:pt x="635" y="517"/>
                    </a:lnTo>
                    <a:lnTo>
                      <a:pt x="635" y="519"/>
                    </a:lnTo>
                    <a:lnTo>
                      <a:pt x="635" y="517"/>
                    </a:lnTo>
                    <a:lnTo>
                      <a:pt x="634" y="519"/>
                    </a:lnTo>
                    <a:lnTo>
                      <a:pt x="632" y="519"/>
                    </a:lnTo>
                    <a:lnTo>
                      <a:pt x="630" y="519"/>
                    </a:lnTo>
                    <a:lnTo>
                      <a:pt x="629" y="522"/>
                    </a:lnTo>
                    <a:lnTo>
                      <a:pt x="627" y="522"/>
                    </a:lnTo>
                    <a:lnTo>
                      <a:pt x="627" y="526"/>
                    </a:lnTo>
                    <a:lnTo>
                      <a:pt x="625" y="526"/>
                    </a:lnTo>
                    <a:lnTo>
                      <a:pt x="623" y="528"/>
                    </a:lnTo>
                    <a:lnTo>
                      <a:pt x="625" y="529"/>
                    </a:lnTo>
                    <a:lnTo>
                      <a:pt x="623" y="531"/>
                    </a:lnTo>
                    <a:lnTo>
                      <a:pt x="615" y="529"/>
                    </a:lnTo>
                    <a:lnTo>
                      <a:pt x="613" y="529"/>
                    </a:lnTo>
                    <a:lnTo>
                      <a:pt x="612" y="528"/>
                    </a:lnTo>
                    <a:lnTo>
                      <a:pt x="610" y="528"/>
                    </a:lnTo>
                    <a:lnTo>
                      <a:pt x="608" y="528"/>
                    </a:lnTo>
                    <a:lnTo>
                      <a:pt x="606" y="528"/>
                    </a:lnTo>
                    <a:lnTo>
                      <a:pt x="601" y="526"/>
                    </a:lnTo>
                    <a:lnTo>
                      <a:pt x="600" y="524"/>
                    </a:lnTo>
                    <a:lnTo>
                      <a:pt x="593" y="521"/>
                    </a:lnTo>
                    <a:lnTo>
                      <a:pt x="584" y="519"/>
                    </a:lnTo>
                    <a:lnTo>
                      <a:pt x="576" y="516"/>
                    </a:lnTo>
                    <a:lnTo>
                      <a:pt x="562" y="514"/>
                    </a:lnTo>
                    <a:lnTo>
                      <a:pt x="538" y="516"/>
                    </a:lnTo>
                    <a:lnTo>
                      <a:pt x="532" y="516"/>
                    </a:lnTo>
                    <a:lnTo>
                      <a:pt x="521" y="519"/>
                    </a:lnTo>
                    <a:lnTo>
                      <a:pt x="508" y="521"/>
                    </a:lnTo>
                    <a:lnTo>
                      <a:pt x="501" y="524"/>
                    </a:lnTo>
                    <a:lnTo>
                      <a:pt x="498" y="526"/>
                    </a:lnTo>
                    <a:lnTo>
                      <a:pt x="486" y="538"/>
                    </a:lnTo>
                    <a:lnTo>
                      <a:pt x="481" y="543"/>
                    </a:lnTo>
                    <a:lnTo>
                      <a:pt x="465" y="543"/>
                    </a:lnTo>
                    <a:lnTo>
                      <a:pt x="445" y="541"/>
                    </a:lnTo>
                    <a:lnTo>
                      <a:pt x="430" y="536"/>
                    </a:lnTo>
                    <a:lnTo>
                      <a:pt x="428" y="534"/>
                    </a:lnTo>
                    <a:lnTo>
                      <a:pt x="423" y="531"/>
                    </a:lnTo>
                    <a:lnTo>
                      <a:pt x="421" y="529"/>
                    </a:lnTo>
                    <a:lnTo>
                      <a:pt x="418" y="531"/>
                    </a:lnTo>
                    <a:lnTo>
                      <a:pt x="409" y="522"/>
                    </a:lnTo>
                    <a:lnTo>
                      <a:pt x="408" y="522"/>
                    </a:lnTo>
                    <a:lnTo>
                      <a:pt x="404" y="519"/>
                    </a:lnTo>
                    <a:lnTo>
                      <a:pt x="401" y="519"/>
                    </a:lnTo>
                    <a:lnTo>
                      <a:pt x="389" y="516"/>
                    </a:lnTo>
                    <a:lnTo>
                      <a:pt x="387" y="516"/>
                    </a:lnTo>
                    <a:lnTo>
                      <a:pt x="379" y="522"/>
                    </a:lnTo>
                    <a:lnTo>
                      <a:pt x="367" y="529"/>
                    </a:lnTo>
                    <a:lnTo>
                      <a:pt x="363" y="529"/>
                    </a:lnTo>
                    <a:lnTo>
                      <a:pt x="357" y="528"/>
                    </a:lnTo>
                    <a:lnTo>
                      <a:pt x="352" y="533"/>
                    </a:lnTo>
                    <a:lnTo>
                      <a:pt x="350" y="534"/>
                    </a:lnTo>
                    <a:lnTo>
                      <a:pt x="343" y="533"/>
                    </a:lnTo>
                    <a:lnTo>
                      <a:pt x="341" y="531"/>
                    </a:lnTo>
                    <a:lnTo>
                      <a:pt x="340" y="529"/>
                    </a:lnTo>
                    <a:lnTo>
                      <a:pt x="338" y="529"/>
                    </a:lnTo>
                    <a:lnTo>
                      <a:pt x="338" y="528"/>
                    </a:lnTo>
                    <a:lnTo>
                      <a:pt x="329" y="516"/>
                    </a:lnTo>
                    <a:lnTo>
                      <a:pt x="324" y="509"/>
                    </a:lnTo>
                    <a:lnTo>
                      <a:pt x="324" y="507"/>
                    </a:lnTo>
                    <a:lnTo>
                      <a:pt x="321" y="505"/>
                    </a:lnTo>
                    <a:lnTo>
                      <a:pt x="319" y="505"/>
                    </a:lnTo>
                    <a:lnTo>
                      <a:pt x="318" y="504"/>
                    </a:lnTo>
                    <a:lnTo>
                      <a:pt x="311" y="499"/>
                    </a:lnTo>
                    <a:lnTo>
                      <a:pt x="304" y="500"/>
                    </a:lnTo>
                    <a:lnTo>
                      <a:pt x="289" y="495"/>
                    </a:lnTo>
                    <a:lnTo>
                      <a:pt x="272" y="490"/>
                    </a:lnTo>
                    <a:lnTo>
                      <a:pt x="263" y="492"/>
                    </a:lnTo>
                    <a:lnTo>
                      <a:pt x="260" y="495"/>
                    </a:lnTo>
                    <a:lnTo>
                      <a:pt x="256" y="497"/>
                    </a:lnTo>
                    <a:lnTo>
                      <a:pt x="243" y="497"/>
                    </a:lnTo>
                    <a:lnTo>
                      <a:pt x="241" y="497"/>
                    </a:lnTo>
                    <a:lnTo>
                      <a:pt x="238" y="495"/>
                    </a:lnTo>
                    <a:lnTo>
                      <a:pt x="217" y="499"/>
                    </a:lnTo>
                    <a:lnTo>
                      <a:pt x="204" y="511"/>
                    </a:lnTo>
                    <a:lnTo>
                      <a:pt x="200" y="511"/>
                    </a:lnTo>
                    <a:lnTo>
                      <a:pt x="200" y="526"/>
                    </a:lnTo>
                    <a:lnTo>
                      <a:pt x="199" y="534"/>
                    </a:lnTo>
                    <a:lnTo>
                      <a:pt x="192" y="546"/>
                    </a:lnTo>
                    <a:lnTo>
                      <a:pt x="176" y="558"/>
                    </a:lnTo>
                    <a:lnTo>
                      <a:pt x="176" y="570"/>
                    </a:lnTo>
                    <a:lnTo>
                      <a:pt x="176" y="579"/>
                    </a:lnTo>
                    <a:lnTo>
                      <a:pt x="178" y="585"/>
                    </a:lnTo>
                    <a:lnTo>
                      <a:pt x="175" y="589"/>
                    </a:lnTo>
                    <a:lnTo>
                      <a:pt x="175" y="592"/>
                    </a:lnTo>
                    <a:lnTo>
                      <a:pt x="178" y="594"/>
                    </a:lnTo>
                    <a:lnTo>
                      <a:pt x="178" y="597"/>
                    </a:lnTo>
                    <a:lnTo>
                      <a:pt x="176" y="599"/>
                    </a:lnTo>
                    <a:lnTo>
                      <a:pt x="175" y="599"/>
                    </a:lnTo>
                    <a:lnTo>
                      <a:pt x="171" y="599"/>
                    </a:lnTo>
                    <a:lnTo>
                      <a:pt x="173" y="596"/>
                    </a:lnTo>
                    <a:lnTo>
                      <a:pt x="171" y="596"/>
                    </a:lnTo>
                    <a:lnTo>
                      <a:pt x="170" y="594"/>
                    </a:lnTo>
                    <a:lnTo>
                      <a:pt x="168" y="592"/>
                    </a:lnTo>
                    <a:lnTo>
                      <a:pt x="166" y="591"/>
                    </a:lnTo>
                    <a:lnTo>
                      <a:pt x="159" y="591"/>
                    </a:lnTo>
                    <a:lnTo>
                      <a:pt x="156" y="585"/>
                    </a:lnTo>
                    <a:lnTo>
                      <a:pt x="158" y="584"/>
                    </a:lnTo>
                    <a:lnTo>
                      <a:pt x="151" y="577"/>
                    </a:lnTo>
                    <a:lnTo>
                      <a:pt x="148" y="575"/>
                    </a:lnTo>
                    <a:lnTo>
                      <a:pt x="144" y="570"/>
                    </a:lnTo>
                    <a:lnTo>
                      <a:pt x="142" y="570"/>
                    </a:lnTo>
                    <a:lnTo>
                      <a:pt x="137" y="565"/>
                    </a:lnTo>
                    <a:lnTo>
                      <a:pt x="136" y="563"/>
                    </a:lnTo>
                    <a:lnTo>
                      <a:pt x="136" y="565"/>
                    </a:lnTo>
                    <a:lnTo>
                      <a:pt x="132" y="565"/>
                    </a:lnTo>
                    <a:lnTo>
                      <a:pt x="132" y="567"/>
                    </a:lnTo>
                    <a:lnTo>
                      <a:pt x="131" y="567"/>
                    </a:lnTo>
                    <a:lnTo>
                      <a:pt x="127" y="570"/>
                    </a:lnTo>
                    <a:lnTo>
                      <a:pt x="127" y="568"/>
                    </a:lnTo>
                    <a:lnTo>
                      <a:pt x="124" y="568"/>
                    </a:lnTo>
                    <a:lnTo>
                      <a:pt x="122" y="570"/>
                    </a:lnTo>
                    <a:lnTo>
                      <a:pt x="120" y="570"/>
                    </a:lnTo>
                    <a:lnTo>
                      <a:pt x="119" y="572"/>
                    </a:lnTo>
                    <a:lnTo>
                      <a:pt x="117" y="570"/>
                    </a:lnTo>
                    <a:lnTo>
                      <a:pt x="117" y="572"/>
                    </a:lnTo>
                    <a:lnTo>
                      <a:pt x="115" y="572"/>
                    </a:lnTo>
                    <a:lnTo>
                      <a:pt x="112" y="572"/>
                    </a:lnTo>
                    <a:lnTo>
                      <a:pt x="114" y="574"/>
                    </a:lnTo>
                    <a:lnTo>
                      <a:pt x="112" y="574"/>
                    </a:lnTo>
                    <a:lnTo>
                      <a:pt x="114" y="575"/>
                    </a:lnTo>
                    <a:lnTo>
                      <a:pt x="112" y="575"/>
                    </a:lnTo>
                    <a:lnTo>
                      <a:pt x="114" y="577"/>
                    </a:lnTo>
                    <a:lnTo>
                      <a:pt x="114" y="579"/>
                    </a:lnTo>
                    <a:lnTo>
                      <a:pt x="117" y="585"/>
                    </a:lnTo>
                    <a:lnTo>
                      <a:pt x="115" y="585"/>
                    </a:lnTo>
                    <a:lnTo>
                      <a:pt x="115" y="587"/>
                    </a:lnTo>
                    <a:lnTo>
                      <a:pt x="114" y="587"/>
                    </a:lnTo>
                    <a:lnTo>
                      <a:pt x="114" y="589"/>
                    </a:lnTo>
                    <a:lnTo>
                      <a:pt x="97" y="567"/>
                    </a:lnTo>
                    <a:lnTo>
                      <a:pt x="98" y="565"/>
                    </a:lnTo>
                    <a:lnTo>
                      <a:pt x="102" y="563"/>
                    </a:lnTo>
                    <a:lnTo>
                      <a:pt x="107" y="563"/>
                    </a:lnTo>
                    <a:lnTo>
                      <a:pt x="107" y="560"/>
                    </a:lnTo>
                    <a:lnTo>
                      <a:pt x="105" y="558"/>
                    </a:lnTo>
                    <a:lnTo>
                      <a:pt x="105" y="555"/>
                    </a:lnTo>
                    <a:lnTo>
                      <a:pt x="103" y="553"/>
                    </a:lnTo>
                    <a:lnTo>
                      <a:pt x="102" y="551"/>
                    </a:lnTo>
                    <a:lnTo>
                      <a:pt x="102" y="550"/>
                    </a:lnTo>
                    <a:lnTo>
                      <a:pt x="98" y="548"/>
                    </a:lnTo>
                    <a:lnTo>
                      <a:pt x="93" y="548"/>
                    </a:lnTo>
                    <a:lnTo>
                      <a:pt x="91" y="546"/>
                    </a:lnTo>
                    <a:lnTo>
                      <a:pt x="91" y="550"/>
                    </a:lnTo>
                    <a:lnTo>
                      <a:pt x="90" y="550"/>
                    </a:lnTo>
                    <a:lnTo>
                      <a:pt x="86" y="553"/>
                    </a:lnTo>
                    <a:lnTo>
                      <a:pt x="71" y="553"/>
                    </a:lnTo>
                    <a:lnTo>
                      <a:pt x="71" y="551"/>
                    </a:lnTo>
                    <a:lnTo>
                      <a:pt x="59" y="543"/>
                    </a:lnTo>
                    <a:lnTo>
                      <a:pt x="49" y="534"/>
                    </a:lnTo>
                    <a:lnTo>
                      <a:pt x="42" y="534"/>
                    </a:lnTo>
                    <a:lnTo>
                      <a:pt x="42" y="516"/>
                    </a:lnTo>
                    <a:lnTo>
                      <a:pt x="46" y="516"/>
                    </a:lnTo>
                    <a:lnTo>
                      <a:pt x="49" y="517"/>
                    </a:lnTo>
                    <a:lnTo>
                      <a:pt x="52" y="517"/>
                    </a:lnTo>
                    <a:lnTo>
                      <a:pt x="54" y="514"/>
                    </a:lnTo>
                    <a:lnTo>
                      <a:pt x="54" y="516"/>
                    </a:lnTo>
                    <a:lnTo>
                      <a:pt x="57" y="516"/>
                    </a:lnTo>
                    <a:lnTo>
                      <a:pt x="56" y="514"/>
                    </a:lnTo>
                    <a:lnTo>
                      <a:pt x="49" y="512"/>
                    </a:lnTo>
                    <a:lnTo>
                      <a:pt x="47" y="511"/>
                    </a:lnTo>
                    <a:lnTo>
                      <a:pt x="44" y="509"/>
                    </a:lnTo>
                    <a:lnTo>
                      <a:pt x="44" y="507"/>
                    </a:lnTo>
                    <a:lnTo>
                      <a:pt x="42" y="504"/>
                    </a:lnTo>
                    <a:lnTo>
                      <a:pt x="37" y="502"/>
                    </a:lnTo>
                    <a:lnTo>
                      <a:pt x="34" y="502"/>
                    </a:lnTo>
                    <a:lnTo>
                      <a:pt x="32" y="502"/>
                    </a:lnTo>
                    <a:lnTo>
                      <a:pt x="32" y="500"/>
                    </a:lnTo>
                    <a:lnTo>
                      <a:pt x="30" y="499"/>
                    </a:lnTo>
                    <a:lnTo>
                      <a:pt x="25" y="499"/>
                    </a:lnTo>
                    <a:lnTo>
                      <a:pt x="23" y="499"/>
                    </a:lnTo>
                    <a:lnTo>
                      <a:pt x="23" y="495"/>
                    </a:lnTo>
                    <a:lnTo>
                      <a:pt x="22" y="494"/>
                    </a:lnTo>
                    <a:lnTo>
                      <a:pt x="17" y="488"/>
                    </a:lnTo>
                    <a:lnTo>
                      <a:pt x="15" y="485"/>
                    </a:lnTo>
                    <a:lnTo>
                      <a:pt x="13" y="483"/>
                    </a:lnTo>
                    <a:lnTo>
                      <a:pt x="13" y="482"/>
                    </a:lnTo>
                    <a:lnTo>
                      <a:pt x="12" y="480"/>
                    </a:lnTo>
                    <a:lnTo>
                      <a:pt x="12" y="478"/>
                    </a:lnTo>
                    <a:lnTo>
                      <a:pt x="10" y="477"/>
                    </a:lnTo>
                    <a:lnTo>
                      <a:pt x="12" y="473"/>
                    </a:lnTo>
                    <a:lnTo>
                      <a:pt x="12" y="471"/>
                    </a:lnTo>
                    <a:lnTo>
                      <a:pt x="12" y="470"/>
                    </a:lnTo>
                    <a:lnTo>
                      <a:pt x="12" y="468"/>
                    </a:lnTo>
                    <a:lnTo>
                      <a:pt x="8" y="465"/>
                    </a:lnTo>
                    <a:lnTo>
                      <a:pt x="6" y="465"/>
                    </a:lnTo>
                    <a:lnTo>
                      <a:pt x="1" y="460"/>
                    </a:lnTo>
                    <a:lnTo>
                      <a:pt x="0" y="456"/>
                    </a:lnTo>
                    <a:lnTo>
                      <a:pt x="3" y="444"/>
                    </a:lnTo>
                    <a:lnTo>
                      <a:pt x="1" y="441"/>
                    </a:lnTo>
                    <a:lnTo>
                      <a:pt x="3" y="439"/>
                    </a:lnTo>
                    <a:lnTo>
                      <a:pt x="3" y="437"/>
                    </a:lnTo>
                    <a:lnTo>
                      <a:pt x="3" y="432"/>
                    </a:lnTo>
                    <a:lnTo>
                      <a:pt x="12" y="434"/>
                    </a:lnTo>
                    <a:lnTo>
                      <a:pt x="18" y="432"/>
                    </a:lnTo>
                    <a:lnTo>
                      <a:pt x="18" y="434"/>
                    </a:lnTo>
                    <a:lnTo>
                      <a:pt x="27" y="436"/>
                    </a:lnTo>
                    <a:lnTo>
                      <a:pt x="30" y="434"/>
                    </a:lnTo>
                    <a:lnTo>
                      <a:pt x="40" y="434"/>
                    </a:lnTo>
                    <a:lnTo>
                      <a:pt x="57" y="419"/>
                    </a:lnTo>
                    <a:lnTo>
                      <a:pt x="59" y="419"/>
                    </a:lnTo>
                    <a:lnTo>
                      <a:pt x="74" y="417"/>
                    </a:lnTo>
                    <a:lnTo>
                      <a:pt x="86" y="417"/>
                    </a:lnTo>
                    <a:lnTo>
                      <a:pt x="122" y="414"/>
                    </a:lnTo>
                    <a:lnTo>
                      <a:pt x="129" y="414"/>
                    </a:lnTo>
                    <a:lnTo>
                      <a:pt x="146" y="415"/>
                    </a:lnTo>
                    <a:lnTo>
                      <a:pt x="170" y="415"/>
                    </a:lnTo>
                    <a:lnTo>
                      <a:pt x="171" y="415"/>
                    </a:lnTo>
                    <a:lnTo>
                      <a:pt x="171" y="409"/>
                    </a:lnTo>
                    <a:lnTo>
                      <a:pt x="175" y="407"/>
                    </a:lnTo>
                    <a:lnTo>
                      <a:pt x="180" y="400"/>
                    </a:lnTo>
                    <a:lnTo>
                      <a:pt x="187" y="398"/>
                    </a:lnTo>
                    <a:lnTo>
                      <a:pt x="188" y="395"/>
                    </a:lnTo>
                    <a:lnTo>
                      <a:pt x="190" y="386"/>
                    </a:lnTo>
                    <a:lnTo>
                      <a:pt x="193" y="383"/>
                    </a:lnTo>
                    <a:lnTo>
                      <a:pt x="193" y="380"/>
                    </a:lnTo>
                    <a:lnTo>
                      <a:pt x="197" y="364"/>
                    </a:lnTo>
                    <a:lnTo>
                      <a:pt x="197" y="335"/>
                    </a:lnTo>
                    <a:lnTo>
                      <a:pt x="207" y="332"/>
                    </a:lnTo>
                    <a:lnTo>
                      <a:pt x="207" y="281"/>
                    </a:lnTo>
                    <a:lnTo>
                      <a:pt x="207" y="247"/>
                    </a:lnTo>
                    <a:lnTo>
                      <a:pt x="205" y="223"/>
                    </a:lnTo>
                    <a:lnTo>
                      <a:pt x="229" y="218"/>
                    </a:lnTo>
                    <a:lnTo>
                      <a:pt x="287" y="208"/>
                    </a:lnTo>
                    <a:lnTo>
                      <a:pt x="289" y="204"/>
                    </a:lnTo>
                    <a:lnTo>
                      <a:pt x="319" y="179"/>
                    </a:lnTo>
                    <a:lnTo>
                      <a:pt x="370" y="136"/>
                    </a:lnTo>
                    <a:lnTo>
                      <a:pt x="448" y="89"/>
                    </a:lnTo>
                    <a:lnTo>
                      <a:pt x="510" y="53"/>
                    </a:lnTo>
                    <a:lnTo>
                      <a:pt x="552" y="27"/>
                    </a:lnTo>
                    <a:lnTo>
                      <a:pt x="600" y="0"/>
                    </a:lnTo>
                    <a:lnTo>
                      <a:pt x="651" y="12"/>
                    </a:lnTo>
                    <a:lnTo>
                      <a:pt x="671" y="16"/>
                    </a:lnTo>
                    <a:lnTo>
                      <a:pt x="678" y="19"/>
                    </a:lnTo>
                    <a:lnTo>
                      <a:pt x="685" y="24"/>
                    </a:lnTo>
                    <a:lnTo>
                      <a:pt x="710" y="44"/>
                    </a:lnTo>
                    <a:lnTo>
                      <a:pt x="751" y="27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5" name="Freeform 46">
                <a:extLst>
                  <a:ext uri="{FF2B5EF4-FFF2-40B4-BE49-F238E27FC236}">
                    <a16:creationId xmlns:a16="http://schemas.microsoft.com/office/drawing/2014/main" id="{45B91C61-AE3E-4188-89CE-B0BCD302047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790939" y="2338291"/>
                <a:ext cx="966760" cy="773081"/>
              </a:xfrm>
              <a:custGeom>
                <a:avLst/>
                <a:gdLst>
                  <a:gd name="T0" fmla="*/ 593 w 609"/>
                  <a:gd name="T1" fmla="*/ 77 h 487"/>
                  <a:gd name="T2" fmla="*/ 607 w 609"/>
                  <a:gd name="T3" fmla="*/ 92 h 487"/>
                  <a:gd name="T4" fmla="*/ 580 w 609"/>
                  <a:gd name="T5" fmla="*/ 133 h 487"/>
                  <a:gd name="T6" fmla="*/ 547 w 609"/>
                  <a:gd name="T7" fmla="*/ 182 h 487"/>
                  <a:gd name="T8" fmla="*/ 534 w 609"/>
                  <a:gd name="T9" fmla="*/ 216 h 487"/>
                  <a:gd name="T10" fmla="*/ 512 w 609"/>
                  <a:gd name="T11" fmla="*/ 259 h 487"/>
                  <a:gd name="T12" fmla="*/ 485 w 609"/>
                  <a:gd name="T13" fmla="*/ 298 h 487"/>
                  <a:gd name="T14" fmla="*/ 457 w 609"/>
                  <a:gd name="T15" fmla="*/ 345 h 487"/>
                  <a:gd name="T16" fmla="*/ 437 w 609"/>
                  <a:gd name="T17" fmla="*/ 373 h 487"/>
                  <a:gd name="T18" fmla="*/ 413 w 609"/>
                  <a:gd name="T19" fmla="*/ 351 h 487"/>
                  <a:gd name="T20" fmla="*/ 379 w 609"/>
                  <a:gd name="T21" fmla="*/ 347 h 487"/>
                  <a:gd name="T22" fmla="*/ 342 w 609"/>
                  <a:gd name="T23" fmla="*/ 383 h 487"/>
                  <a:gd name="T24" fmla="*/ 316 w 609"/>
                  <a:gd name="T25" fmla="*/ 420 h 487"/>
                  <a:gd name="T26" fmla="*/ 299 w 609"/>
                  <a:gd name="T27" fmla="*/ 458 h 487"/>
                  <a:gd name="T28" fmla="*/ 286 w 609"/>
                  <a:gd name="T29" fmla="*/ 456 h 487"/>
                  <a:gd name="T30" fmla="*/ 286 w 609"/>
                  <a:gd name="T31" fmla="*/ 466 h 487"/>
                  <a:gd name="T32" fmla="*/ 240 w 609"/>
                  <a:gd name="T33" fmla="*/ 471 h 487"/>
                  <a:gd name="T34" fmla="*/ 226 w 609"/>
                  <a:gd name="T35" fmla="*/ 466 h 487"/>
                  <a:gd name="T36" fmla="*/ 214 w 609"/>
                  <a:gd name="T37" fmla="*/ 465 h 487"/>
                  <a:gd name="T38" fmla="*/ 206 w 609"/>
                  <a:gd name="T39" fmla="*/ 459 h 487"/>
                  <a:gd name="T40" fmla="*/ 206 w 609"/>
                  <a:gd name="T41" fmla="*/ 471 h 487"/>
                  <a:gd name="T42" fmla="*/ 199 w 609"/>
                  <a:gd name="T43" fmla="*/ 476 h 487"/>
                  <a:gd name="T44" fmla="*/ 180 w 609"/>
                  <a:gd name="T45" fmla="*/ 480 h 487"/>
                  <a:gd name="T46" fmla="*/ 167 w 609"/>
                  <a:gd name="T47" fmla="*/ 480 h 487"/>
                  <a:gd name="T48" fmla="*/ 141 w 609"/>
                  <a:gd name="T49" fmla="*/ 451 h 487"/>
                  <a:gd name="T50" fmla="*/ 145 w 609"/>
                  <a:gd name="T51" fmla="*/ 424 h 487"/>
                  <a:gd name="T52" fmla="*/ 129 w 609"/>
                  <a:gd name="T53" fmla="*/ 419 h 487"/>
                  <a:gd name="T54" fmla="*/ 106 w 609"/>
                  <a:gd name="T55" fmla="*/ 393 h 487"/>
                  <a:gd name="T56" fmla="*/ 4 w 609"/>
                  <a:gd name="T57" fmla="*/ 359 h 487"/>
                  <a:gd name="T58" fmla="*/ 4 w 609"/>
                  <a:gd name="T59" fmla="*/ 318 h 487"/>
                  <a:gd name="T60" fmla="*/ 5 w 609"/>
                  <a:gd name="T61" fmla="*/ 271 h 487"/>
                  <a:gd name="T62" fmla="*/ 5 w 609"/>
                  <a:gd name="T63" fmla="*/ 249 h 487"/>
                  <a:gd name="T64" fmla="*/ 24 w 609"/>
                  <a:gd name="T65" fmla="*/ 225 h 487"/>
                  <a:gd name="T66" fmla="*/ 46 w 609"/>
                  <a:gd name="T67" fmla="*/ 182 h 487"/>
                  <a:gd name="T68" fmla="*/ 49 w 609"/>
                  <a:gd name="T69" fmla="*/ 109 h 487"/>
                  <a:gd name="T70" fmla="*/ 114 w 609"/>
                  <a:gd name="T71" fmla="*/ 7 h 487"/>
                  <a:gd name="T72" fmla="*/ 211 w 609"/>
                  <a:gd name="T73" fmla="*/ 39 h 487"/>
                  <a:gd name="T74" fmla="*/ 291 w 609"/>
                  <a:gd name="T75" fmla="*/ 41 h 487"/>
                  <a:gd name="T76" fmla="*/ 449 w 609"/>
                  <a:gd name="T77" fmla="*/ 26 h 487"/>
                  <a:gd name="T78" fmla="*/ 500 w 609"/>
                  <a:gd name="T79" fmla="*/ 32 h 487"/>
                  <a:gd name="T80" fmla="*/ 517 w 609"/>
                  <a:gd name="T81" fmla="*/ 21 h 487"/>
                  <a:gd name="T82" fmla="*/ 534 w 609"/>
                  <a:gd name="T83" fmla="*/ 15 h 487"/>
                  <a:gd name="T84" fmla="*/ 219 w 609"/>
                  <a:gd name="T85" fmla="*/ 482 h 487"/>
                  <a:gd name="T86" fmla="*/ 226 w 609"/>
                  <a:gd name="T87" fmla="*/ 480 h 487"/>
                  <a:gd name="T88" fmla="*/ 247 w 609"/>
                  <a:gd name="T89" fmla="*/ 476 h 487"/>
                  <a:gd name="T90" fmla="*/ 223 w 609"/>
                  <a:gd name="T91" fmla="*/ 470 h 487"/>
                  <a:gd name="T92" fmla="*/ 281 w 609"/>
                  <a:gd name="T93" fmla="*/ 454 h 487"/>
                  <a:gd name="T94" fmla="*/ 228 w 609"/>
                  <a:gd name="T95" fmla="*/ 473 h 487"/>
                  <a:gd name="T96" fmla="*/ 216 w 609"/>
                  <a:gd name="T97" fmla="*/ 478 h 487"/>
                  <a:gd name="T98" fmla="*/ 225 w 609"/>
                  <a:gd name="T99" fmla="*/ 473 h 487"/>
                  <a:gd name="T100" fmla="*/ 282 w 609"/>
                  <a:gd name="T101" fmla="*/ 453 h 487"/>
                  <a:gd name="T102" fmla="*/ 175 w 609"/>
                  <a:gd name="T103" fmla="*/ 478 h 487"/>
                  <a:gd name="T104" fmla="*/ 276 w 609"/>
                  <a:gd name="T105" fmla="*/ 446 h 487"/>
                  <a:gd name="T106" fmla="*/ 247 w 609"/>
                  <a:gd name="T107" fmla="*/ 475 h 487"/>
                  <a:gd name="T108" fmla="*/ 286 w 609"/>
                  <a:gd name="T109" fmla="*/ 458 h 487"/>
                  <a:gd name="T110" fmla="*/ 226 w 609"/>
                  <a:gd name="T111" fmla="*/ 475 h 487"/>
                  <a:gd name="T112" fmla="*/ 282 w 609"/>
                  <a:gd name="T113" fmla="*/ 456 h 487"/>
                  <a:gd name="T114" fmla="*/ 233 w 609"/>
                  <a:gd name="T115" fmla="*/ 471 h 487"/>
                  <a:gd name="T116" fmla="*/ 219 w 609"/>
                  <a:gd name="T117" fmla="*/ 466 h 487"/>
                  <a:gd name="T118" fmla="*/ 226 w 609"/>
                  <a:gd name="T119" fmla="*/ 470 h 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09" h="487">
                    <a:moveTo>
                      <a:pt x="556" y="9"/>
                    </a:moveTo>
                    <a:lnTo>
                      <a:pt x="566" y="24"/>
                    </a:lnTo>
                    <a:lnTo>
                      <a:pt x="571" y="32"/>
                    </a:lnTo>
                    <a:lnTo>
                      <a:pt x="578" y="39"/>
                    </a:lnTo>
                    <a:lnTo>
                      <a:pt x="580" y="53"/>
                    </a:lnTo>
                    <a:lnTo>
                      <a:pt x="583" y="68"/>
                    </a:lnTo>
                    <a:lnTo>
                      <a:pt x="583" y="70"/>
                    </a:lnTo>
                    <a:lnTo>
                      <a:pt x="583" y="72"/>
                    </a:lnTo>
                    <a:lnTo>
                      <a:pt x="583" y="73"/>
                    </a:lnTo>
                    <a:lnTo>
                      <a:pt x="585" y="77"/>
                    </a:lnTo>
                    <a:lnTo>
                      <a:pt x="588" y="75"/>
                    </a:lnTo>
                    <a:lnTo>
                      <a:pt x="588" y="77"/>
                    </a:lnTo>
                    <a:lnTo>
                      <a:pt x="588" y="75"/>
                    </a:lnTo>
                    <a:lnTo>
                      <a:pt x="590" y="77"/>
                    </a:lnTo>
                    <a:lnTo>
                      <a:pt x="590" y="75"/>
                    </a:lnTo>
                    <a:lnTo>
                      <a:pt x="593" y="77"/>
                    </a:lnTo>
                    <a:lnTo>
                      <a:pt x="595" y="75"/>
                    </a:lnTo>
                    <a:lnTo>
                      <a:pt x="597" y="77"/>
                    </a:lnTo>
                    <a:lnTo>
                      <a:pt x="598" y="77"/>
                    </a:lnTo>
                    <a:lnTo>
                      <a:pt x="598" y="78"/>
                    </a:lnTo>
                    <a:lnTo>
                      <a:pt x="600" y="78"/>
                    </a:lnTo>
                    <a:lnTo>
                      <a:pt x="600" y="80"/>
                    </a:lnTo>
                    <a:lnTo>
                      <a:pt x="602" y="80"/>
                    </a:lnTo>
                    <a:lnTo>
                      <a:pt x="602" y="82"/>
                    </a:lnTo>
                    <a:lnTo>
                      <a:pt x="604" y="84"/>
                    </a:lnTo>
                    <a:lnTo>
                      <a:pt x="605" y="84"/>
                    </a:lnTo>
                    <a:lnTo>
                      <a:pt x="604" y="85"/>
                    </a:lnTo>
                    <a:lnTo>
                      <a:pt x="605" y="85"/>
                    </a:lnTo>
                    <a:lnTo>
                      <a:pt x="607" y="85"/>
                    </a:lnTo>
                    <a:lnTo>
                      <a:pt x="609" y="85"/>
                    </a:lnTo>
                    <a:lnTo>
                      <a:pt x="605" y="90"/>
                    </a:lnTo>
                    <a:lnTo>
                      <a:pt x="607" y="92"/>
                    </a:lnTo>
                    <a:lnTo>
                      <a:pt x="605" y="92"/>
                    </a:lnTo>
                    <a:lnTo>
                      <a:pt x="607" y="97"/>
                    </a:lnTo>
                    <a:lnTo>
                      <a:pt x="605" y="97"/>
                    </a:lnTo>
                    <a:lnTo>
                      <a:pt x="607" y="99"/>
                    </a:lnTo>
                    <a:lnTo>
                      <a:pt x="604" y="101"/>
                    </a:lnTo>
                    <a:lnTo>
                      <a:pt x="605" y="106"/>
                    </a:lnTo>
                    <a:lnTo>
                      <a:pt x="602" y="109"/>
                    </a:lnTo>
                    <a:lnTo>
                      <a:pt x="607" y="112"/>
                    </a:lnTo>
                    <a:lnTo>
                      <a:pt x="607" y="114"/>
                    </a:lnTo>
                    <a:lnTo>
                      <a:pt x="605" y="118"/>
                    </a:lnTo>
                    <a:lnTo>
                      <a:pt x="605" y="119"/>
                    </a:lnTo>
                    <a:lnTo>
                      <a:pt x="597" y="121"/>
                    </a:lnTo>
                    <a:lnTo>
                      <a:pt x="595" y="124"/>
                    </a:lnTo>
                    <a:lnTo>
                      <a:pt x="590" y="126"/>
                    </a:lnTo>
                    <a:lnTo>
                      <a:pt x="581" y="133"/>
                    </a:lnTo>
                    <a:lnTo>
                      <a:pt x="580" y="133"/>
                    </a:lnTo>
                    <a:lnTo>
                      <a:pt x="573" y="129"/>
                    </a:lnTo>
                    <a:lnTo>
                      <a:pt x="570" y="136"/>
                    </a:lnTo>
                    <a:lnTo>
                      <a:pt x="568" y="138"/>
                    </a:lnTo>
                    <a:lnTo>
                      <a:pt x="566" y="141"/>
                    </a:lnTo>
                    <a:lnTo>
                      <a:pt x="564" y="141"/>
                    </a:lnTo>
                    <a:lnTo>
                      <a:pt x="563" y="145"/>
                    </a:lnTo>
                    <a:lnTo>
                      <a:pt x="558" y="146"/>
                    </a:lnTo>
                    <a:lnTo>
                      <a:pt x="558" y="153"/>
                    </a:lnTo>
                    <a:lnTo>
                      <a:pt x="554" y="157"/>
                    </a:lnTo>
                    <a:lnTo>
                      <a:pt x="553" y="160"/>
                    </a:lnTo>
                    <a:lnTo>
                      <a:pt x="553" y="162"/>
                    </a:lnTo>
                    <a:lnTo>
                      <a:pt x="549" y="163"/>
                    </a:lnTo>
                    <a:lnTo>
                      <a:pt x="549" y="167"/>
                    </a:lnTo>
                    <a:lnTo>
                      <a:pt x="551" y="170"/>
                    </a:lnTo>
                    <a:lnTo>
                      <a:pt x="549" y="172"/>
                    </a:lnTo>
                    <a:lnTo>
                      <a:pt x="547" y="182"/>
                    </a:lnTo>
                    <a:lnTo>
                      <a:pt x="546" y="184"/>
                    </a:lnTo>
                    <a:lnTo>
                      <a:pt x="546" y="187"/>
                    </a:lnTo>
                    <a:lnTo>
                      <a:pt x="542" y="189"/>
                    </a:lnTo>
                    <a:lnTo>
                      <a:pt x="539" y="191"/>
                    </a:lnTo>
                    <a:lnTo>
                      <a:pt x="537" y="192"/>
                    </a:lnTo>
                    <a:lnTo>
                      <a:pt x="536" y="194"/>
                    </a:lnTo>
                    <a:lnTo>
                      <a:pt x="536" y="196"/>
                    </a:lnTo>
                    <a:lnTo>
                      <a:pt x="537" y="197"/>
                    </a:lnTo>
                    <a:lnTo>
                      <a:pt x="537" y="199"/>
                    </a:lnTo>
                    <a:lnTo>
                      <a:pt x="536" y="201"/>
                    </a:lnTo>
                    <a:lnTo>
                      <a:pt x="536" y="203"/>
                    </a:lnTo>
                    <a:lnTo>
                      <a:pt x="539" y="204"/>
                    </a:lnTo>
                    <a:lnTo>
                      <a:pt x="536" y="208"/>
                    </a:lnTo>
                    <a:lnTo>
                      <a:pt x="536" y="211"/>
                    </a:lnTo>
                    <a:lnTo>
                      <a:pt x="536" y="213"/>
                    </a:lnTo>
                    <a:lnTo>
                      <a:pt x="534" y="216"/>
                    </a:lnTo>
                    <a:lnTo>
                      <a:pt x="534" y="218"/>
                    </a:lnTo>
                    <a:lnTo>
                      <a:pt x="532" y="218"/>
                    </a:lnTo>
                    <a:lnTo>
                      <a:pt x="532" y="220"/>
                    </a:lnTo>
                    <a:lnTo>
                      <a:pt x="525" y="221"/>
                    </a:lnTo>
                    <a:lnTo>
                      <a:pt x="522" y="223"/>
                    </a:lnTo>
                    <a:lnTo>
                      <a:pt x="520" y="225"/>
                    </a:lnTo>
                    <a:lnTo>
                      <a:pt x="517" y="226"/>
                    </a:lnTo>
                    <a:lnTo>
                      <a:pt x="517" y="228"/>
                    </a:lnTo>
                    <a:lnTo>
                      <a:pt x="519" y="230"/>
                    </a:lnTo>
                    <a:lnTo>
                      <a:pt x="519" y="235"/>
                    </a:lnTo>
                    <a:lnTo>
                      <a:pt x="517" y="238"/>
                    </a:lnTo>
                    <a:lnTo>
                      <a:pt x="519" y="240"/>
                    </a:lnTo>
                    <a:lnTo>
                      <a:pt x="517" y="247"/>
                    </a:lnTo>
                    <a:lnTo>
                      <a:pt x="513" y="250"/>
                    </a:lnTo>
                    <a:lnTo>
                      <a:pt x="513" y="257"/>
                    </a:lnTo>
                    <a:lnTo>
                      <a:pt x="512" y="259"/>
                    </a:lnTo>
                    <a:lnTo>
                      <a:pt x="508" y="259"/>
                    </a:lnTo>
                    <a:lnTo>
                      <a:pt x="508" y="262"/>
                    </a:lnTo>
                    <a:lnTo>
                      <a:pt x="507" y="266"/>
                    </a:lnTo>
                    <a:lnTo>
                      <a:pt x="505" y="264"/>
                    </a:lnTo>
                    <a:lnTo>
                      <a:pt x="503" y="267"/>
                    </a:lnTo>
                    <a:lnTo>
                      <a:pt x="498" y="266"/>
                    </a:lnTo>
                    <a:lnTo>
                      <a:pt x="496" y="266"/>
                    </a:lnTo>
                    <a:lnTo>
                      <a:pt x="496" y="267"/>
                    </a:lnTo>
                    <a:lnTo>
                      <a:pt x="493" y="272"/>
                    </a:lnTo>
                    <a:lnTo>
                      <a:pt x="485" y="274"/>
                    </a:lnTo>
                    <a:lnTo>
                      <a:pt x="485" y="277"/>
                    </a:lnTo>
                    <a:lnTo>
                      <a:pt x="485" y="279"/>
                    </a:lnTo>
                    <a:lnTo>
                      <a:pt x="486" y="286"/>
                    </a:lnTo>
                    <a:lnTo>
                      <a:pt x="485" y="289"/>
                    </a:lnTo>
                    <a:lnTo>
                      <a:pt x="483" y="293"/>
                    </a:lnTo>
                    <a:lnTo>
                      <a:pt x="485" y="298"/>
                    </a:lnTo>
                    <a:lnTo>
                      <a:pt x="483" y="300"/>
                    </a:lnTo>
                    <a:lnTo>
                      <a:pt x="481" y="301"/>
                    </a:lnTo>
                    <a:lnTo>
                      <a:pt x="481" y="303"/>
                    </a:lnTo>
                    <a:lnTo>
                      <a:pt x="478" y="305"/>
                    </a:lnTo>
                    <a:lnTo>
                      <a:pt x="474" y="311"/>
                    </a:lnTo>
                    <a:lnTo>
                      <a:pt x="473" y="315"/>
                    </a:lnTo>
                    <a:lnTo>
                      <a:pt x="474" y="322"/>
                    </a:lnTo>
                    <a:lnTo>
                      <a:pt x="469" y="323"/>
                    </a:lnTo>
                    <a:lnTo>
                      <a:pt x="466" y="327"/>
                    </a:lnTo>
                    <a:lnTo>
                      <a:pt x="462" y="334"/>
                    </a:lnTo>
                    <a:lnTo>
                      <a:pt x="462" y="335"/>
                    </a:lnTo>
                    <a:lnTo>
                      <a:pt x="464" y="342"/>
                    </a:lnTo>
                    <a:lnTo>
                      <a:pt x="464" y="344"/>
                    </a:lnTo>
                    <a:lnTo>
                      <a:pt x="464" y="345"/>
                    </a:lnTo>
                    <a:lnTo>
                      <a:pt x="459" y="345"/>
                    </a:lnTo>
                    <a:lnTo>
                      <a:pt x="457" y="345"/>
                    </a:lnTo>
                    <a:lnTo>
                      <a:pt x="456" y="349"/>
                    </a:lnTo>
                    <a:lnTo>
                      <a:pt x="454" y="349"/>
                    </a:lnTo>
                    <a:lnTo>
                      <a:pt x="452" y="352"/>
                    </a:lnTo>
                    <a:lnTo>
                      <a:pt x="451" y="356"/>
                    </a:lnTo>
                    <a:lnTo>
                      <a:pt x="452" y="356"/>
                    </a:lnTo>
                    <a:lnTo>
                      <a:pt x="451" y="357"/>
                    </a:lnTo>
                    <a:lnTo>
                      <a:pt x="452" y="357"/>
                    </a:lnTo>
                    <a:lnTo>
                      <a:pt x="451" y="359"/>
                    </a:lnTo>
                    <a:lnTo>
                      <a:pt x="452" y="361"/>
                    </a:lnTo>
                    <a:lnTo>
                      <a:pt x="451" y="362"/>
                    </a:lnTo>
                    <a:lnTo>
                      <a:pt x="451" y="366"/>
                    </a:lnTo>
                    <a:lnTo>
                      <a:pt x="447" y="368"/>
                    </a:lnTo>
                    <a:lnTo>
                      <a:pt x="444" y="368"/>
                    </a:lnTo>
                    <a:lnTo>
                      <a:pt x="444" y="371"/>
                    </a:lnTo>
                    <a:lnTo>
                      <a:pt x="440" y="373"/>
                    </a:lnTo>
                    <a:lnTo>
                      <a:pt x="437" y="373"/>
                    </a:lnTo>
                    <a:lnTo>
                      <a:pt x="435" y="371"/>
                    </a:lnTo>
                    <a:lnTo>
                      <a:pt x="434" y="373"/>
                    </a:lnTo>
                    <a:lnTo>
                      <a:pt x="430" y="369"/>
                    </a:lnTo>
                    <a:lnTo>
                      <a:pt x="428" y="371"/>
                    </a:lnTo>
                    <a:lnTo>
                      <a:pt x="427" y="371"/>
                    </a:lnTo>
                    <a:lnTo>
                      <a:pt x="427" y="364"/>
                    </a:lnTo>
                    <a:lnTo>
                      <a:pt x="425" y="362"/>
                    </a:lnTo>
                    <a:lnTo>
                      <a:pt x="423" y="362"/>
                    </a:lnTo>
                    <a:lnTo>
                      <a:pt x="422" y="364"/>
                    </a:lnTo>
                    <a:lnTo>
                      <a:pt x="418" y="364"/>
                    </a:lnTo>
                    <a:lnTo>
                      <a:pt x="418" y="362"/>
                    </a:lnTo>
                    <a:lnTo>
                      <a:pt x="417" y="359"/>
                    </a:lnTo>
                    <a:lnTo>
                      <a:pt x="415" y="357"/>
                    </a:lnTo>
                    <a:lnTo>
                      <a:pt x="413" y="357"/>
                    </a:lnTo>
                    <a:lnTo>
                      <a:pt x="413" y="356"/>
                    </a:lnTo>
                    <a:lnTo>
                      <a:pt x="413" y="351"/>
                    </a:lnTo>
                    <a:lnTo>
                      <a:pt x="411" y="349"/>
                    </a:lnTo>
                    <a:lnTo>
                      <a:pt x="410" y="351"/>
                    </a:lnTo>
                    <a:lnTo>
                      <a:pt x="408" y="349"/>
                    </a:lnTo>
                    <a:lnTo>
                      <a:pt x="406" y="347"/>
                    </a:lnTo>
                    <a:lnTo>
                      <a:pt x="406" y="345"/>
                    </a:lnTo>
                    <a:lnTo>
                      <a:pt x="403" y="345"/>
                    </a:lnTo>
                    <a:lnTo>
                      <a:pt x="401" y="344"/>
                    </a:lnTo>
                    <a:lnTo>
                      <a:pt x="401" y="340"/>
                    </a:lnTo>
                    <a:lnTo>
                      <a:pt x="400" y="340"/>
                    </a:lnTo>
                    <a:lnTo>
                      <a:pt x="398" y="351"/>
                    </a:lnTo>
                    <a:lnTo>
                      <a:pt x="396" y="352"/>
                    </a:lnTo>
                    <a:lnTo>
                      <a:pt x="394" y="352"/>
                    </a:lnTo>
                    <a:lnTo>
                      <a:pt x="383" y="354"/>
                    </a:lnTo>
                    <a:lnTo>
                      <a:pt x="381" y="351"/>
                    </a:lnTo>
                    <a:lnTo>
                      <a:pt x="381" y="349"/>
                    </a:lnTo>
                    <a:lnTo>
                      <a:pt x="379" y="347"/>
                    </a:lnTo>
                    <a:lnTo>
                      <a:pt x="381" y="347"/>
                    </a:lnTo>
                    <a:lnTo>
                      <a:pt x="379" y="345"/>
                    </a:lnTo>
                    <a:lnTo>
                      <a:pt x="369" y="354"/>
                    </a:lnTo>
                    <a:lnTo>
                      <a:pt x="366" y="359"/>
                    </a:lnTo>
                    <a:lnTo>
                      <a:pt x="360" y="359"/>
                    </a:lnTo>
                    <a:lnTo>
                      <a:pt x="359" y="361"/>
                    </a:lnTo>
                    <a:lnTo>
                      <a:pt x="359" y="366"/>
                    </a:lnTo>
                    <a:lnTo>
                      <a:pt x="357" y="373"/>
                    </a:lnTo>
                    <a:lnTo>
                      <a:pt x="354" y="373"/>
                    </a:lnTo>
                    <a:lnTo>
                      <a:pt x="354" y="371"/>
                    </a:lnTo>
                    <a:lnTo>
                      <a:pt x="352" y="373"/>
                    </a:lnTo>
                    <a:lnTo>
                      <a:pt x="350" y="371"/>
                    </a:lnTo>
                    <a:lnTo>
                      <a:pt x="350" y="374"/>
                    </a:lnTo>
                    <a:lnTo>
                      <a:pt x="349" y="376"/>
                    </a:lnTo>
                    <a:lnTo>
                      <a:pt x="344" y="376"/>
                    </a:lnTo>
                    <a:lnTo>
                      <a:pt x="342" y="383"/>
                    </a:lnTo>
                    <a:lnTo>
                      <a:pt x="338" y="381"/>
                    </a:lnTo>
                    <a:lnTo>
                      <a:pt x="338" y="383"/>
                    </a:lnTo>
                    <a:lnTo>
                      <a:pt x="335" y="390"/>
                    </a:lnTo>
                    <a:lnTo>
                      <a:pt x="330" y="391"/>
                    </a:lnTo>
                    <a:lnTo>
                      <a:pt x="327" y="395"/>
                    </a:lnTo>
                    <a:lnTo>
                      <a:pt x="320" y="402"/>
                    </a:lnTo>
                    <a:lnTo>
                      <a:pt x="316" y="403"/>
                    </a:lnTo>
                    <a:lnTo>
                      <a:pt x="316" y="405"/>
                    </a:lnTo>
                    <a:lnTo>
                      <a:pt x="313" y="407"/>
                    </a:lnTo>
                    <a:lnTo>
                      <a:pt x="313" y="408"/>
                    </a:lnTo>
                    <a:lnTo>
                      <a:pt x="315" y="408"/>
                    </a:lnTo>
                    <a:lnTo>
                      <a:pt x="315" y="410"/>
                    </a:lnTo>
                    <a:lnTo>
                      <a:pt x="313" y="414"/>
                    </a:lnTo>
                    <a:lnTo>
                      <a:pt x="313" y="415"/>
                    </a:lnTo>
                    <a:lnTo>
                      <a:pt x="316" y="419"/>
                    </a:lnTo>
                    <a:lnTo>
                      <a:pt x="316" y="420"/>
                    </a:lnTo>
                    <a:lnTo>
                      <a:pt x="313" y="427"/>
                    </a:lnTo>
                    <a:lnTo>
                      <a:pt x="313" y="429"/>
                    </a:lnTo>
                    <a:lnTo>
                      <a:pt x="311" y="434"/>
                    </a:lnTo>
                    <a:lnTo>
                      <a:pt x="311" y="441"/>
                    </a:lnTo>
                    <a:lnTo>
                      <a:pt x="310" y="444"/>
                    </a:lnTo>
                    <a:lnTo>
                      <a:pt x="308" y="444"/>
                    </a:lnTo>
                    <a:lnTo>
                      <a:pt x="306" y="446"/>
                    </a:lnTo>
                    <a:lnTo>
                      <a:pt x="306" y="448"/>
                    </a:lnTo>
                    <a:lnTo>
                      <a:pt x="304" y="449"/>
                    </a:lnTo>
                    <a:lnTo>
                      <a:pt x="306" y="449"/>
                    </a:lnTo>
                    <a:lnTo>
                      <a:pt x="303" y="453"/>
                    </a:lnTo>
                    <a:lnTo>
                      <a:pt x="303" y="454"/>
                    </a:lnTo>
                    <a:lnTo>
                      <a:pt x="301" y="454"/>
                    </a:lnTo>
                    <a:lnTo>
                      <a:pt x="301" y="458"/>
                    </a:lnTo>
                    <a:lnTo>
                      <a:pt x="299" y="459"/>
                    </a:lnTo>
                    <a:lnTo>
                      <a:pt x="299" y="458"/>
                    </a:lnTo>
                    <a:lnTo>
                      <a:pt x="298" y="459"/>
                    </a:lnTo>
                    <a:lnTo>
                      <a:pt x="296" y="461"/>
                    </a:lnTo>
                    <a:lnTo>
                      <a:pt x="298" y="465"/>
                    </a:lnTo>
                    <a:lnTo>
                      <a:pt x="296" y="465"/>
                    </a:lnTo>
                    <a:lnTo>
                      <a:pt x="293" y="465"/>
                    </a:lnTo>
                    <a:lnTo>
                      <a:pt x="294" y="463"/>
                    </a:lnTo>
                    <a:lnTo>
                      <a:pt x="294" y="461"/>
                    </a:lnTo>
                    <a:lnTo>
                      <a:pt x="293" y="463"/>
                    </a:lnTo>
                    <a:lnTo>
                      <a:pt x="291" y="463"/>
                    </a:lnTo>
                    <a:lnTo>
                      <a:pt x="289" y="461"/>
                    </a:lnTo>
                    <a:lnTo>
                      <a:pt x="291" y="459"/>
                    </a:lnTo>
                    <a:lnTo>
                      <a:pt x="289" y="461"/>
                    </a:lnTo>
                    <a:lnTo>
                      <a:pt x="287" y="459"/>
                    </a:lnTo>
                    <a:lnTo>
                      <a:pt x="287" y="458"/>
                    </a:lnTo>
                    <a:lnTo>
                      <a:pt x="286" y="458"/>
                    </a:lnTo>
                    <a:lnTo>
                      <a:pt x="286" y="456"/>
                    </a:lnTo>
                    <a:lnTo>
                      <a:pt x="284" y="456"/>
                    </a:lnTo>
                    <a:lnTo>
                      <a:pt x="284" y="454"/>
                    </a:lnTo>
                    <a:lnTo>
                      <a:pt x="282" y="453"/>
                    </a:lnTo>
                    <a:lnTo>
                      <a:pt x="282" y="451"/>
                    </a:lnTo>
                    <a:lnTo>
                      <a:pt x="281" y="449"/>
                    </a:lnTo>
                    <a:lnTo>
                      <a:pt x="279" y="448"/>
                    </a:lnTo>
                    <a:lnTo>
                      <a:pt x="279" y="446"/>
                    </a:lnTo>
                    <a:lnTo>
                      <a:pt x="277" y="446"/>
                    </a:lnTo>
                    <a:lnTo>
                      <a:pt x="277" y="448"/>
                    </a:lnTo>
                    <a:lnTo>
                      <a:pt x="276" y="444"/>
                    </a:lnTo>
                    <a:lnTo>
                      <a:pt x="276" y="448"/>
                    </a:lnTo>
                    <a:lnTo>
                      <a:pt x="276" y="451"/>
                    </a:lnTo>
                    <a:lnTo>
                      <a:pt x="279" y="456"/>
                    </a:lnTo>
                    <a:lnTo>
                      <a:pt x="281" y="458"/>
                    </a:lnTo>
                    <a:lnTo>
                      <a:pt x="286" y="461"/>
                    </a:lnTo>
                    <a:lnTo>
                      <a:pt x="286" y="466"/>
                    </a:lnTo>
                    <a:lnTo>
                      <a:pt x="286" y="468"/>
                    </a:lnTo>
                    <a:lnTo>
                      <a:pt x="286" y="470"/>
                    </a:lnTo>
                    <a:lnTo>
                      <a:pt x="284" y="471"/>
                    </a:lnTo>
                    <a:lnTo>
                      <a:pt x="284" y="473"/>
                    </a:lnTo>
                    <a:lnTo>
                      <a:pt x="277" y="473"/>
                    </a:lnTo>
                    <a:lnTo>
                      <a:pt x="265" y="473"/>
                    </a:lnTo>
                    <a:lnTo>
                      <a:pt x="253" y="475"/>
                    </a:lnTo>
                    <a:lnTo>
                      <a:pt x="250" y="476"/>
                    </a:lnTo>
                    <a:lnTo>
                      <a:pt x="250" y="475"/>
                    </a:lnTo>
                    <a:lnTo>
                      <a:pt x="247" y="473"/>
                    </a:lnTo>
                    <a:lnTo>
                      <a:pt x="247" y="471"/>
                    </a:lnTo>
                    <a:lnTo>
                      <a:pt x="245" y="473"/>
                    </a:lnTo>
                    <a:lnTo>
                      <a:pt x="243" y="471"/>
                    </a:lnTo>
                    <a:lnTo>
                      <a:pt x="242" y="473"/>
                    </a:lnTo>
                    <a:lnTo>
                      <a:pt x="242" y="471"/>
                    </a:lnTo>
                    <a:lnTo>
                      <a:pt x="240" y="471"/>
                    </a:lnTo>
                    <a:lnTo>
                      <a:pt x="238" y="471"/>
                    </a:lnTo>
                    <a:lnTo>
                      <a:pt x="236" y="470"/>
                    </a:lnTo>
                    <a:lnTo>
                      <a:pt x="236" y="471"/>
                    </a:lnTo>
                    <a:lnTo>
                      <a:pt x="235" y="470"/>
                    </a:lnTo>
                    <a:lnTo>
                      <a:pt x="233" y="470"/>
                    </a:lnTo>
                    <a:lnTo>
                      <a:pt x="233" y="471"/>
                    </a:lnTo>
                    <a:lnTo>
                      <a:pt x="233" y="473"/>
                    </a:lnTo>
                    <a:lnTo>
                      <a:pt x="235" y="473"/>
                    </a:lnTo>
                    <a:lnTo>
                      <a:pt x="236" y="473"/>
                    </a:lnTo>
                    <a:lnTo>
                      <a:pt x="236" y="475"/>
                    </a:lnTo>
                    <a:lnTo>
                      <a:pt x="233" y="475"/>
                    </a:lnTo>
                    <a:lnTo>
                      <a:pt x="231" y="471"/>
                    </a:lnTo>
                    <a:lnTo>
                      <a:pt x="228" y="468"/>
                    </a:lnTo>
                    <a:lnTo>
                      <a:pt x="228" y="466"/>
                    </a:lnTo>
                    <a:lnTo>
                      <a:pt x="228" y="465"/>
                    </a:lnTo>
                    <a:lnTo>
                      <a:pt x="226" y="466"/>
                    </a:lnTo>
                    <a:lnTo>
                      <a:pt x="225" y="465"/>
                    </a:lnTo>
                    <a:lnTo>
                      <a:pt x="223" y="463"/>
                    </a:lnTo>
                    <a:lnTo>
                      <a:pt x="225" y="463"/>
                    </a:lnTo>
                    <a:lnTo>
                      <a:pt x="225" y="461"/>
                    </a:lnTo>
                    <a:lnTo>
                      <a:pt x="223" y="463"/>
                    </a:lnTo>
                    <a:lnTo>
                      <a:pt x="223" y="461"/>
                    </a:lnTo>
                    <a:lnTo>
                      <a:pt x="223" y="463"/>
                    </a:lnTo>
                    <a:lnTo>
                      <a:pt x="219" y="465"/>
                    </a:lnTo>
                    <a:lnTo>
                      <a:pt x="219" y="466"/>
                    </a:lnTo>
                    <a:lnTo>
                      <a:pt x="218" y="465"/>
                    </a:lnTo>
                    <a:lnTo>
                      <a:pt x="218" y="463"/>
                    </a:lnTo>
                    <a:lnTo>
                      <a:pt x="218" y="468"/>
                    </a:lnTo>
                    <a:lnTo>
                      <a:pt x="216" y="470"/>
                    </a:lnTo>
                    <a:lnTo>
                      <a:pt x="214" y="465"/>
                    </a:lnTo>
                    <a:lnTo>
                      <a:pt x="213" y="465"/>
                    </a:lnTo>
                    <a:lnTo>
                      <a:pt x="214" y="465"/>
                    </a:lnTo>
                    <a:lnTo>
                      <a:pt x="216" y="470"/>
                    </a:lnTo>
                    <a:lnTo>
                      <a:pt x="214" y="470"/>
                    </a:lnTo>
                    <a:lnTo>
                      <a:pt x="213" y="470"/>
                    </a:lnTo>
                    <a:lnTo>
                      <a:pt x="211" y="470"/>
                    </a:lnTo>
                    <a:lnTo>
                      <a:pt x="211" y="468"/>
                    </a:lnTo>
                    <a:lnTo>
                      <a:pt x="208" y="466"/>
                    </a:lnTo>
                    <a:lnTo>
                      <a:pt x="208" y="463"/>
                    </a:lnTo>
                    <a:lnTo>
                      <a:pt x="209" y="463"/>
                    </a:lnTo>
                    <a:lnTo>
                      <a:pt x="208" y="461"/>
                    </a:lnTo>
                    <a:lnTo>
                      <a:pt x="208" y="463"/>
                    </a:lnTo>
                    <a:lnTo>
                      <a:pt x="208" y="461"/>
                    </a:lnTo>
                    <a:lnTo>
                      <a:pt x="208" y="459"/>
                    </a:lnTo>
                    <a:lnTo>
                      <a:pt x="209" y="458"/>
                    </a:lnTo>
                    <a:lnTo>
                      <a:pt x="208" y="459"/>
                    </a:lnTo>
                    <a:lnTo>
                      <a:pt x="206" y="458"/>
                    </a:lnTo>
                    <a:lnTo>
                      <a:pt x="206" y="459"/>
                    </a:lnTo>
                    <a:lnTo>
                      <a:pt x="208" y="461"/>
                    </a:lnTo>
                    <a:lnTo>
                      <a:pt x="208" y="466"/>
                    </a:lnTo>
                    <a:lnTo>
                      <a:pt x="211" y="468"/>
                    </a:lnTo>
                    <a:lnTo>
                      <a:pt x="211" y="470"/>
                    </a:lnTo>
                    <a:lnTo>
                      <a:pt x="209" y="471"/>
                    </a:lnTo>
                    <a:lnTo>
                      <a:pt x="209" y="473"/>
                    </a:lnTo>
                    <a:lnTo>
                      <a:pt x="211" y="480"/>
                    </a:lnTo>
                    <a:lnTo>
                      <a:pt x="213" y="482"/>
                    </a:lnTo>
                    <a:lnTo>
                      <a:pt x="208" y="482"/>
                    </a:lnTo>
                    <a:lnTo>
                      <a:pt x="204" y="482"/>
                    </a:lnTo>
                    <a:lnTo>
                      <a:pt x="204" y="476"/>
                    </a:lnTo>
                    <a:lnTo>
                      <a:pt x="204" y="475"/>
                    </a:lnTo>
                    <a:lnTo>
                      <a:pt x="206" y="471"/>
                    </a:lnTo>
                    <a:lnTo>
                      <a:pt x="206" y="470"/>
                    </a:lnTo>
                    <a:lnTo>
                      <a:pt x="206" y="468"/>
                    </a:lnTo>
                    <a:lnTo>
                      <a:pt x="206" y="471"/>
                    </a:lnTo>
                    <a:lnTo>
                      <a:pt x="204" y="473"/>
                    </a:lnTo>
                    <a:lnTo>
                      <a:pt x="204" y="478"/>
                    </a:lnTo>
                    <a:lnTo>
                      <a:pt x="202" y="475"/>
                    </a:lnTo>
                    <a:lnTo>
                      <a:pt x="201" y="475"/>
                    </a:lnTo>
                    <a:lnTo>
                      <a:pt x="202" y="475"/>
                    </a:lnTo>
                    <a:lnTo>
                      <a:pt x="202" y="478"/>
                    </a:lnTo>
                    <a:lnTo>
                      <a:pt x="204" y="480"/>
                    </a:lnTo>
                    <a:lnTo>
                      <a:pt x="204" y="483"/>
                    </a:lnTo>
                    <a:lnTo>
                      <a:pt x="201" y="483"/>
                    </a:lnTo>
                    <a:lnTo>
                      <a:pt x="199" y="482"/>
                    </a:lnTo>
                    <a:lnTo>
                      <a:pt x="199" y="476"/>
                    </a:lnTo>
                    <a:lnTo>
                      <a:pt x="197" y="475"/>
                    </a:lnTo>
                    <a:lnTo>
                      <a:pt x="196" y="473"/>
                    </a:lnTo>
                    <a:lnTo>
                      <a:pt x="196" y="475"/>
                    </a:lnTo>
                    <a:lnTo>
                      <a:pt x="197" y="475"/>
                    </a:lnTo>
                    <a:lnTo>
                      <a:pt x="199" y="476"/>
                    </a:lnTo>
                    <a:lnTo>
                      <a:pt x="199" y="482"/>
                    </a:lnTo>
                    <a:lnTo>
                      <a:pt x="197" y="482"/>
                    </a:lnTo>
                    <a:lnTo>
                      <a:pt x="199" y="482"/>
                    </a:lnTo>
                    <a:lnTo>
                      <a:pt x="199" y="483"/>
                    </a:lnTo>
                    <a:lnTo>
                      <a:pt x="191" y="483"/>
                    </a:lnTo>
                    <a:lnTo>
                      <a:pt x="189" y="483"/>
                    </a:lnTo>
                    <a:lnTo>
                      <a:pt x="187" y="482"/>
                    </a:lnTo>
                    <a:lnTo>
                      <a:pt x="185" y="478"/>
                    </a:lnTo>
                    <a:lnTo>
                      <a:pt x="184" y="478"/>
                    </a:lnTo>
                    <a:lnTo>
                      <a:pt x="182" y="480"/>
                    </a:lnTo>
                    <a:lnTo>
                      <a:pt x="182" y="478"/>
                    </a:lnTo>
                    <a:lnTo>
                      <a:pt x="180" y="476"/>
                    </a:lnTo>
                    <a:lnTo>
                      <a:pt x="182" y="480"/>
                    </a:lnTo>
                    <a:lnTo>
                      <a:pt x="180" y="478"/>
                    </a:lnTo>
                    <a:lnTo>
                      <a:pt x="179" y="478"/>
                    </a:lnTo>
                    <a:lnTo>
                      <a:pt x="180" y="480"/>
                    </a:lnTo>
                    <a:lnTo>
                      <a:pt x="179" y="483"/>
                    </a:lnTo>
                    <a:lnTo>
                      <a:pt x="180" y="485"/>
                    </a:lnTo>
                    <a:lnTo>
                      <a:pt x="174" y="487"/>
                    </a:lnTo>
                    <a:lnTo>
                      <a:pt x="174" y="483"/>
                    </a:lnTo>
                    <a:lnTo>
                      <a:pt x="174" y="482"/>
                    </a:lnTo>
                    <a:lnTo>
                      <a:pt x="175" y="482"/>
                    </a:lnTo>
                    <a:lnTo>
                      <a:pt x="177" y="480"/>
                    </a:lnTo>
                    <a:lnTo>
                      <a:pt x="175" y="478"/>
                    </a:lnTo>
                    <a:lnTo>
                      <a:pt x="172" y="480"/>
                    </a:lnTo>
                    <a:lnTo>
                      <a:pt x="172" y="482"/>
                    </a:lnTo>
                    <a:lnTo>
                      <a:pt x="170" y="482"/>
                    </a:lnTo>
                    <a:lnTo>
                      <a:pt x="172" y="483"/>
                    </a:lnTo>
                    <a:lnTo>
                      <a:pt x="172" y="485"/>
                    </a:lnTo>
                    <a:lnTo>
                      <a:pt x="167" y="483"/>
                    </a:lnTo>
                    <a:lnTo>
                      <a:pt x="168" y="482"/>
                    </a:lnTo>
                    <a:lnTo>
                      <a:pt x="167" y="480"/>
                    </a:lnTo>
                    <a:lnTo>
                      <a:pt x="167" y="482"/>
                    </a:lnTo>
                    <a:lnTo>
                      <a:pt x="167" y="483"/>
                    </a:lnTo>
                    <a:lnTo>
                      <a:pt x="163" y="482"/>
                    </a:lnTo>
                    <a:lnTo>
                      <a:pt x="162" y="480"/>
                    </a:lnTo>
                    <a:lnTo>
                      <a:pt x="162" y="478"/>
                    </a:lnTo>
                    <a:lnTo>
                      <a:pt x="163" y="476"/>
                    </a:lnTo>
                    <a:lnTo>
                      <a:pt x="160" y="478"/>
                    </a:lnTo>
                    <a:lnTo>
                      <a:pt x="158" y="476"/>
                    </a:lnTo>
                    <a:lnTo>
                      <a:pt x="157" y="476"/>
                    </a:lnTo>
                    <a:lnTo>
                      <a:pt x="155" y="473"/>
                    </a:lnTo>
                    <a:lnTo>
                      <a:pt x="153" y="473"/>
                    </a:lnTo>
                    <a:lnTo>
                      <a:pt x="153" y="471"/>
                    </a:lnTo>
                    <a:lnTo>
                      <a:pt x="151" y="471"/>
                    </a:lnTo>
                    <a:lnTo>
                      <a:pt x="145" y="461"/>
                    </a:lnTo>
                    <a:lnTo>
                      <a:pt x="141" y="454"/>
                    </a:lnTo>
                    <a:lnTo>
                      <a:pt x="141" y="451"/>
                    </a:lnTo>
                    <a:lnTo>
                      <a:pt x="138" y="442"/>
                    </a:lnTo>
                    <a:lnTo>
                      <a:pt x="141" y="442"/>
                    </a:lnTo>
                    <a:lnTo>
                      <a:pt x="141" y="441"/>
                    </a:lnTo>
                    <a:lnTo>
                      <a:pt x="138" y="442"/>
                    </a:lnTo>
                    <a:lnTo>
                      <a:pt x="136" y="441"/>
                    </a:lnTo>
                    <a:lnTo>
                      <a:pt x="134" y="431"/>
                    </a:lnTo>
                    <a:lnTo>
                      <a:pt x="136" y="431"/>
                    </a:lnTo>
                    <a:lnTo>
                      <a:pt x="136" y="432"/>
                    </a:lnTo>
                    <a:lnTo>
                      <a:pt x="136" y="431"/>
                    </a:lnTo>
                    <a:lnTo>
                      <a:pt x="140" y="431"/>
                    </a:lnTo>
                    <a:lnTo>
                      <a:pt x="141" y="432"/>
                    </a:lnTo>
                    <a:lnTo>
                      <a:pt x="146" y="431"/>
                    </a:lnTo>
                    <a:lnTo>
                      <a:pt x="146" y="429"/>
                    </a:lnTo>
                    <a:lnTo>
                      <a:pt x="145" y="429"/>
                    </a:lnTo>
                    <a:lnTo>
                      <a:pt x="145" y="427"/>
                    </a:lnTo>
                    <a:lnTo>
                      <a:pt x="145" y="424"/>
                    </a:lnTo>
                    <a:lnTo>
                      <a:pt x="148" y="424"/>
                    </a:lnTo>
                    <a:lnTo>
                      <a:pt x="150" y="422"/>
                    </a:lnTo>
                    <a:lnTo>
                      <a:pt x="151" y="422"/>
                    </a:lnTo>
                    <a:lnTo>
                      <a:pt x="150" y="422"/>
                    </a:lnTo>
                    <a:lnTo>
                      <a:pt x="148" y="424"/>
                    </a:lnTo>
                    <a:lnTo>
                      <a:pt x="145" y="424"/>
                    </a:lnTo>
                    <a:lnTo>
                      <a:pt x="141" y="429"/>
                    </a:lnTo>
                    <a:lnTo>
                      <a:pt x="140" y="427"/>
                    </a:lnTo>
                    <a:lnTo>
                      <a:pt x="140" y="425"/>
                    </a:lnTo>
                    <a:lnTo>
                      <a:pt x="140" y="427"/>
                    </a:lnTo>
                    <a:lnTo>
                      <a:pt x="140" y="429"/>
                    </a:lnTo>
                    <a:lnTo>
                      <a:pt x="136" y="429"/>
                    </a:lnTo>
                    <a:lnTo>
                      <a:pt x="131" y="427"/>
                    </a:lnTo>
                    <a:lnTo>
                      <a:pt x="129" y="425"/>
                    </a:lnTo>
                    <a:lnTo>
                      <a:pt x="126" y="422"/>
                    </a:lnTo>
                    <a:lnTo>
                      <a:pt x="129" y="419"/>
                    </a:lnTo>
                    <a:lnTo>
                      <a:pt x="138" y="420"/>
                    </a:lnTo>
                    <a:lnTo>
                      <a:pt x="138" y="419"/>
                    </a:lnTo>
                    <a:lnTo>
                      <a:pt x="138" y="417"/>
                    </a:lnTo>
                    <a:lnTo>
                      <a:pt x="136" y="419"/>
                    </a:lnTo>
                    <a:lnTo>
                      <a:pt x="134" y="419"/>
                    </a:lnTo>
                    <a:lnTo>
                      <a:pt x="134" y="417"/>
                    </a:lnTo>
                    <a:lnTo>
                      <a:pt x="134" y="414"/>
                    </a:lnTo>
                    <a:lnTo>
                      <a:pt x="133" y="419"/>
                    </a:lnTo>
                    <a:lnTo>
                      <a:pt x="129" y="417"/>
                    </a:lnTo>
                    <a:lnTo>
                      <a:pt x="128" y="419"/>
                    </a:lnTo>
                    <a:lnTo>
                      <a:pt x="126" y="419"/>
                    </a:lnTo>
                    <a:lnTo>
                      <a:pt x="123" y="414"/>
                    </a:lnTo>
                    <a:lnTo>
                      <a:pt x="123" y="410"/>
                    </a:lnTo>
                    <a:lnTo>
                      <a:pt x="121" y="410"/>
                    </a:lnTo>
                    <a:lnTo>
                      <a:pt x="116" y="402"/>
                    </a:lnTo>
                    <a:lnTo>
                      <a:pt x="106" y="393"/>
                    </a:lnTo>
                    <a:lnTo>
                      <a:pt x="95" y="383"/>
                    </a:lnTo>
                    <a:lnTo>
                      <a:pt x="90" y="381"/>
                    </a:lnTo>
                    <a:lnTo>
                      <a:pt x="85" y="380"/>
                    </a:lnTo>
                    <a:lnTo>
                      <a:pt x="63" y="376"/>
                    </a:lnTo>
                    <a:lnTo>
                      <a:pt x="58" y="376"/>
                    </a:lnTo>
                    <a:lnTo>
                      <a:pt x="38" y="378"/>
                    </a:lnTo>
                    <a:lnTo>
                      <a:pt x="27" y="378"/>
                    </a:lnTo>
                    <a:lnTo>
                      <a:pt x="9" y="380"/>
                    </a:lnTo>
                    <a:lnTo>
                      <a:pt x="2" y="380"/>
                    </a:lnTo>
                    <a:lnTo>
                      <a:pt x="2" y="373"/>
                    </a:lnTo>
                    <a:lnTo>
                      <a:pt x="4" y="369"/>
                    </a:lnTo>
                    <a:lnTo>
                      <a:pt x="4" y="366"/>
                    </a:lnTo>
                    <a:lnTo>
                      <a:pt x="5" y="362"/>
                    </a:lnTo>
                    <a:lnTo>
                      <a:pt x="7" y="361"/>
                    </a:lnTo>
                    <a:lnTo>
                      <a:pt x="5" y="361"/>
                    </a:lnTo>
                    <a:lnTo>
                      <a:pt x="4" y="359"/>
                    </a:lnTo>
                    <a:lnTo>
                      <a:pt x="4" y="357"/>
                    </a:lnTo>
                    <a:lnTo>
                      <a:pt x="4" y="356"/>
                    </a:lnTo>
                    <a:lnTo>
                      <a:pt x="4" y="352"/>
                    </a:lnTo>
                    <a:lnTo>
                      <a:pt x="2" y="351"/>
                    </a:lnTo>
                    <a:lnTo>
                      <a:pt x="4" y="349"/>
                    </a:lnTo>
                    <a:lnTo>
                      <a:pt x="7" y="345"/>
                    </a:lnTo>
                    <a:lnTo>
                      <a:pt x="4" y="344"/>
                    </a:lnTo>
                    <a:lnTo>
                      <a:pt x="5" y="340"/>
                    </a:lnTo>
                    <a:lnTo>
                      <a:pt x="5" y="335"/>
                    </a:lnTo>
                    <a:lnTo>
                      <a:pt x="4" y="335"/>
                    </a:lnTo>
                    <a:lnTo>
                      <a:pt x="4" y="327"/>
                    </a:lnTo>
                    <a:lnTo>
                      <a:pt x="5" y="327"/>
                    </a:lnTo>
                    <a:lnTo>
                      <a:pt x="7" y="327"/>
                    </a:lnTo>
                    <a:lnTo>
                      <a:pt x="7" y="323"/>
                    </a:lnTo>
                    <a:lnTo>
                      <a:pt x="4" y="322"/>
                    </a:lnTo>
                    <a:lnTo>
                      <a:pt x="4" y="318"/>
                    </a:lnTo>
                    <a:lnTo>
                      <a:pt x="4" y="308"/>
                    </a:lnTo>
                    <a:lnTo>
                      <a:pt x="0" y="303"/>
                    </a:lnTo>
                    <a:lnTo>
                      <a:pt x="2" y="301"/>
                    </a:lnTo>
                    <a:lnTo>
                      <a:pt x="4" y="293"/>
                    </a:lnTo>
                    <a:lnTo>
                      <a:pt x="4" y="289"/>
                    </a:lnTo>
                    <a:lnTo>
                      <a:pt x="4" y="288"/>
                    </a:lnTo>
                    <a:lnTo>
                      <a:pt x="4" y="286"/>
                    </a:lnTo>
                    <a:lnTo>
                      <a:pt x="2" y="284"/>
                    </a:lnTo>
                    <a:lnTo>
                      <a:pt x="2" y="281"/>
                    </a:lnTo>
                    <a:lnTo>
                      <a:pt x="2" y="279"/>
                    </a:lnTo>
                    <a:lnTo>
                      <a:pt x="2" y="277"/>
                    </a:lnTo>
                    <a:lnTo>
                      <a:pt x="2" y="276"/>
                    </a:lnTo>
                    <a:lnTo>
                      <a:pt x="4" y="274"/>
                    </a:lnTo>
                    <a:lnTo>
                      <a:pt x="5" y="272"/>
                    </a:lnTo>
                    <a:lnTo>
                      <a:pt x="4" y="272"/>
                    </a:lnTo>
                    <a:lnTo>
                      <a:pt x="5" y="271"/>
                    </a:lnTo>
                    <a:lnTo>
                      <a:pt x="4" y="269"/>
                    </a:lnTo>
                    <a:lnTo>
                      <a:pt x="5" y="269"/>
                    </a:lnTo>
                    <a:lnTo>
                      <a:pt x="4" y="267"/>
                    </a:lnTo>
                    <a:lnTo>
                      <a:pt x="4" y="264"/>
                    </a:lnTo>
                    <a:lnTo>
                      <a:pt x="5" y="260"/>
                    </a:lnTo>
                    <a:lnTo>
                      <a:pt x="4" y="260"/>
                    </a:lnTo>
                    <a:lnTo>
                      <a:pt x="4" y="259"/>
                    </a:lnTo>
                    <a:lnTo>
                      <a:pt x="4" y="257"/>
                    </a:lnTo>
                    <a:lnTo>
                      <a:pt x="5" y="255"/>
                    </a:lnTo>
                    <a:lnTo>
                      <a:pt x="5" y="254"/>
                    </a:lnTo>
                    <a:lnTo>
                      <a:pt x="4" y="254"/>
                    </a:lnTo>
                    <a:lnTo>
                      <a:pt x="5" y="254"/>
                    </a:lnTo>
                    <a:lnTo>
                      <a:pt x="5" y="252"/>
                    </a:lnTo>
                    <a:lnTo>
                      <a:pt x="4" y="250"/>
                    </a:lnTo>
                    <a:lnTo>
                      <a:pt x="5" y="250"/>
                    </a:lnTo>
                    <a:lnTo>
                      <a:pt x="5" y="249"/>
                    </a:lnTo>
                    <a:lnTo>
                      <a:pt x="7" y="247"/>
                    </a:lnTo>
                    <a:lnTo>
                      <a:pt x="5" y="245"/>
                    </a:lnTo>
                    <a:lnTo>
                      <a:pt x="7" y="245"/>
                    </a:lnTo>
                    <a:lnTo>
                      <a:pt x="5" y="245"/>
                    </a:lnTo>
                    <a:lnTo>
                      <a:pt x="7" y="243"/>
                    </a:lnTo>
                    <a:lnTo>
                      <a:pt x="5" y="243"/>
                    </a:lnTo>
                    <a:lnTo>
                      <a:pt x="10" y="243"/>
                    </a:lnTo>
                    <a:lnTo>
                      <a:pt x="12" y="242"/>
                    </a:lnTo>
                    <a:lnTo>
                      <a:pt x="14" y="242"/>
                    </a:lnTo>
                    <a:lnTo>
                      <a:pt x="15" y="243"/>
                    </a:lnTo>
                    <a:lnTo>
                      <a:pt x="21" y="242"/>
                    </a:lnTo>
                    <a:lnTo>
                      <a:pt x="24" y="237"/>
                    </a:lnTo>
                    <a:lnTo>
                      <a:pt x="24" y="233"/>
                    </a:lnTo>
                    <a:lnTo>
                      <a:pt x="26" y="232"/>
                    </a:lnTo>
                    <a:lnTo>
                      <a:pt x="24" y="228"/>
                    </a:lnTo>
                    <a:lnTo>
                      <a:pt x="24" y="225"/>
                    </a:lnTo>
                    <a:lnTo>
                      <a:pt x="24" y="223"/>
                    </a:lnTo>
                    <a:lnTo>
                      <a:pt x="26" y="221"/>
                    </a:lnTo>
                    <a:lnTo>
                      <a:pt x="31" y="213"/>
                    </a:lnTo>
                    <a:lnTo>
                      <a:pt x="32" y="213"/>
                    </a:lnTo>
                    <a:lnTo>
                      <a:pt x="34" y="211"/>
                    </a:lnTo>
                    <a:lnTo>
                      <a:pt x="32" y="208"/>
                    </a:lnTo>
                    <a:lnTo>
                      <a:pt x="34" y="206"/>
                    </a:lnTo>
                    <a:lnTo>
                      <a:pt x="34" y="204"/>
                    </a:lnTo>
                    <a:lnTo>
                      <a:pt x="39" y="203"/>
                    </a:lnTo>
                    <a:lnTo>
                      <a:pt x="44" y="203"/>
                    </a:lnTo>
                    <a:lnTo>
                      <a:pt x="48" y="197"/>
                    </a:lnTo>
                    <a:lnTo>
                      <a:pt x="48" y="192"/>
                    </a:lnTo>
                    <a:lnTo>
                      <a:pt x="51" y="191"/>
                    </a:lnTo>
                    <a:lnTo>
                      <a:pt x="51" y="187"/>
                    </a:lnTo>
                    <a:lnTo>
                      <a:pt x="48" y="184"/>
                    </a:lnTo>
                    <a:lnTo>
                      <a:pt x="46" y="182"/>
                    </a:lnTo>
                    <a:lnTo>
                      <a:pt x="49" y="174"/>
                    </a:lnTo>
                    <a:lnTo>
                      <a:pt x="51" y="172"/>
                    </a:lnTo>
                    <a:lnTo>
                      <a:pt x="56" y="175"/>
                    </a:lnTo>
                    <a:lnTo>
                      <a:pt x="58" y="170"/>
                    </a:lnTo>
                    <a:lnTo>
                      <a:pt x="60" y="165"/>
                    </a:lnTo>
                    <a:lnTo>
                      <a:pt x="60" y="160"/>
                    </a:lnTo>
                    <a:lnTo>
                      <a:pt x="56" y="158"/>
                    </a:lnTo>
                    <a:lnTo>
                      <a:pt x="55" y="155"/>
                    </a:lnTo>
                    <a:lnTo>
                      <a:pt x="56" y="148"/>
                    </a:lnTo>
                    <a:lnTo>
                      <a:pt x="56" y="145"/>
                    </a:lnTo>
                    <a:lnTo>
                      <a:pt x="53" y="143"/>
                    </a:lnTo>
                    <a:lnTo>
                      <a:pt x="55" y="140"/>
                    </a:lnTo>
                    <a:lnTo>
                      <a:pt x="51" y="138"/>
                    </a:lnTo>
                    <a:lnTo>
                      <a:pt x="41" y="123"/>
                    </a:lnTo>
                    <a:lnTo>
                      <a:pt x="48" y="109"/>
                    </a:lnTo>
                    <a:lnTo>
                      <a:pt x="49" y="109"/>
                    </a:lnTo>
                    <a:lnTo>
                      <a:pt x="51" y="107"/>
                    </a:lnTo>
                    <a:lnTo>
                      <a:pt x="51" y="104"/>
                    </a:lnTo>
                    <a:lnTo>
                      <a:pt x="48" y="102"/>
                    </a:lnTo>
                    <a:lnTo>
                      <a:pt x="48" y="99"/>
                    </a:lnTo>
                    <a:lnTo>
                      <a:pt x="51" y="95"/>
                    </a:lnTo>
                    <a:lnTo>
                      <a:pt x="49" y="89"/>
                    </a:lnTo>
                    <a:lnTo>
                      <a:pt x="49" y="80"/>
                    </a:lnTo>
                    <a:lnTo>
                      <a:pt x="49" y="68"/>
                    </a:lnTo>
                    <a:lnTo>
                      <a:pt x="65" y="56"/>
                    </a:lnTo>
                    <a:lnTo>
                      <a:pt x="72" y="44"/>
                    </a:lnTo>
                    <a:lnTo>
                      <a:pt x="73" y="36"/>
                    </a:lnTo>
                    <a:lnTo>
                      <a:pt x="73" y="21"/>
                    </a:lnTo>
                    <a:lnTo>
                      <a:pt x="77" y="21"/>
                    </a:lnTo>
                    <a:lnTo>
                      <a:pt x="90" y="9"/>
                    </a:lnTo>
                    <a:lnTo>
                      <a:pt x="111" y="5"/>
                    </a:lnTo>
                    <a:lnTo>
                      <a:pt x="114" y="7"/>
                    </a:lnTo>
                    <a:lnTo>
                      <a:pt x="116" y="7"/>
                    </a:lnTo>
                    <a:lnTo>
                      <a:pt x="129" y="7"/>
                    </a:lnTo>
                    <a:lnTo>
                      <a:pt x="133" y="5"/>
                    </a:lnTo>
                    <a:lnTo>
                      <a:pt x="136" y="2"/>
                    </a:lnTo>
                    <a:lnTo>
                      <a:pt x="145" y="0"/>
                    </a:lnTo>
                    <a:lnTo>
                      <a:pt x="162" y="5"/>
                    </a:lnTo>
                    <a:lnTo>
                      <a:pt x="177" y="10"/>
                    </a:lnTo>
                    <a:lnTo>
                      <a:pt x="184" y="9"/>
                    </a:lnTo>
                    <a:lnTo>
                      <a:pt x="191" y="14"/>
                    </a:lnTo>
                    <a:lnTo>
                      <a:pt x="192" y="15"/>
                    </a:lnTo>
                    <a:lnTo>
                      <a:pt x="194" y="15"/>
                    </a:lnTo>
                    <a:lnTo>
                      <a:pt x="197" y="17"/>
                    </a:lnTo>
                    <a:lnTo>
                      <a:pt x="197" y="19"/>
                    </a:lnTo>
                    <a:lnTo>
                      <a:pt x="202" y="26"/>
                    </a:lnTo>
                    <a:lnTo>
                      <a:pt x="211" y="38"/>
                    </a:lnTo>
                    <a:lnTo>
                      <a:pt x="211" y="39"/>
                    </a:lnTo>
                    <a:lnTo>
                      <a:pt x="213" y="39"/>
                    </a:lnTo>
                    <a:lnTo>
                      <a:pt x="214" y="41"/>
                    </a:lnTo>
                    <a:lnTo>
                      <a:pt x="216" y="43"/>
                    </a:lnTo>
                    <a:lnTo>
                      <a:pt x="223" y="44"/>
                    </a:lnTo>
                    <a:lnTo>
                      <a:pt x="225" y="43"/>
                    </a:lnTo>
                    <a:lnTo>
                      <a:pt x="230" y="38"/>
                    </a:lnTo>
                    <a:lnTo>
                      <a:pt x="236" y="39"/>
                    </a:lnTo>
                    <a:lnTo>
                      <a:pt x="240" y="39"/>
                    </a:lnTo>
                    <a:lnTo>
                      <a:pt x="252" y="32"/>
                    </a:lnTo>
                    <a:lnTo>
                      <a:pt x="260" y="26"/>
                    </a:lnTo>
                    <a:lnTo>
                      <a:pt x="262" y="26"/>
                    </a:lnTo>
                    <a:lnTo>
                      <a:pt x="274" y="29"/>
                    </a:lnTo>
                    <a:lnTo>
                      <a:pt x="277" y="29"/>
                    </a:lnTo>
                    <a:lnTo>
                      <a:pt x="281" y="32"/>
                    </a:lnTo>
                    <a:lnTo>
                      <a:pt x="282" y="32"/>
                    </a:lnTo>
                    <a:lnTo>
                      <a:pt x="291" y="41"/>
                    </a:lnTo>
                    <a:lnTo>
                      <a:pt x="294" y="39"/>
                    </a:lnTo>
                    <a:lnTo>
                      <a:pt x="296" y="41"/>
                    </a:lnTo>
                    <a:lnTo>
                      <a:pt x="301" y="44"/>
                    </a:lnTo>
                    <a:lnTo>
                      <a:pt x="303" y="46"/>
                    </a:lnTo>
                    <a:lnTo>
                      <a:pt x="318" y="51"/>
                    </a:lnTo>
                    <a:lnTo>
                      <a:pt x="338" y="53"/>
                    </a:lnTo>
                    <a:lnTo>
                      <a:pt x="354" y="53"/>
                    </a:lnTo>
                    <a:lnTo>
                      <a:pt x="359" y="48"/>
                    </a:lnTo>
                    <a:lnTo>
                      <a:pt x="371" y="36"/>
                    </a:lnTo>
                    <a:lnTo>
                      <a:pt x="374" y="34"/>
                    </a:lnTo>
                    <a:lnTo>
                      <a:pt x="381" y="31"/>
                    </a:lnTo>
                    <a:lnTo>
                      <a:pt x="394" y="29"/>
                    </a:lnTo>
                    <a:lnTo>
                      <a:pt x="405" y="26"/>
                    </a:lnTo>
                    <a:lnTo>
                      <a:pt x="411" y="26"/>
                    </a:lnTo>
                    <a:lnTo>
                      <a:pt x="435" y="24"/>
                    </a:lnTo>
                    <a:lnTo>
                      <a:pt x="449" y="26"/>
                    </a:lnTo>
                    <a:lnTo>
                      <a:pt x="457" y="29"/>
                    </a:lnTo>
                    <a:lnTo>
                      <a:pt x="466" y="31"/>
                    </a:lnTo>
                    <a:lnTo>
                      <a:pt x="473" y="34"/>
                    </a:lnTo>
                    <a:lnTo>
                      <a:pt x="474" y="36"/>
                    </a:lnTo>
                    <a:lnTo>
                      <a:pt x="479" y="38"/>
                    </a:lnTo>
                    <a:lnTo>
                      <a:pt x="481" y="38"/>
                    </a:lnTo>
                    <a:lnTo>
                      <a:pt x="483" y="38"/>
                    </a:lnTo>
                    <a:lnTo>
                      <a:pt x="485" y="38"/>
                    </a:lnTo>
                    <a:lnTo>
                      <a:pt x="486" y="39"/>
                    </a:lnTo>
                    <a:lnTo>
                      <a:pt x="488" y="39"/>
                    </a:lnTo>
                    <a:lnTo>
                      <a:pt x="496" y="41"/>
                    </a:lnTo>
                    <a:lnTo>
                      <a:pt x="498" y="39"/>
                    </a:lnTo>
                    <a:lnTo>
                      <a:pt x="496" y="38"/>
                    </a:lnTo>
                    <a:lnTo>
                      <a:pt x="498" y="36"/>
                    </a:lnTo>
                    <a:lnTo>
                      <a:pt x="500" y="36"/>
                    </a:lnTo>
                    <a:lnTo>
                      <a:pt x="500" y="32"/>
                    </a:lnTo>
                    <a:lnTo>
                      <a:pt x="502" y="32"/>
                    </a:lnTo>
                    <a:lnTo>
                      <a:pt x="503" y="29"/>
                    </a:lnTo>
                    <a:lnTo>
                      <a:pt x="505" y="29"/>
                    </a:lnTo>
                    <a:lnTo>
                      <a:pt x="507" y="29"/>
                    </a:lnTo>
                    <a:lnTo>
                      <a:pt x="508" y="27"/>
                    </a:lnTo>
                    <a:lnTo>
                      <a:pt x="508" y="29"/>
                    </a:lnTo>
                    <a:lnTo>
                      <a:pt x="508" y="27"/>
                    </a:lnTo>
                    <a:lnTo>
                      <a:pt x="510" y="27"/>
                    </a:lnTo>
                    <a:lnTo>
                      <a:pt x="510" y="26"/>
                    </a:lnTo>
                    <a:lnTo>
                      <a:pt x="513" y="24"/>
                    </a:lnTo>
                    <a:lnTo>
                      <a:pt x="512" y="24"/>
                    </a:lnTo>
                    <a:lnTo>
                      <a:pt x="515" y="24"/>
                    </a:lnTo>
                    <a:lnTo>
                      <a:pt x="513" y="22"/>
                    </a:lnTo>
                    <a:lnTo>
                      <a:pt x="515" y="21"/>
                    </a:lnTo>
                    <a:lnTo>
                      <a:pt x="515" y="19"/>
                    </a:lnTo>
                    <a:lnTo>
                      <a:pt x="517" y="21"/>
                    </a:lnTo>
                    <a:lnTo>
                      <a:pt x="517" y="19"/>
                    </a:lnTo>
                    <a:lnTo>
                      <a:pt x="519" y="19"/>
                    </a:lnTo>
                    <a:lnTo>
                      <a:pt x="520" y="19"/>
                    </a:lnTo>
                    <a:lnTo>
                      <a:pt x="520" y="17"/>
                    </a:lnTo>
                    <a:lnTo>
                      <a:pt x="524" y="17"/>
                    </a:lnTo>
                    <a:lnTo>
                      <a:pt x="525" y="17"/>
                    </a:lnTo>
                    <a:lnTo>
                      <a:pt x="527" y="15"/>
                    </a:lnTo>
                    <a:lnTo>
                      <a:pt x="527" y="17"/>
                    </a:lnTo>
                    <a:lnTo>
                      <a:pt x="525" y="17"/>
                    </a:lnTo>
                    <a:lnTo>
                      <a:pt x="527" y="17"/>
                    </a:lnTo>
                    <a:lnTo>
                      <a:pt x="529" y="17"/>
                    </a:lnTo>
                    <a:lnTo>
                      <a:pt x="530" y="15"/>
                    </a:lnTo>
                    <a:lnTo>
                      <a:pt x="530" y="17"/>
                    </a:lnTo>
                    <a:lnTo>
                      <a:pt x="532" y="17"/>
                    </a:lnTo>
                    <a:lnTo>
                      <a:pt x="534" y="17"/>
                    </a:lnTo>
                    <a:lnTo>
                      <a:pt x="534" y="15"/>
                    </a:lnTo>
                    <a:lnTo>
                      <a:pt x="536" y="15"/>
                    </a:lnTo>
                    <a:lnTo>
                      <a:pt x="534" y="14"/>
                    </a:lnTo>
                    <a:lnTo>
                      <a:pt x="536" y="14"/>
                    </a:lnTo>
                    <a:lnTo>
                      <a:pt x="536" y="12"/>
                    </a:lnTo>
                    <a:lnTo>
                      <a:pt x="537" y="12"/>
                    </a:lnTo>
                    <a:lnTo>
                      <a:pt x="541" y="7"/>
                    </a:lnTo>
                    <a:lnTo>
                      <a:pt x="556" y="9"/>
                    </a:lnTo>
                    <a:close/>
                    <a:moveTo>
                      <a:pt x="213" y="470"/>
                    </a:moveTo>
                    <a:lnTo>
                      <a:pt x="214" y="470"/>
                    </a:lnTo>
                    <a:lnTo>
                      <a:pt x="216" y="470"/>
                    </a:lnTo>
                    <a:lnTo>
                      <a:pt x="214" y="471"/>
                    </a:lnTo>
                    <a:lnTo>
                      <a:pt x="218" y="473"/>
                    </a:lnTo>
                    <a:lnTo>
                      <a:pt x="219" y="478"/>
                    </a:lnTo>
                    <a:lnTo>
                      <a:pt x="221" y="480"/>
                    </a:lnTo>
                    <a:lnTo>
                      <a:pt x="219" y="480"/>
                    </a:lnTo>
                    <a:lnTo>
                      <a:pt x="219" y="482"/>
                    </a:lnTo>
                    <a:lnTo>
                      <a:pt x="218" y="480"/>
                    </a:lnTo>
                    <a:lnTo>
                      <a:pt x="216" y="478"/>
                    </a:lnTo>
                    <a:lnTo>
                      <a:pt x="214" y="476"/>
                    </a:lnTo>
                    <a:lnTo>
                      <a:pt x="214" y="475"/>
                    </a:lnTo>
                    <a:lnTo>
                      <a:pt x="214" y="476"/>
                    </a:lnTo>
                    <a:lnTo>
                      <a:pt x="213" y="478"/>
                    </a:lnTo>
                    <a:lnTo>
                      <a:pt x="213" y="476"/>
                    </a:lnTo>
                    <a:lnTo>
                      <a:pt x="211" y="476"/>
                    </a:lnTo>
                    <a:lnTo>
                      <a:pt x="209" y="471"/>
                    </a:lnTo>
                    <a:lnTo>
                      <a:pt x="211" y="470"/>
                    </a:lnTo>
                    <a:lnTo>
                      <a:pt x="213" y="470"/>
                    </a:lnTo>
                    <a:close/>
                    <a:moveTo>
                      <a:pt x="236" y="475"/>
                    </a:moveTo>
                    <a:lnTo>
                      <a:pt x="235" y="476"/>
                    </a:lnTo>
                    <a:lnTo>
                      <a:pt x="236" y="478"/>
                    </a:lnTo>
                    <a:lnTo>
                      <a:pt x="230" y="480"/>
                    </a:lnTo>
                    <a:lnTo>
                      <a:pt x="226" y="480"/>
                    </a:lnTo>
                    <a:lnTo>
                      <a:pt x="231" y="473"/>
                    </a:lnTo>
                    <a:lnTo>
                      <a:pt x="233" y="475"/>
                    </a:lnTo>
                    <a:lnTo>
                      <a:pt x="236" y="475"/>
                    </a:lnTo>
                    <a:close/>
                    <a:moveTo>
                      <a:pt x="185" y="478"/>
                    </a:moveTo>
                    <a:lnTo>
                      <a:pt x="185" y="480"/>
                    </a:lnTo>
                    <a:lnTo>
                      <a:pt x="187" y="482"/>
                    </a:lnTo>
                    <a:lnTo>
                      <a:pt x="191" y="485"/>
                    </a:lnTo>
                    <a:lnTo>
                      <a:pt x="184" y="485"/>
                    </a:lnTo>
                    <a:lnTo>
                      <a:pt x="180" y="485"/>
                    </a:lnTo>
                    <a:lnTo>
                      <a:pt x="182" y="482"/>
                    </a:lnTo>
                    <a:lnTo>
                      <a:pt x="185" y="478"/>
                    </a:lnTo>
                    <a:close/>
                    <a:moveTo>
                      <a:pt x="240" y="475"/>
                    </a:moveTo>
                    <a:lnTo>
                      <a:pt x="242" y="475"/>
                    </a:lnTo>
                    <a:lnTo>
                      <a:pt x="247" y="476"/>
                    </a:lnTo>
                    <a:lnTo>
                      <a:pt x="247" y="475"/>
                    </a:lnTo>
                    <a:lnTo>
                      <a:pt x="247" y="476"/>
                    </a:lnTo>
                    <a:lnTo>
                      <a:pt x="248" y="475"/>
                    </a:lnTo>
                    <a:lnTo>
                      <a:pt x="248" y="476"/>
                    </a:lnTo>
                    <a:lnTo>
                      <a:pt x="242" y="478"/>
                    </a:lnTo>
                    <a:lnTo>
                      <a:pt x="236" y="476"/>
                    </a:lnTo>
                    <a:lnTo>
                      <a:pt x="236" y="475"/>
                    </a:lnTo>
                    <a:lnTo>
                      <a:pt x="238" y="475"/>
                    </a:lnTo>
                    <a:lnTo>
                      <a:pt x="240" y="473"/>
                    </a:lnTo>
                    <a:lnTo>
                      <a:pt x="240" y="475"/>
                    </a:lnTo>
                    <a:close/>
                    <a:moveTo>
                      <a:pt x="221" y="465"/>
                    </a:moveTo>
                    <a:lnTo>
                      <a:pt x="223" y="465"/>
                    </a:lnTo>
                    <a:lnTo>
                      <a:pt x="225" y="466"/>
                    </a:lnTo>
                    <a:lnTo>
                      <a:pt x="225" y="468"/>
                    </a:lnTo>
                    <a:lnTo>
                      <a:pt x="226" y="471"/>
                    </a:lnTo>
                    <a:lnTo>
                      <a:pt x="225" y="471"/>
                    </a:lnTo>
                    <a:lnTo>
                      <a:pt x="225" y="470"/>
                    </a:lnTo>
                    <a:lnTo>
                      <a:pt x="223" y="470"/>
                    </a:lnTo>
                    <a:lnTo>
                      <a:pt x="223" y="471"/>
                    </a:lnTo>
                    <a:lnTo>
                      <a:pt x="223" y="468"/>
                    </a:lnTo>
                    <a:lnTo>
                      <a:pt x="221" y="468"/>
                    </a:lnTo>
                    <a:lnTo>
                      <a:pt x="219" y="465"/>
                    </a:lnTo>
                    <a:lnTo>
                      <a:pt x="221" y="465"/>
                    </a:lnTo>
                    <a:close/>
                    <a:moveTo>
                      <a:pt x="221" y="478"/>
                    </a:moveTo>
                    <a:lnTo>
                      <a:pt x="219" y="470"/>
                    </a:lnTo>
                    <a:lnTo>
                      <a:pt x="221" y="471"/>
                    </a:lnTo>
                    <a:lnTo>
                      <a:pt x="223" y="475"/>
                    </a:lnTo>
                    <a:lnTo>
                      <a:pt x="223" y="478"/>
                    </a:lnTo>
                    <a:lnTo>
                      <a:pt x="221" y="478"/>
                    </a:lnTo>
                    <a:close/>
                    <a:moveTo>
                      <a:pt x="279" y="451"/>
                    </a:moveTo>
                    <a:lnTo>
                      <a:pt x="282" y="453"/>
                    </a:lnTo>
                    <a:lnTo>
                      <a:pt x="284" y="458"/>
                    </a:lnTo>
                    <a:lnTo>
                      <a:pt x="282" y="456"/>
                    </a:lnTo>
                    <a:lnTo>
                      <a:pt x="281" y="454"/>
                    </a:lnTo>
                    <a:lnTo>
                      <a:pt x="279" y="453"/>
                    </a:lnTo>
                    <a:lnTo>
                      <a:pt x="279" y="451"/>
                    </a:lnTo>
                    <a:lnTo>
                      <a:pt x="279" y="453"/>
                    </a:lnTo>
                    <a:lnTo>
                      <a:pt x="277" y="451"/>
                    </a:lnTo>
                    <a:lnTo>
                      <a:pt x="276" y="446"/>
                    </a:lnTo>
                    <a:lnTo>
                      <a:pt x="277" y="448"/>
                    </a:lnTo>
                    <a:lnTo>
                      <a:pt x="277" y="449"/>
                    </a:lnTo>
                    <a:lnTo>
                      <a:pt x="279" y="451"/>
                    </a:lnTo>
                    <a:close/>
                    <a:moveTo>
                      <a:pt x="225" y="471"/>
                    </a:moveTo>
                    <a:lnTo>
                      <a:pt x="226" y="471"/>
                    </a:lnTo>
                    <a:lnTo>
                      <a:pt x="228" y="473"/>
                    </a:lnTo>
                    <a:lnTo>
                      <a:pt x="228" y="476"/>
                    </a:lnTo>
                    <a:lnTo>
                      <a:pt x="225" y="476"/>
                    </a:lnTo>
                    <a:lnTo>
                      <a:pt x="225" y="475"/>
                    </a:lnTo>
                    <a:lnTo>
                      <a:pt x="226" y="475"/>
                    </a:lnTo>
                    <a:lnTo>
                      <a:pt x="228" y="473"/>
                    </a:lnTo>
                    <a:lnTo>
                      <a:pt x="226" y="473"/>
                    </a:lnTo>
                    <a:lnTo>
                      <a:pt x="225" y="475"/>
                    </a:lnTo>
                    <a:lnTo>
                      <a:pt x="225" y="473"/>
                    </a:lnTo>
                    <a:lnTo>
                      <a:pt x="225" y="471"/>
                    </a:lnTo>
                    <a:lnTo>
                      <a:pt x="223" y="471"/>
                    </a:lnTo>
                    <a:lnTo>
                      <a:pt x="225" y="470"/>
                    </a:lnTo>
                    <a:lnTo>
                      <a:pt x="225" y="471"/>
                    </a:lnTo>
                    <a:close/>
                    <a:moveTo>
                      <a:pt x="216" y="478"/>
                    </a:moveTo>
                    <a:lnTo>
                      <a:pt x="218" y="480"/>
                    </a:lnTo>
                    <a:lnTo>
                      <a:pt x="213" y="480"/>
                    </a:lnTo>
                    <a:lnTo>
                      <a:pt x="211" y="478"/>
                    </a:lnTo>
                    <a:lnTo>
                      <a:pt x="213" y="476"/>
                    </a:lnTo>
                    <a:lnTo>
                      <a:pt x="213" y="478"/>
                    </a:lnTo>
                    <a:lnTo>
                      <a:pt x="214" y="476"/>
                    </a:lnTo>
                    <a:lnTo>
                      <a:pt x="214" y="478"/>
                    </a:lnTo>
                    <a:lnTo>
                      <a:pt x="216" y="478"/>
                    </a:lnTo>
                    <a:close/>
                    <a:moveTo>
                      <a:pt x="245" y="473"/>
                    </a:moveTo>
                    <a:lnTo>
                      <a:pt x="247" y="473"/>
                    </a:lnTo>
                    <a:lnTo>
                      <a:pt x="247" y="475"/>
                    </a:lnTo>
                    <a:lnTo>
                      <a:pt x="245" y="475"/>
                    </a:lnTo>
                    <a:lnTo>
                      <a:pt x="243" y="475"/>
                    </a:lnTo>
                    <a:lnTo>
                      <a:pt x="243" y="473"/>
                    </a:lnTo>
                    <a:lnTo>
                      <a:pt x="242" y="473"/>
                    </a:lnTo>
                    <a:lnTo>
                      <a:pt x="242" y="475"/>
                    </a:lnTo>
                    <a:lnTo>
                      <a:pt x="240" y="475"/>
                    </a:lnTo>
                    <a:lnTo>
                      <a:pt x="240" y="473"/>
                    </a:lnTo>
                    <a:lnTo>
                      <a:pt x="242" y="473"/>
                    </a:lnTo>
                    <a:lnTo>
                      <a:pt x="242" y="471"/>
                    </a:lnTo>
                    <a:lnTo>
                      <a:pt x="243" y="471"/>
                    </a:lnTo>
                    <a:lnTo>
                      <a:pt x="245" y="473"/>
                    </a:lnTo>
                    <a:close/>
                    <a:moveTo>
                      <a:pt x="225" y="471"/>
                    </a:moveTo>
                    <a:lnTo>
                      <a:pt x="225" y="473"/>
                    </a:lnTo>
                    <a:lnTo>
                      <a:pt x="225" y="476"/>
                    </a:lnTo>
                    <a:lnTo>
                      <a:pt x="223" y="476"/>
                    </a:lnTo>
                    <a:lnTo>
                      <a:pt x="223" y="475"/>
                    </a:lnTo>
                    <a:lnTo>
                      <a:pt x="223" y="471"/>
                    </a:lnTo>
                    <a:lnTo>
                      <a:pt x="225" y="471"/>
                    </a:lnTo>
                    <a:close/>
                    <a:moveTo>
                      <a:pt x="226" y="468"/>
                    </a:moveTo>
                    <a:lnTo>
                      <a:pt x="228" y="470"/>
                    </a:lnTo>
                    <a:lnTo>
                      <a:pt x="228" y="471"/>
                    </a:lnTo>
                    <a:lnTo>
                      <a:pt x="226" y="471"/>
                    </a:lnTo>
                    <a:lnTo>
                      <a:pt x="226" y="468"/>
                    </a:lnTo>
                    <a:lnTo>
                      <a:pt x="225" y="466"/>
                    </a:lnTo>
                    <a:lnTo>
                      <a:pt x="226" y="468"/>
                    </a:lnTo>
                    <a:close/>
                    <a:moveTo>
                      <a:pt x="279" y="448"/>
                    </a:moveTo>
                    <a:lnTo>
                      <a:pt x="281" y="449"/>
                    </a:lnTo>
                    <a:lnTo>
                      <a:pt x="282" y="451"/>
                    </a:lnTo>
                    <a:lnTo>
                      <a:pt x="282" y="453"/>
                    </a:lnTo>
                    <a:lnTo>
                      <a:pt x="277" y="449"/>
                    </a:lnTo>
                    <a:lnTo>
                      <a:pt x="277" y="448"/>
                    </a:lnTo>
                    <a:lnTo>
                      <a:pt x="277" y="446"/>
                    </a:lnTo>
                    <a:lnTo>
                      <a:pt x="279" y="448"/>
                    </a:lnTo>
                    <a:close/>
                    <a:moveTo>
                      <a:pt x="221" y="468"/>
                    </a:moveTo>
                    <a:lnTo>
                      <a:pt x="223" y="468"/>
                    </a:lnTo>
                    <a:lnTo>
                      <a:pt x="223" y="471"/>
                    </a:lnTo>
                    <a:lnTo>
                      <a:pt x="221" y="470"/>
                    </a:lnTo>
                    <a:lnTo>
                      <a:pt x="219" y="470"/>
                    </a:lnTo>
                    <a:lnTo>
                      <a:pt x="219" y="468"/>
                    </a:lnTo>
                    <a:lnTo>
                      <a:pt x="221" y="468"/>
                    </a:lnTo>
                    <a:lnTo>
                      <a:pt x="219" y="466"/>
                    </a:lnTo>
                    <a:lnTo>
                      <a:pt x="221" y="466"/>
                    </a:lnTo>
                    <a:lnTo>
                      <a:pt x="221" y="468"/>
                    </a:lnTo>
                    <a:close/>
                    <a:moveTo>
                      <a:pt x="174" y="478"/>
                    </a:moveTo>
                    <a:lnTo>
                      <a:pt x="175" y="478"/>
                    </a:lnTo>
                    <a:lnTo>
                      <a:pt x="175" y="482"/>
                    </a:lnTo>
                    <a:lnTo>
                      <a:pt x="174" y="482"/>
                    </a:lnTo>
                    <a:lnTo>
                      <a:pt x="174" y="478"/>
                    </a:lnTo>
                    <a:close/>
                    <a:moveTo>
                      <a:pt x="218" y="475"/>
                    </a:moveTo>
                    <a:lnTo>
                      <a:pt x="218" y="471"/>
                    </a:lnTo>
                    <a:lnTo>
                      <a:pt x="216" y="471"/>
                    </a:lnTo>
                    <a:lnTo>
                      <a:pt x="216" y="470"/>
                    </a:lnTo>
                    <a:lnTo>
                      <a:pt x="218" y="470"/>
                    </a:lnTo>
                    <a:lnTo>
                      <a:pt x="218" y="475"/>
                    </a:lnTo>
                    <a:close/>
                    <a:moveTo>
                      <a:pt x="236" y="471"/>
                    </a:moveTo>
                    <a:lnTo>
                      <a:pt x="240" y="471"/>
                    </a:lnTo>
                    <a:lnTo>
                      <a:pt x="240" y="475"/>
                    </a:lnTo>
                    <a:lnTo>
                      <a:pt x="236" y="475"/>
                    </a:lnTo>
                    <a:lnTo>
                      <a:pt x="236" y="471"/>
                    </a:lnTo>
                    <a:close/>
                    <a:moveTo>
                      <a:pt x="277" y="448"/>
                    </a:moveTo>
                    <a:lnTo>
                      <a:pt x="276" y="446"/>
                    </a:lnTo>
                    <a:lnTo>
                      <a:pt x="276" y="444"/>
                    </a:lnTo>
                    <a:lnTo>
                      <a:pt x="277" y="448"/>
                    </a:lnTo>
                    <a:close/>
                    <a:moveTo>
                      <a:pt x="282" y="458"/>
                    </a:moveTo>
                    <a:lnTo>
                      <a:pt x="279" y="454"/>
                    </a:lnTo>
                    <a:lnTo>
                      <a:pt x="279" y="453"/>
                    </a:lnTo>
                    <a:lnTo>
                      <a:pt x="282" y="458"/>
                    </a:lnTo>
                    <a:close/>
                    <a:moveTo>
                      <a:pt x="286" y="468"/>
                    </a:moveTo>
                    <a:lnTo>
                      <a:pt x="287" y="468"/>
                    </a:lnTo>
                    <a:lnTo>
                      <a:pt x="287" y="470"/>
                    </a:lnTo>
                    <a:lnTo>
                      <a:pt x="286" y="470"/>
                    </a:lnTo>
                    <a:lnTo>
                      <a:pt x="286" y="468"/>
                    </a:lnTo>
                    <a:close/>
                    <a:moveTo>
                      <a:pt x="236" y="475"/>
                    </a:moveTo>
                    <a:lnTo>
                      <a:pt x="236" y="473"/>
                    </a:lnTo>
                    <a:lnTo>
                      <a:pt x="236" y="471"/>
                    </a:lnTo>
                    <a:lnTo>
                      <a:pt x="236" y="475"/>
                    </a:lnTo>
                    <a:close/>
                    <a:moveTo>
                      <a:pt x="247" y="475"/>
                    </a:moveTo>
                    <a:lnTo>
                      <a:pt x="245" y="475"/>
                    </a:lnTo>
                    <a:lnTo>
                      <a:pt x="247" y="475"/>
                    </a:lnTo>
                    <a:lnTo>
                      <a:pt x="248" y="475"/>
                    </a:lnTo>
                    <a:lnTo>
                      <a:pt x="247" y="475"/>
                    </a:lnTo>
                    <a:close/>
                    <a:moveTo>
                      <a:pt x="279" y="453"/>
                    </a:moveTo>
                    <a:lnTo>
                      <a:pt x="281" y="453"/>
                    </a:lnTo>
                    <a:lnTo>
                      <a:pt x="281" y="456"/>
                    </a:lnTo>
                    <a:lnTo>
                      <a:pt x="279" y="456"/>
                    </a:lnTo>
                    <a:lnTo>
                      <a:pt x="279" y="453"/>
                    </a:lnTo>
                    <a:close/>
                    <a:moveTo>
                      <a:pt x="221" y="463"/>
                    </a:moveTo>
                    <a:lnTo>
                      <a:pt x="223" y="463"/>
                    </a:lnTo>
                    <a:lnTo>
                      <a:pt x="223" y="465"/>
                    </a:lnTo>
                    <a:lnTo>
                      <a:pt x="221" y="465"/>
                    </a:lnTo>
                    <a:lnTo>
                      <a:pt x="221" y="463"/>
                    </a:lnTo>
                    <a:close/>
                    <a:moveTo>
                      <a:pt x="284" y="458"/>
                    </a:moveTo>
                    <a:lnTo>
                      <a:pt x="286" y="458"/>
                    </a:lnTo>
                    <a:lnTo>
                      <a:pt x="286" y="459"/>
                    </a:lnTo>
                    <a:lnTo>
                      <a:pt x="284" y="459"/>
                    </a:lnTo>
                    <a:lnTo>
                      <a:pt x="284" y="458"/>
                    </a:lnTo>
                    <a:close/>
                    <a:moveTo>
                      <a:pt x="218" y="466"/>
                    </a:moveTo>
                    <a:lnTo>
                      <a:pt x="219" y="466"/>
                    </a:lnTo>
                    <a:lnTo>
                      <a:pt x="219" y="468"/>
                    </a:lnTo>
                    <a:lnTo>
                      <a:pt x="218" y="468"/>
                    </a:lnTo>
                    <a:lnTo>
                      <a:pt x="218" y="466"/>
                    </a:lnTo>
                    <a:close/>
                    <a:moveTo>
                      <a:pt x="235" y="470"/>
                    </a:moveTo>
                    <a:lnTo>
                      <a:pt x="236" y="470"/>
                    </a:lnTo>
                    <a:lnTo>
                      <a:pt x="236" y="473"/>
                    </a:lnTo>
                    <a:lnTo>
                      <a:pt x="235" y="473"/>
                    </a:lnTo>
                    <a:lnTo>
                      <a:pt x="235" y="470"/>
                    </a:lnTo>
                    <a:close/>
                    <a:moveTo>
                      <a:pt x="225" y="473"/>
                    </a:moveTo>
                    <a:lnTo>
                      <a:pt x="226" y="473"/>
                    </a:lnTo>
                    <a:lnTo>
                      <a:pt x="226" y="475"/>
                    </a:lnTo>
                    <a:lnTo>
                      <a:pt x="225" y="475"/>
                    </a:lnTo>
                    <a:lnTo>
                      <a:pt x="225" y="473"/>
                    </a:lnTo>
                    <a:close/>
                    <a:moveTo>
                      <a:pt x="242" y="473"/>
                    </a:moveTo>
                    <a:lnTo>
                      <a:pt x="243" y="473"/>
                    </a:lnTo>
                    <a:lnTo>
                      <a:pt x="243" y="475"/>
                    </a:lnTo>
                    <a:lnTo>
                      <a:pt x="242" y="475"/>
                    </a:lnTo>
                    <a:lnTo>
                      <a:pt x="242" y="473"/>
                    </a:lnTo>
                    <a:close/>
                    <a:moveTo>
                      <a:pt x="141" y="431"/>
                    </a:moveTo>
                    <a:lnTo>
                      <a:pt x="145" y="431"/>
                    </a:lnTo>
                    <a:lnTo>
                      <a:pt x="141" y="431"/>
                    </a:lnTo>
                    <a:close/>
                    <a:moveTo>
                      <a:pt x="143" y="429"/>
                    </a:moveTo>
                    <a:lnTo>
                      <a:pt x="145" y="429"/>
                    </a:lnTo>
                    <a:lnTo>
                      <a:pt x="145" y="431"/>
                    </a:lnTo>
                    <a:lnTo>
                      <a:pt x="143" y="431"/>
                    </a:lnTo>
                    <a:lnTo>
                      <a:pt x="143" y="429"/>
                    </a:lnTo>
                    <a:close/>
                    <a:moveTo>
                      <a:pt x="282" y="456"/>
                    </a:moveTo>
                    <a:lnTo>
                      <a:pt x="284" y="456"/>
                    </a:lnTo>
                    <a:lnTo>
                      <a:pt x="284" y="458"/>
                    </a:lnTo>
                    <a:lnTo>
                      <a:pt x="282" y="458"/>
                    </a:lnTo>
                    <a:lnTo>
                      <a:pt x="282" y="456"/>
                    </a:lnTo>
                    <a:close/>
                    <a:moveTo>
                      <a:pt x="223" y="461"/>
                    </a:moveTo>
                    <a:lnTo>
                      <a:pt x="223" y="463"/>
                    </a:lnTo>
                    <a:lnTo>
                      <a:pt x="223" y="461"/>
                    </a:lnTo>
                    <a:close/>
                    <a:moveTo>
                      <a:pt x="233" y="471"/>
                    </a:moveTo>
                    <a:lnTo>
                      <a:pt x="235" y="471"/>
                    </a:lnTo>
                    <a:lnTo>
                      <a:pt x="233" y="471"/>
                    </a:lnTo>
                    <a:close/>
                    <a:moveTo>
                      <a:pt x="284" y="456"/>
                    </a:moveTo>
                    <a:lnTo>
                      <a:pt x="286" y="456"/>
                    </a:lnTo>
                    <a:lnTo>
                      <a:pt x="286" y="458"/>
                    </a:lnTo>
                    <a:lnTo>
                      <a:pt x="284" y="458"/>
                    </a:lnTo>
                    <a:lnTo>
                      <a:pt x="284" y="456"/>
                    </a:lnTo>
                    <a:close/>
                    <a:moveTo>
                      <a:pt x="233" y="471"/>
                    </a:moveTo>
                    <a:lnTo>
                      <a:pt x="235" y="471"/>
                    </a:lnTo>
                    <a:lnTo>
                      <a:pt x="235" y="473"/>
                    </a:lnTo>
                    <a:lnTo>
                      <a:pt x="233" y="473"/>
                    </a:lnTo>
                    <a:lnTo>
                      <a:pt x="233" y="471"/>
                    </a:lnTo>
                    <a:close/>
                    <a:moveTo>
                      <a:pt x="238" y="473"/>
                    </a:moveTo>
                    <a:lnTo>
                      <a:pt x="240" y="473"/>
                    </a:lnTo>
                    <a:lnTo>
                      <a:pt x="238" y="473"/>
                    </a:lnTo>
                    <a:close/>
                    <a:moveTo>
                      <a:pt x="233" y="470"/>
                    </a:moveTo>
                    <a:lnTo>
                      <a:pt x="235" y="470"/>
                    </a:lnTo>
                    <a:lnTo>
                      <a:pt x="235" y="471"/>
                    </a:lnTo>
                    <a:lnTo>
                      <a:pt x="233" y="471"/>
                    </a:lnTo>
                    <a:lnTo>
                      <a:pt x="233" y="470"/>
                    </a:lnTo>
                    <a:close/>
                    <a:moveTo>
                      <a:pt x="219" y="465"/>
                    </a:moveTo>
                    <a:lnTo>
                      <a:pt x="221" y="465"/>
                    </a:lnTo>
                    <a:lnTo>
                      <a:pt x="221" y="466"/>
                    </a:lnTo>
                    <a:lnTo>
                      <a:pt x="219" y="466"/>
                    </a:lnTo>
                    <a:lnTo>
                      <a:pt x="219" y="465"/>
                    </a:lnTo>
                    <a:close/>
                    <a:moveTo>
                      <a:pt x="143" y="429"/>
                    </a:moveTo>
                    <a:lnTo>
                      <a:pt x="145" y="429"/>
                    </a:lnTo>
                    <a:lnTo>
                      <a:pt x="143" y="429"/>
                    </a:lnTo>
                    <a:close/>
                    <a:moveTo>
                      <a:pt x="153" y="473"/>
                    </a:moveTo>
                    <a:lnTo>
                      <a:pt x="155" y="473"/>
                    </a:lnTo>
                    <a:lnTo>
                      <a:pt x="155" y="475"/>
                    </a:lnTo>
                    <a:lnTo>
                      <a:pt x="153" y="475"/>
                    </a:lnTo>
                    <a:lnTo>
                      <a:pt x="153" y="473"/>
                    </a:lnTo>
                    <a:close/>
                    <a:moveTo>
                      <a:pt x="235" y="471"/>
                    </a:moveTo>
                    <a:lnTo>
                      <a:pt x="236" y="471"/>
                    </a:lnTo>
                    <a:lnTo>
                      <a:pt x="236" y="473"/>
                    </a:lnTo>
                    <a:lnTo>
                      <a:pt x="235" y="473"/>
                    </a:lnTo>
                    <a:lnTo>
                      <a:pt x="235" y="471"/>
                    </a:lnTo>
                    <a:close/>
                    <a:moveTo>
                      <a:pt x="226" y="468"/>
                    </a:moveTo>
                    <a:lnTo>
                      <a:pt x="226" y="470"/>
                    </a:lnTo>
                    <a:lnTo>
                      <a:pt x="226" y="468"/>
                    </a:lnTo>
                    <a:close/>
                    <a:moveTo>
                      <a:pt x="299" y="458"/>
                    </a:moveTo>
                    <a:lnTo>
                      <a:pt x="299" y="459"/>
                    </a:lnTo>
                    <a:lnTo>
                      <a:pt x="299" y="458"/>
                    </a:lnTo>
                    <a:close/>
                    <a:moveTo>
                      <a:pt x="180" y="482"/>
                    </a:moveTo>
                    <a:lnTo>
                      <a:pt x="182" y="482"/>
                    </a:lnTo>
                    <a:lnTo>
                      <a:pt x="180" y="482"/>
                    </a:lnTo>
                    <a:close/>
                    <a:moveTo>
                      <a:pt x="281" y="451"/>
                    </a:moveTo>
                    <a:lnTo>
                      <a:pt x="281" y="453"/>
                    </a:lnTo>
                    <a:lnTo>
                      <a:pt x="281" y="451"/>
                    </a:lnTo>
                    <a:close/>
                    <a:moveTo>
                      <a:pt x="281" y="454"/>
                    </a:moveTo>
                    <a:lnTo>
                      <a:pt x="281" y="456"/>
                    </a:lnTo>
                    <a:lnTo>
                      <a:pt x="281" y="454"/>
                    </a:lnTo>
                    <a:close/>
                  </a:path>
                </a:pathLst>
              </a:custGeom>
              <a:solidFill>
                <a:schemeClr val="accent2"/>
              </a:solidFill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6" name="Freeform 47">
                <a:extLst>
                  <a:ext uri="{FF2B5EF4-FFF2-40B4-BE49-F238E27FC236}">
                    <a16:creationId xmlns:a16="http://schemas.microsoft.com/office/drawing/2014/main" id="{4403BD88-E6E4-479E-A16C-F152789855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95903" y="3551862"/>
                <a:ext cx="165095" cy="144458"/>
              </a:xfrm>
              <a:custGeom>
                <a:avLst/>
                <a:gdLst>
                  <a:gd name="T0" fmla="*/ 82 w 104"/>
                  <a:gd name="T1" fmla="*/ 65 h 91"/>
                  <a:gd name="T2" fmla="*/ 77 w 104"/>
                  <a:gd name="T3" fmla="*/ 65 h 91"/>
                  <a:gd name="T4" fmla="*/ 71 w 104"/>
                  <a:gd name="T5" fmla="*/ 68 h 91"/>
                  <a:gd name="T6" fmla="*/ 65 w 104"/>
                  <a:gd name="T7" fmla="*/ 72 h 91"/>
                  <a:gd name="T8" fmla="*/ 56 w 104"/>
                  <a:gd name="T9" fmla="*/ 65 h 91"/>
                  <a:gd name="T10" fmla="*/ 54 w 104"/>
                  <a:gd name="T11" fmla="*/ 77 h 91"/>
                  <a:gd name="T12" fmla="*/ 53 w 104"/>
                  <a:gd name="T13" fmla="*/ 87 h 91"/>
                  <a:gd name="T14" fmla="*/ 46 w 104"/>
                  <a:gd name="T15" fmla="*/ 87 h 91"/>
                  <a:gd name="T16" fmla="*/ 41 w 104"/>
                  <a:gd name="T17" fmla="*/ 89 h 91"/>
                  <a:gd name="T18" fmla="*/ 34 w 104"/>
                  <a:gd name="T19" fmla="*/ 91 h 91"/>
                  <a:gd name="T20" fmla="*/ 29 w 104"/>
                  <a:gd name="T21" fmla="*/ 89 h 91"/>
                  <a:gd name="T22" fmla="*/ 26 w 104"/>
                  <a:gd name="T23" fmla="*/ 87 h 91"/>
                  <a:gd name="T24" fmla="*/ 20 w 104"/>
                  <a:gd name="T25" fmla="*/ 80 h 91"/>
                  <a:gd name="T26" fmla="*/ 14 w 104"/>
                  <a:gd name="T27" fmla="*/ 80 h 91"/>
                  <a:gd name="T28" fmla="*/ 10 w 104"/>
                  <a:gd name="T29" fmla="*/ 87 h 91"/>
                  <a:gd name="T30" fmla="*/ 2 w 104"/>
                  <a:gd name="T31" fmla="*/ 82 h 91"/>
                  <a:gd name="T32" fmla="*/ 2 w 104"/>
                  <a:gd name="T33" fmla="*/ 74 h 91"/>
                  <a:gd name="T34" fmla="*/ 2 w 104"/>
                  <a:gd name="T35" fmla="*/ 67 h 91"/>
                  <a:gd name="T36" fmla="*/ 10 w 104"/>
                  <a:gd name="T37" fmla="*/ 63 h 91"/>
                  <a:gd name="T38" fmla="*/ 19 w 104"/>
                  <a:gd name="T39" fmla="*/ 36 h 91"/>
                  <a:gd name="T40" fmla="*/ 24 w 104"/>
                  <a:gd name="T41" fmla="*/ 28 h 91"/>
                  <a:gd name="T42" fmla="*/ 32 w 104"/>
                  <a:gd name="T43" fmla="*/ 23 h 91"/>
                  <a:gd name="T44" fmla="*/ 37 w 104"/>
                  <a:gd name="T45" fmla="*/ 17 h 91"/>
                  <a:gd name="T46" fmla="*/ 48 w 104"/>
                  <a:gd name="T47" fmla="*/ 17 h 91"/>
                  <a:gd name="T48" fmla="*/ 51 w 104"/>
                  <a:gd name="T49" fmla="*/ 16 h 91"/>
                  <a:gd name="T50" fmla="*/ 54 w 104"/>
                  <a:gd name="T51" fmla="*/ 23 h 91"/>
                  <a:gd name="T52" fmla="*/ 61 w 104"/>
                  <a:gd name="T53" fmla="*/ 21 h 91"/>
                  <a:gd name="T54" fmla="*/ 66 w 104"/>
                  <a:gd name="T55" fmla="*/ 16 h 91"/>
                  <a:gd name="T56" fmla="*/ 71 w 104"/>
                  <a:gd name="T57" fmla="*/ 9 h 91"/>
                  <a:gd name="T58" fmla="*/ 77 w 104"/>
                  <a:gd name="T59" fmla="*/ 2 h 91"/>
                  <a:gd name="T60" fmla="*/ 82 w 104"/>
                  <a:gd name="T61" fmla="*/ 0 h 91"/>
                  <a:gd name="T62" fmla="*/ 82 w 104"/>
                  <a:gd name="T63" fmla="*/ 6 h 91"/>
                  <a:gd name="T64" fmla="*/ 87 w 104"/>
                  <a:gd name="T65" fmla="*/ 16 h 91"/>
                  <a:gd name="T66" fmla="*/ 92 w 104"/>
                  <a:gd name="T67" fmla="*/ 17 h 91"/>
                  <a:gd name="T68" fmla="*/ 95 w 104"/>
                  <a:gd name="T69" fmla="*/ 23 h 91"/>
                  <a:gd name="T70" fmla="*/ 97 w 104"/>
                  <a:gd name="T71" fmla="*/ 28 h 91"/>
                  <a:gd name="T72" fmla="*/ 100 w 104"/>
                  <a:gd name="T73" fmla="*/ 33 h 91"/>
                  <a:gd name="T74" fmla="*/ 100 w 104"/>
                  <a:gd name="T75" fmla="*/ 36 h 91"/>
                  <a:gd name="T76" fmla="*/ 100 w 104"/>
                  <a:gd name="T77" fmla="*/ 41 h 91"/>
                  <a:gd name="T78" fmla="*/ 100 w 104"/>
                  <a:gd name="T79" fmla="*/ 50 h 91"/>
                  <a:gd name="T80" fmla="*/ 102 w 104"/>
                  <a:gd name="T81" fmla="*/ 65 h 91"/>
                  <a:gd name="T82" fmla="*/ 97 w 104"/>
                  <a:gd name="T83" fmla="*/ 68 h 91"/>
                  <a:gd name="T84" fmla="*/ 88 w 104"/>
                  <a:gd name="T85" fmla="*/ 68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4" h="91">
                    <a:moveTo>
                      <a:pt x="85" y="70"/>
                    </a:moveTo>
                    <a:lnTo>
                      <a:pt x="82" y="67"/>
                    </a:lnTo>
                    <a:lnTo>
                      <a:pt x="82" y="65"/>
                    </a:lnTo>
                    <a:lnTo>
                      <a:pt x="80" y="65"/>
                    </a:lnTo>
                    <a:lnTo>
                      <a:pt x="78" y="65"/>
                    </a:lnTo>
                    <a:lnTo>
                      <a:pt x="77" y="65"/>
                    </a:lnTo>
                    <a:lnTo>
                      <a:pt x="77" y="67"/>
                    </a:lnTo>
                    <a:lnTo>
                      <a:pt x="73" y="68"/>
                    </a:lnTo>
                    <a:lnTo>
                      <a:pt x="71" y="68"/>
                    </a:lnTo>
                    <a:lnTo>
                      <a:pt x="70" y="67"/>
                    </a:lnTo>
                    <a:lnTo>
                      <a:pt x="68" y="70"/>
                    </a:lnTo>
                    <a:lnTo>
                      <a:pt x="65" y="72"/>
                    </a:lnTo>
                    <a:lnTo>
                      <a:pt x="61" y="68"/>
                    </a:lnTo>
                    <a:lnTo>
                      <a:pt x="60" y="67"/>
                    </a:lnTo>
                    <a:lnTo>
                      <a:pt x="56" y="65"/>
                    </a:lnTo>
                    <a:lnTo>
                      <a:pt x="54" y="68"/>
                    </a:lnTo>
                    <a:lnTo>
                      <a:pt x="56" y="72"/>
                    </a:lnTo>
                    <a:lnTo>
                      <a:pt x="54" y="77"/>
                    </a:lnTo>
                    <a:lnTo>
                      <a:pt x="54" y="82"/>
                    </a:lnTo>
                    <a:lnTo>
                      <a:pt x="54" y="84"/>
                    </a:lnTo>
                    <a:lnTo>
                      <a:pt x="53" y="87"/>
                    </a:lnTo>
                    <a:lnTo>
                      <a:pt x="49" y="89"/>
                    </a:lnTo>
                    <a:lnTo>
                      <a:pt x="48" y="87"/>
                    </a:lnTo>
                    <a:lnTo>
                      <a:pt x="46" y="87"/>
                    </a:lnTo>
                    <a:lnTo>
                      <a:pt x="46" y="91"/>
                    </a:lnTo>
                    <a:lnTo>
                      <a:pt x="43" y="91"/>
                    </a:lnTo>
                    <a:lnTo>
                      <a:pt x="41" y="89"/>
                    </a:lnTo>
                    <a:lnTo>
                      <a:pt x="39" y="91"/>
                    </a:lnTo>
                    <a:lnTo>
                      <a:pt x="37" y="89"/>
                    </a:lnTo>
                    <a:lnTo>
                      <a:pt x="34" y="91"/>
                    </a:lnTo>
                    <a:lnTo>
                      <a:pt x="32" y="89"/>
                    </a:lnTo>
                    <a:lnTo>
                      <a:pt x="31" y="91"/>
                    </a:lnTo>
                    <a:lnTo>
                      <a:pt x="29" y="89"/>
                    </a:lnTo>
                    <a:lnTo>
                      <a:pt x="26" y="91"/>
                    </a:lnTo>
                    <a:lnTo>
                      <a:pt x="24" y="87"/>
                    </a:lnTo>
                    <a:lnTo>
                      <a:pt x="26" y="87"/>
                    </a:lnTo>
                    <a:lnTo>
                      <a:pt x="24" y="84"/>
                    </a:lnTo>
                    <a:lnTo>
                      <a:pt x="24" y="82"/>
                    </a:lnTo>
                    <a:lnTo>
                      <a:pt x="20" y="80"/>
                    </a:lnTo>
                    <a:lnTo>
                      <a:pt x="15" y="80"/>
                    </a:lnTo>
                    <a:lnTo>
                      <a:pt x="15" y="79"/>
                    </a:lnTo>
                    <a:lnTo>
                      <a:pt x="14" y="80"/>
                    </a:lnTo>
                    <a:lnTo>
                      <a:pt x="12" y="79"/>
                    </a:lnTo>
                    <a:lnTo>
                      <a:pt x="10" y="80"/>
                    </a:lnTo>
                    <a:lnTo>
                      <a:pt x="10" y="87"/>
                    </a:lnTo>
                    <a:lnTo>
                      <a:pt x="7" y="84"/>
                    </a:lnTo>
                    <a:lnTo>
                      <a:pt x="5" y="84"/>
                    </a:lnTo>
                    <a:lnTo>
                      <a:pt x="2" y="82"/>
                    </a:lnTo>
                    <a:lnTo>
                      <a:pt x="2" y="79"/>
                    </a:lnTo>
                    <a:lnTo>
                      <a:pt x="0" y="75"/>
                    </a:lnTo>
                    <a:lnTo>
                      <a:pt x="2" y="74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2" y="67"/>
                    </a:lnTo>
                    <a:lnTo>
                      <a:pt x="7" y="65"/>
                    </a:lnTo>
                    <a:lnTo>
                      <a:pt x="7" y="63"/>
                    </a:lnTo>
                    <a:lnTo>
                      <a:pt x="10" y="63"/>
                    </a:lnTo>
                    <a:lnTo>
                      <a:pt x="12" y="62"/>
                    </a:lnTo>
                    <a:lnTo>
                      <a:pt x="15" y="55"/>
                    </a:lnTo>
                    <a:lnTo>
                      <a:pt x="19" y="36"/>
                    </a:lnTo>
                    <a:lnTo>
                      <a:pt x="20" y="34"/>
                    </a:lnTo>
                    <a:lnTo>
                      <a:pt x="20" y="31"/>
                    </a:lnTo>
                    <a:lnTo>
                      <a:pt x="24" y="28"/>
                    </a:lnTo>
                    <a:lnTo>
                      <a:pt x="26" y="26"/>
                    </a:lnTo>
                    <a:lnTo>
                      <a:pt x="29" y="24"/>
                    </a:lnTo>
                    <a:lnTo>
                      <a:pt x="32" y="23"/>
                    </a:lnTo>
                    <a:lnTo>
                      <a:pt x="34" y="19"/>
                    </a:lnTo>
                    <a:lnTo>
                      <a:pt x="36" y="17"/>
                    </a:lnTo>
                    <a:lnTo>
                      <a:pt x="37" y="17"/>
                    </a:lnTo>
                    <a:lnTo>
                      <a:pt x="41" y="17"/>
                    </a:lnTo>
                    <a:lnTo>
                      <a:pt x="44" y="16"/>
                    </a:lnTo>
                    <a:lnTo>
                      <a:pt x="48" y="17"/>
                    </a:lnTo>
                    <a:lnTo>
                      <a:pt x="49" y="16"/>
                    </a:lnTo>
                    <a:lnTo>
                      <a:pt x="49" y="14"/>
                    </a:lnTo>
                    <a:lnTo>
                      <a:pt x="51" y="16"/>
                    </a:lnTo>
                    <a:lnTo>
                      <a:pt x="51" y="17"/>
                    </a:lnTo>
                    <a:lnTo>
                      <a:pt x="53" y="21"/>
                    </a:lnTo>
                    <a:lnTo>
                      <a:pt x="54" y="23"/>
                    </a:lnTo>
                    <a:lnTo>
                      <a:pt x="58" y="21"/>
                    </a:lnTo>
                    <a:lnTo>
                      <a:pt x="60" y="19"/>
                    </a:lnTo>
                    <a:lnTo>
                      <a:pt x="61" y="21"/>
                    </a:lnTo>
                    <a:lnTo>
                      <a:pt x="61" y="17"/>
                    </a:lnTo>
                    <a:lnTo>
                      <a:pt x="65" y="17"/>
                    </a:lnTo>
                    <a:lnTo>
                      <a:pt x="66" y="16"/>
                    </a:lnTo>
                    <a:lnTo>
                      <a:pt x="66" y="12"/>
                    </a:lnTo>
                    <a:lnTo>
                      <a:pt x="68" y="12"/>
                    </a:lnTo>
                    <a:lnTo>
                      <a:pt x="71" y="9"/>
                    </a:lnTo>
                    <a:lnTo>
                      <a:pt x="73" y="6"/>
                    </a:lnTo>
                    <a:lnTo>
                      <a:pt x="75" y="4"/>
                    </a:lnTo>
                    <a:lnTo>
                      <a:pt x="77" y="2"/>
                    </a:lnTo>
                    <a:lnTo>
                      <a:pt x="80" y="2"/>
                    </a:lnTo>
                    <a:lnTo>
                      <a:pt x="80" y="0"/>
                    </a:lnTo>
                    <a:lnTo>
                      <a:pt x="82" y="0"/>
                    </a:lnTo>
                    <a:lnTo>
                      <a:pt x="82" y="2"/>
                    </a:lnTo>
                    <a:lnTo>
                      <a:pt x="82" y="4"/>
                    </a:lnTo>
                    <a:lnTo>
                      <a:pt x="82" y="6"/>
                    </a:lnTo>
                    <a:lnTo>
                      <a:pt x="83" y="7"/>
                    </a:lnTo>
                    <a:lnTo>
                      <a:pt x="87" y="11"/>
                    </a:lnTo>
                    <a:lnTo>
                      <a:pt x="87" y="16"/>
                    </a:lnTo>
                    <a:lnTo>
                      <a:pt x="88" y="16"/>
                    </a:lnTo>
                    <a:lnTo>
                      <a:pt x="90" y="17"/>
                    </a:lnTo>
                    <a:lnTo>
                      <a:pt x="92" y="17"/>
                    </a:lnTo>
                    <a:lnTo>
                      <a:pt x="94" y="19"/>
                    </a:lnTo>
                    <a:lnTo>
                      <a:pt x="95" y="19"/>
                    </a:lnTo>
                    <a:lnTo>
                      <a:pt x="95" y="23"/>
                    </a:lnTo>
                    <a:lnTo>
                      <a:pt x="95" y="24"/>
                    </a:lnTo>
                    <a:lnTo>
                      <a:pt x="97" y="26"/>
                    </a:lnTo>
                    <a:lnTo>
                      <a:pt x="97" y="28"/>
                    </a:lnTo>
                    <a:lnTo>
                      <a:pt x="100" y="29"/>
                    </a:lnTo>
                    <a:lnTo>
                      <a:pt x="100" y="31"/>
                    </a:lnTo>
                    <a:lnTo>
                      <a:pt x="100" y="33"/>
                    </a:lnTo>
                    <a:lnTo>
                      <a:pt x="100" y="34"/>
                    </a:lnTo>
                    <a:lnTo>
                      <a:pt x="99" y="36"/>
                    </a:lnTo>
                    <a:lnTo>
                      <a:pt x="100" y="36"/>
                    </a:lnTo>
                    <a:lnTo>
                      <a:pt x="100" y="40"/>
                    </a:lnTo>
                    <a:lnTo>
                      <a:pt x="99" y="41"/>
                    </a:lnTo>
                    <a:lnTo>
                      <a:pt x="100" y="41"/>
                    </a:lnTo>
                    <a:lnTo>
                      <a:pt x="97" y="46"/>
                    </a:lnTo>
                    <a:lnTo>
                      <a:pt x="99" y="46"/>
                    </a:lnTo>
                    <a:lnTo>
                      <a:pt x="100" y="50"/>
                    </a:lnTo>
                    <a:lnTo>
                      <a:pt x="104" y="53"/>
                    </a:lnTo>
                    <a:lnTo>
                      <a:pt x="100" y="60"/>
                    </a:lnTo>
                    <a:lnTo>
                      <a:pt x="102" y="65"/>
                    </a:lnTo>
                    <a:lnTo>
                      <a:pt x="100" y="67"/>
                    </a:lnTo>
                    <a:lnTo>
                      <a:pt x="99" y="67"/>
                    </a:lnTo>
                    <a:lnTo>
                      <a:pt x="97" y="68"/>
                    </a:lnTo>
                    <a:lnTo>
                      <a:pt x="94" y="67"/>
                    </a:lnTo>
                    <a:lnTo>
                      <a:pt x="92" y="70"/>
                    </a:lnTo>
                    <a:lnTo>
                      <a:pt x="88" y="68"/>
                    </a:lnTo>
                    <a:lnTo>
                      <a:pt x="87" y="70"/>
                    </a:lnTo>
                    <a:lnTo>
                      <a:pt x="85" y="70"/>
                    </a:lnTo>
                    <a:close/>
                  </a:path>
                </a:pathLst>
              </a:custGeom>
              <a:solidFill>
                <a:schemeClr val="accent2"/>
              </a:solidFill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7" name="Freeform 48">
                <a:extLst>
                  <a:ext uri="{FF2B5EF4-FFF2-40B4-BE49-F238E27FC236}">
                    <a16:creationId xmlns:a16="http://schemas.microsoft.com/office/drawing/2014/main" id="{29318221-D931-408E-A266-A62CB15FB88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8194441" y="4468629"/>
                <a:ext cx="23811" cy="30162"/>
              </a:xfrm>
              <a:custGeom>
                <a:avLst/>
                <a:gdLst>
                  <a:gd name="T0" fmla="*/ 5 w 15"/>
                  <a:gd name="T1" fmla="*/ 2 h 19"/>
                  <a:gd name="T2" fmla="*/ 7 w 15"/>
                  <a:gd name="T3" fmla="*/ 4 h 19"/>
                  <a:gd name="T4" fmla="*/ 7 w 15"/>
                  <a:gd name="T5" fmla="*/ 5 h 19"/>
                  <a:gd name="T6" fmla="*/ 8 w 15"/>
                  <a:gd name="T7" fmla="*/ 5 h 19"/>
                  <a:gd name="T8" fmla="*/ 10 w 15"/>
                  <a:gd name="T9" fmla="*/ 5 h 19"/>
                  <a:gd name="T10" fmla="*/ 12 w 15"/>
                  <a:gd name="T11" fmla="*/ 7 h 19"/>
                  <a:gd name="T12" fmla="*/ 12 w 15"/>
                  <a:gd name="T13" fmla="*/ 9 h 19"/>
                  <a:gd name="T14" fmla="*/ 10 w 15"/>
                  <a:gd name="T15" fmla="*/ 11 h 19"/>
                  <a:gd name="T16" fmla="*/ 10 w 15"/>
                  <a:gd name="T17" fmla="*/ 12 h 19"/>
                  <a:gd name="T18" fmla="*/ 12 w 15"/>
                  <a:gd name="T19" fmla="*/ 12 h 19"/>
                  <a:gd name="T20" fmla="*/ 10 w 15"/>
                  <a:gd name="T21" fmla="*/ 14 h 19"/>
                  <a:gd name="T22" fmla="*/ 10 w 15"/>
                  <a:gd name="T23" fmla="*/ 16 h 19"/>
                  <a:gd name="T24" fmla="*/ 8 w 15"/>
                  <a:gd name="T25" fmla="*/ 16 h 19"/>
                  <a:gd name="T26" fmla="*/ 8 w 15"/>
                  <a:gd name="T27" fmla="*/ 17 h 19"/>
                  <a:gd name="T28" fmla="*/ 10 w 15"/>
                  <a:gd name="T29" fmla="*/ 17 h 19"/>
                  <a:gd name="T30" fmla="*/ 8 w 15"/>
                  <a:gd name="T31" fmla="*/ 19 h 19"/>
                  <a:gd name="T32" fmla="*/ 8 w 15"/>
                  <a:gd name="T33" fmla="*/ 17 h 19"/>
                  <a:gd name="T34" fmla="*/ 7 w 15"/>
                  <a:gd name="T35" fmla="*/ 19 h 19"/>
                  <a:gd name="T36" fmla="*/ 5 w 15"/>
                  <a:gd name="T37" fmla="*/ 19 h 19"/>
                  <a:gd name="T38" fmla="*/ 5 w 15"/>
                  <a:gd name="T39" fmla="*/ 17 h 19"/>
                  <a:gd name="T40" fmla="*/ 3 w 15"/>
                  <a:gd name="T41" fmla="*/ 17 h 19"/>
                  <a:gd name="T42" fmla="*/ 5 w 15"/>
                  <a:gd name="T43" fmla="*/ 16 h 19"/>
                  <a:gd name="T44" fmla="*/ 3 w 15"/>
                  <a:gd name="T45" fmla="*/ 14 h 19"/>
                  <a:gd name="T46" fmla="*/ 5 w 15"/>
                  <a:gd name="T47" fmla="*/ 14 h 19"/>
                  <a:gd name="T48" fmla="*/ 5 w 15"/>
                  <a:gd name="T49" fmla="*/ 16 h 19"/>
                  <a:gd name="T50" fmla="*/ 7 w 15"/>
                  <a:gd name="T51" fmla="*/ 16 h 19"/>
                  <a:gd name="T52" fmla="*/ 7 w 15"/>
                  <a:gd name="T53" fmla="*/ 14 h 19"/>
                  <a:gd name="T54" fmla="*/ 5 w 15"/>
                  <a:gd name="T55" fmla="*/ 12 h 19"/>
                  <a:gd name="T56" fmla="*/ 5 w 15"/>
                  <a:gd name="T57" fmla="*/ 11 h 19"/>
                  <a:gd name="T58" fmla="*/ 5 w 15"/>
                  <a:gd name="T59" fmla="*/ 7 h 19"/>
                  <a:gd name="T60" fmla="*/ 1 w 15"/>
                  <a:gd name="T61" fmla="*/ 7 h 19"/>
                  <a:gd name="T62" fmla="*/ 3 w 15"/>
                  <a:gd name="T63" fmla="*/ 5 h 19"/>
                  <a:gd name="T64" fmla="*/ 1 w 15"/>
                  <a:gd name="T65" fmla="*/ 5 h 19"/>
                  <a:gd name="T66" fmla="*/ 1 w 15"/>
                  <a:gd name="T67" fmla="*/ 4 h 19"/>
                  <a:gd name="T68" fmla="*/ 3 w 15"/>
                  <a:gd name="T69" fmla="*/ 4 h 19"/>
                  <a:gd name="T70" fmla="*/ 5 w 15"/>
                  <a:gd name="T71" fmla="*/ 2 h 19"/>
                  <a:gd name="T72" fmla="*/ 12 w 15"/>
                  <a:gd name="T73" fmla="*/ 7 h 19"/>
                  <a:gd name="T74" fmla="*/ 15 w 15"/>
                  <a:gd name="T75" fmla="*/ 7 h 19"/>
                  <a:gd name="T76" fmla="*/ 15 w 15"/>
                  <a:gd name="T77" fmla="*/ 11 h 19"/>
                  <a:gd name="T78" fmla="*/ 12 w 15"/>
                  <a:gd name="T79" fmla="*/ 11 h 19"/>
                  <a:gd name="T80" fmla="*/ 12 w 15"/>
                  <a:gd name="T81" fmla="*/ 7 h 19"/>
                  <a:gd name="T82" fmla="*/ 0 w 15"/>
                  <a:gd name="T83" fmla="*/ 0 h 19"/>
                  <a:gd name="T84" fmla="*/ 1 w 15"/>
                  <a:gd name="T85" fmla="*/ 0 h 19"/>
                  <a:gd name="T86" fmla="*/ 1 w 15"/>
                  <a:gd name="T87" fmla="*/ 2 h 19"/>
                  <a:gd name="T88" fmla="*/ 0 w 15"/>
                  <a:gd name="T89" fmla="*/ 2 h 19"/>
                  <a:gd name="T90" fmla="*/ 0 w 15"/>
                  <a:gd name="T91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5" h="19">
                    <a:moveTo>
                      <a:pt x="5" y="2"/>
                    </a:moveTo>
                    <a:lnTo>
                      <a:pt x="7" y="4"/>
                    </a:lnTo>
                    <a:lnTo>
                      <a:pt x="7" y="5"/>
                    </a:lnTo>
                    <a:lnTo>
                      <a:pt x="8" y="5"/>
                    </a:lnTo>
                    <a:lnTo>
                      <a:pt x="10" y="5"/>
                    </a:lnTo>
                    <a:lnTo>
                      <a:pt x="12" y="7"/>
                    </a:lnTo>
                    <a:lnTo>
                      <a:pt x="12" y="9"/>
                    </a:lnTo>
                    <a:lnTo>
                      <a:pt x="10" y="11"/>
                    </a:lnTo>
                    <a:lnTo>
                      <a:pt x="10" y="12"/>
                    </a:lnTo>
                    <a:lnTo>
                      <a:pt x="12" y="12"/>
                    </a:lnTo>
                    <a:lnTo>
                      <a:pt x="10" y="14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8" y="17"/>
                    </a:lnTo>
                    <a:lnTo>
                      <a:pt x="10" y="17"/>
                    </a:lnTo>
                    <a:lnTo>
                      <a:pt x="8" y="19"/>
                    </a:lnTo>
                    <a:lnTo>
                      <a:pt x="8" y="17"/>
                    </a:lnTo>
                    <a:lnTo>
                      <a:pt x="7" y="19"/>
                    </a:lnTo>
                    <a:lnTo>
                      <a:pt x="5" y="19"/>
                    </a:lnTo>
                    <a:lnTo>
                      <a:pt x="5" y="17"/>
                    </a:lnTo>
                    <a:lnTo>
                      <a:pt x="3" y="17"/>
                    </a:lnTo>
                    <a:lnTo>
                      <a:pt x="5" y="16"/>
                    </a:lnTo>
                    <a:lnTo>
                      <a:pt x="3" y="14"/>
                    </a:lnTo>
                    <a:lnTo>
                      <a:pt x="5" y="14"/>
                    </a:lnTo>
                    <a:lnTo>
                      <a:pt x="5" y="16"/>
                    </a:lnTo>
                    <a:lnTo>
                      <a:pt x="7" y="16"/>
                    </a:lnTo>
                    <a:lnTo>
                      <a:pt x="7" y="14"/>
                    </a:lnTo>
                    <a:lnTo>
                      <a:pt x="5" y="12"/>
                    </a:lnTo>
                    <a:lnTo>
                      <a:pt x="5" y="11"/>
                    </a:lnTo>
                    <a:lnTo>
                      <a:pt x="5" y="7"/>
                    </a:lnTo>
                    <a:lnTo>
                      <a:pt x="1" y="7"/>
                    </a:lnTo>
                    <a:lnTo>
                      <a:pt x="3" y="5"/>
                    </a:lnTo>
                    <a:lnTo>
                      <a:pt x="1" y="5"/>
                    </a:lnTo>
                    <a:lnTo>
                      <a:pt x="1" y="4"/>
                    </a:lnTo>
                    <a:lnTo>
                      <a:pt x="3" y="4"/>
                    </a:lnTo>
                    <a:lnTo>
                      <a:pt x="5" y="2"/>
                    </a:lnTo>
                    <a:close/>
                    <a:moveTo>
                      <a:pt x="12" y="7"/>
                    </a:moveTo>
                    <a:lnTo>
                      <a:pt x="15" y="7"/>
                    </a:lnTo>
                    <a:lnTo>
                      <a:pt x="15" y="11"/>
                    </a:lnTo>
                    <a:lnTo>
                      <a:pt x="12" y="11"/>
                    </a:lnTo>
                    <a:lnTo>
                      <a:pt x="12" y="7"/>
                    </a:lnTo>
                    <a:close/>
                    <a:moveTo>
                      <a:pt x="0" y="0"/>
                    </a:moveTo>
                    <a:lnTo>
                      <a:pt x="1" y="0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8" name="Freeform 49">
                <a:extLst>
                  <a:ext uri="{FF2B5EF4-FFF2-40B4-BE49-F238E27FC236}">
                    <a16:creationId xmlns:a16="http://schemas.microsoft.com/office/drawing/2014/main" id="{196B21B2-5488-471C-AF89-4DD1C3CB472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095730" y="3316151"/>
                <a:ext cx="170581" cy="129781"/>
              </a:xfrm>
              <a:custGeom>
                <a:avLst/>
                <a:gdLst>
                  <a:gd name="T0" fmla="*/ 12 w 51"/>
                  <a:gd name="T1" fmla="*/ 66 h 87"/>
                  <a:gd name="T2" fmla="*/ 14 w 51"/>
                  <a:gd name="T3" fmla="*/ 68 h 87"/>
                  <a:gd name="T4" fmla="*/ 12 w 51"/>
                  <a:gd name="T5" fmla="*/ 68 h 87"/>
                  <a:gd name="T6" fmla="*/ 14 w 51"/>
                  <a:gd name="T7" fmla="*/ 70 h 87"/>
                  <a:gd name="T8" fmla="*/ 16 w 51"/>
                  <a:gd name="T9" fmla="*/ 71 h 87"/>
                  <a:gd name="T10" fmla="*/ 14 w 51"/>
                  <a:gd name="T11" fmla="*/ 73 h 87"/>
                  <a:gd name="T12" fmla="*/ 14 w 51"/>
                  <a:gd name="T13" fmla="*/ 75 h 87"/>
                  <a:gd name="T14" fmla="*/ 9 w 51"/>
                  <a:gd name="T15" fmla="*/ 80 h 87"/>
                  <a:gd name="T16" fmla="*/ 10 w 51"/>
                  <a:gd name="T17" fmla="*/ 82 h 87"/>
                  <a:gd name="T18" fmla="*/ 7 w 51"/>
                  <a:gd name="T19" fmla="*/ 83 h 87"/>
                  <a:gd name="T20" fmla="*/ 5 w 51"/>
                  <a:gd name="T21" fmla="*/ 82 h 87"/>
                  <a:gd name="T22" fmla="*/ 5 w 51"/>
                  <a:gd name="T23" fmla="*/ 85 h 87"/>
                  <a:gd name="T24" fmla="*/ 4 w 51"/>
                  <a:gd name="T25" fmla="*/ 83 h 87"/>
                  <a:gd name="T26" fmla="*/ 4 w 51"/>
                  <a:gd name="T27" fmla="*/ 85 h 87"/>
                  <a:gd name="T28" fmla="*/ 2 w 51"/>
                  <a:gd name="T29" fmla="*/ 83 h 87"/>
                  <a:gd name="T30" fmla="*/ 4 w 51"/>
                  <a:gd name="T31" fmla="*/ 82 h 87"/>
                  <a:gd name="T32" fmla="*/ 2 w 51"/>
                  <a:gd name="T33" fmla="*/ 82 h 87"/>
                  <a:gd name="T34" fmla="*/ 0 w 51"/>
                  <a:gd name="T35" fmla="*/ 76 h 87"/>
                  <a:gd name="T36" fmla="*/ 0 w 51"/>
                  <a:gd name="T37" fmla="*/ 73 h 87"/>
                  <a:gd name="T38" fmla="*/ 2 w 51"/>
                  <a:gd name="T39" fmla="*/ 70 h 87"/>
                  <a:gd name="T40" fmla="*/ 4 w 51"/>
                  <a:gd name="T41" fmla="*/ 68 h 87"/>
                  <a:gd name="T42" fmla="*/ 5 w 51"/>
                  <a:gd name="T43" fmla="*/ 68 h 87"/>
                  <a:gd name="T44" fmla="*/ 7 w 51"/>
                  <a:gd name="T45" fmla="*/ 66 h 87"/>
                  <a:gd name="T46" fmla="*/ 12 w 51"/>
                  <a:gd name="T47" fmla="*/ 66 h 87"/>
                  <a:gd name="T48" fmla="*/ 51 w 51"/>
                  <a:gd name="T49" fmla="*/ 2 h 87"/>
                  <a:gd name="T50" fmla="*/ 50 w 51"/>
                  <a:gd name="T51" fmla="*/ 3 h 87"/>
                  <a:gd name="T52" fmla="*/ 51 w 51"/>
                  <a:gd name="T53" fmla="*/ 5 h 87"/>
                  <a:gd name="T54" fmla="*/ 50 w 51"/>
                  <a:gd name="T55" fmla="*/ 5 h 87"/>
                  <a:gd name="T56" fmla="*/ 50 w 51"/>
                  <a:gd name="T57" fmla="*/ 8 h 87"/>
                  <a:gd name="T58" fmla="*/ 48 w 51"/>
                  <a:gd name="T59" fmla="*/ 8 h 87"/>
                  <a:gd name="T60" fmla="*/ 46 w 51"/>
                  <a:gd name="T61" fmla="*/ 7 h 87"/>
                  <a:gd name="T62" fmla="*/ 44 w 51"/>
                  <a:gd name="T63" fmla="*/ 8 h 87"/>
                  <a:gd name="T64" fmla="*/ 44 w 51"/>
                  <a:gd name="T65" fmla="*/ 5 h 87"/>
                  <a:gd name="T66" fmla="*/ 46 w 51"/>
                  <a:gd name="T67" fmla="*/ 5 h 87"/>
                  <a:gd name="T68" fmla="*/ 46 w 51"/>
                  <a:gd name="T69" fmla="*/ 2 h 87"/>
                  <a:gd name="T70" fmla="*/ 48 w 51"/>
                  <a:gd name="T71" fmla="*/ 0 h 87"/>
                  <a:gd name="T72" fmla="*/ 51 w 51"/>
                  <a:gd name="T73" fmla="*/ 2 h 87"/>
                  <a:gd name="T74" fmla="*/ 2 w 51"/>
                  <a:gd name="T75" fmla="*/ 87 h 87"/>
                  <a:gd name="T76" fmla="*/ 4 w 51"/>
                  <a:gd name="T77" fmla="*/ 87 h 87"/>
                  <a:gd name="T78" fmla="*/ 2 w 51"/>
                  <a:gd name="T79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1" h="87">
                    <a:moveTo>
                      <a:pt x="12" y="66"/>
                    </a:moveTo>
                    <a:lnTo>
                      <a:pt x="14" y="68"/>
                    </a:lnTo>
                    <a:lnTo>
                      <a:pt x="12" y="68"/>
                    </a:lnTo>
                    <a:lnTo>
                      <a:pt x="14" y="70"/>
                    </a:lnTo>
                    <a:lnTo>
                      <a:pt x="16" y="71"/>
                    </a:lnTo>
                    <a:lnTo>
                      <a:pt x="14" y="73"/>
                    </a:lnTo>
                    <a:lnTo>
                      <a:pt x="14" y="75"/>
                    </a:lnTo>
                    <a:lnTo>
                      <a:pt x="9" y="80"/>
                    </a:lnTo>
                    <a:lnTo>
                      <a:pt x="10" y="82"/>
                    </a:lnTo>
                    <a:lnTo>
                      <a:pt x="7" y="83"/>
                    </a:lnTo>
                    <a:lnTo>
                      <a:pt x="5" y="82"/>
                    </a:lnTo>
                    <a:lnTo>
                      <a:pt x="5" y="85"/>
                    </a:lnTo>
                    <a:lnTo>
                      <a:pt x="4" y="83"/>
                    </a:lnTo>
                    <a:lnTo>
                      <a:pt x="4" y="85"/>
                    </a:lnTo>
                    <a:lnTo>
                      <a:pt x="2" y="83"/>
                    </a:lnTo>
                    <a:lnTo>
                      <a:pt x="4" y="82"/>
                    </a:lnTo>
                    <a:lnTo>
                      <a:pt x="2" y="82"/>
                    </a:lnTo>
                    <a:lnTo>
                      <a:pt x="0" y="76"/>
                    </a:lnTo>
                    <a:lnTo>
                      <a:pt x="0" y="73"/>
                    </a:lnTo>
                    <a:lnTo>
                      <a:pt x="2" y="70"/>
                    </a:lnTo>
                    <a:lnTo>
                      <a:pt x="4" y="68"/>
                    </a:lnTo>
                    <a:lnTo>
                      <a:pt x="5" y="68"/>
                    </a:lnTo>
                    <a:lnTo>
                      <a:pt x="7" y="66"/>
                    </a:lnTo>
                    <a:lnTo>
                      <a:pt x="12" y="66"/>
                    </a:lnTo>
                    <a:close/>
                    <a:moveTo>
                      <a:pt x="51" y="2"/>
                    </a:moveTo>
                    <a:lnTo>
                      <a:pt x="50" y="3"/>
                    </a:lnTo>
                    <a:lnTo>
                      <a:pt x="51" y="5"/>
                    </a:lnTo>
                    <a:lnTo>
                      <a:pt x="50" y="5"/>
                    </a:lnTo>
                    <a:lnTo>
                      <a:pt x="50" y="8"/>
                    </a:lnTo>
                    <a:lnTo>
                      <a:pt x="48" y="8"/>
                    </a:lnTo>
                    <a:lnTo>
                      <a:pt x="46" y="7"/>
                    </a:lnTo>
                    <a:lnTo>
                      <a:pt x="44" y="8"/>
                    </a:lnTo>
                    <a:lnTo>
                      <a:pt x="44" y="5"/>
                    </a:lnTo>
                    <a:lnTo>
                      <a:pt x="46" y="5"/>
                    </a:lnTo>
                    <a:lnTo>
                      <a:pt x="46" y="2"/>
                    </a:lnTo>
                    <a:lnTo>
                      <a:pt x="48" y="0"/>
                    </a:lnTo>
                    <a:lnTo>
                      <a:pt x="51" y="2"/>
                    </a:lnTo>
                    <a:close/>
                    <a:moveTo>
                      <a:pt x="2" y="87"/>
                    </a:moveTo>
                    <a:lnTo>
                      <a:pt x="4" y="87"/>
                    </a:lnTo>
                    <a:lnTo>
                      <a:pt x="2" y="87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99" name="Freeform 50">
                <a:extLst>
                  <a:ext uri="{FF2B5EF4-FFF2-40B4-BE49-F238E27FC236}">
                    <a16:creationId xmlns:a16="http://schemas.microsoft.com/office/drawing/2014/main" id="{51F3FB35-D3CA-475F-9B63-71A0D429271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166973" y="2111287"/>
                <a:ext cx="496873" cy="350823"/>
              </a:xfrm>
              <a:custGeom>
                <a:avLst/>
                <a:gdLst>
                  <a:gd name="T0" fmla="*/ 270 w 313"/>
                  <a:gd name="T1" fmla="*/ 107 h 221"/>
                  <a:gd name="T2" fmla="*/ 279 w 313"/>
                  <a:gd name="T3" fmla="*/ 121 h 221"/>
                  <a:gd name="T4" fmla="*/ 279 w 313"/>
                  <a:gd name="T5" fmla="*/ 153 h 221"/>
                  <a:gd name="T6" fmla="*/ 296 w 313"/>
                  <a:gd name="T7" fmla="*/ 167 h 221"/>
                  <a:gd name="T8" fmla="*/ 304 w 313"/>
                  <a:gd name="T9" fmla="*/ 179 h 221"/>
                  <a:gd name="T10" fmla="*/ 313 w 313"/>
                  <a:gd name="T11" fmla="*/ 189 h 221"/>
                  <a:gd name="T12" fmla="*/ 309 w 313"/>
                  <a:gd name="T13" fmla="*/ 204 h 221"/>
                  <a:gd name="T14" fmla="*/ 311 w 313"/>
                  <a:gd name="T15" fmla="*/ 213 h 221"/>
                  <a:gd name="T16" fmla="*/ 292 w 313"/>
                  <a:gd name="T17" fmla="*/ 218 h 221"/>
                  <a:gd name="T18" fmla="*/ 256 w 313"/>
                  <a:gd name="T19" fmla="*/ 216 h 221"/>
                  <a:gd name="T20" fmla="*/ 233 w 313"/>
                  <a:gd name="T21" fmla="*/ 213 h 221"/>
                  <a:gd name="T22" fmla="*/ 217 w 313"/>
                  <a:gd name="T23" fmla="*/ 204 h 221"/>
                  <a:gd name="T24" fmla="*/ 132 w 313"/>
                  <a:gd name="T25" fmla="*/ 203 h 221"/>
                  <a:gd name="T26" fmla="*/ 68 w 313"/>
                  <a:gd name="T27" fmla="*/ 215 h 221"/>
                  <a:gd name="T28" fmla="*/ 37 w 313"/>
                  <a:gd name="T29" fmla="*/ 215 h 221"/>
                  <a:gd name="T30" fmla="*/ 44 w 313"/>
                  <a:gd name="T31" fmla="*/ 216 h 221"/>
                  <a:gd name="T32" fmla="*/ 54 w 313"/>
                  <a:gd name="T33" fmla="*/ 208 h 221"/>
                  <a:gd name="T34" fmla="*/ 51 w 313"/>
                  <a:gd name="T35" fmla="*/ 203 h 221"/>
                  <a:gd name="T36" fmla="*/ 44 w 313"/>
                  <a:gd name="T37" fmla="*/ 191 h 221"/>
                  <a:gd name="T38" fmla="*/ 42 w 313"/>
                  <a:gd name="T39" fmla="*/ 201 h 221"/>
                  <a:gd name="T40" fmla="*/ 41 w 313"/>
                  <a:gd name="T41" fmla="*/ 184 h 221"/>
                  <a:gd name="T42" fmla="*/ 98 w 313"/>
                  <a:gd name="T43" fmla="*/ 169 h 221"/>
                  <a:gd name="T44" fmla="*/ 132 w 313"/>
                  <a:gd name="T45" fmla="*/ 164 h 221"/>
                  <a:gd name="T46" fmla="*/ 158 w 313"/>
                  <a:gd name="T47" fmla="*/ 174 h 221"/>
                  <a:gd name="T48" fmla="*/ 187 w 313"/>
                  <a:gd name="T49" fmla="*/ 169 h 221"/>
                  <a:gd name="T50" fmla="*/ 158 w 313"/>
                  <a:gd name="T51" fmla="*/ 162 h 221"/>
                  <a:gd name="T52" fmla="*/ 129 w 313"/>
                  <a:gd name="T53" fmla="*/ 147 h 221"/>
                  <a:gd name="T54" fmla="*/ 78 w 313"/>
                  <a:gd name="T55" fmla="*/ 157 h 221"/>
                  <a:gd name="T56" fmla="*/ 49 w 313"/>
                  <a:gd name="T57" fmla="*/ 157 h 221"/>
                  <a:gd name="T58" fmla="*/ 54 w 313"/>
                  <a:gd name="T59" fmla="*/ 143 h 221"/>
                  <a:gd name="T60" fmla="*/ 49 w 313"/>
                  <a:gd name="T61" fmla="*/ 136 h 221"/>
                  <a:gd name="T62" fmla="*/ 37 w 313"/>
                  <a:gd name="T63" fmla="*/ 131 h 221"/>
                  <a:gd name="T64" fmla="*/ 17 w 313"/>
                  <a:gd name="T65" fmla="*/ 102 h 221"/>
                  <a:gd name="T66" fmla="*/ 3 w 313"/>
                  <a:gd name="T67" fmla="*/ 102 h 221"/>
                  <a:gd name="T68" fmla="*/ 51 w 313"/>
                  <a:gd name="T69" fmla="*/ 44 h 221"/>
                  <a:gd name="T70" fmla="*/ 59 w 313"/>
                  <a:gd name="T71" fmla="*/ 22 h 221"/>
                  <a:gd name="T72" fmla="*/ 68 w 313"/>
                  <a:gd name="T73" fmla="*/ 9 h 221"/>
                  <a:gd name="T74" fmla="*/ 86 w 313"/>
                  <a:gd name="T75" fmla="*/ 9 h 221"/>
                  <a:gd name="T76" fmla="*/ 117 w 313"/>
                  <a:gd name="T77" fmla="*/ 7 h 221"/>
                  <a:gd name="T78" fmla="*/ 131 w 313"/>
                  <a:gd name="T79" fmla="*/ 0 h 221"/>
                  <a:gd name="T80" fmla="*/ 141 w 313"/>
                  <a:gd name="T81" fmla="*/ 4 h 221"/>
                  <a:gd name="T82" fmla="*/ 161 w 313"/>
                  <a:gd name="T83" fmla="*/ 2 h 221"/>
                  <a:gd name="T84" fmla="*/ 177 w 313"/>
                  <a:gd name="T85" fmla="*/ 17 h 221"/>
                  <a:gd name="T86" fmla="*/ 185 w 313"/>
                  <a:gd name="T87" fmla="*/ 27 h 221"/>
                  <a:gd name="T88" fmla="*/ 204 w 313"/>
                  <a:gd name="T89" fmla="*/ 29 h 221"/>
                  <a:gd name="T90" fmla="*/ 216 w 313"/>
                  <a:gd name="T91" fmla="*/ 46 h 221"/>
                  <a:gd name="T92" fmla="*/ 231 w 313"/>
                  <a:gd name="T93" fmla="*/ 60 h 221"/>
                  <a:gd name="T94" fmla="*/ 238 w 313"/>
                  <a:gd name="T95" fmla="*/ 75 h 221"/>
                  <a:gd name="T96" fmla="*/ 258 w 313"/>
                  <a:gd name="T97" fmla="*/ 90 h 221"/>
                  <a:gd name="T98" fmla="*/ 51 w 313"/>
                  <a:gd name="T99" fmla="*/ 141 h 221"/>
                  <a:gd name="T100" fmla="*/ 52 w 313"/>
                  <a:gd name="T101" fmla="*/ 145 h 221"/>
                  <a:gd name="T102" fmla="*/ 52 w 313"/>
                  <a:gd name="T103" fmla="*/ 143 h 221"/>
                  <a:gd name="T104" fmla="*/ 44 w 313"/>
                  <a:gd name="T105" fmla="*/ 201 h 221"/>
                  <a:gd name="T106" fmla="*/ 46 w 313"/>
                  <a:gd name="T107" fmla="*/ 192 h 221"/>
                  <a:gd name="T108" fmla="*/ 41 w 313"/>
                  <a:gd name="T109" fmla="*/ 143 h 221"/>
                  <a:gd name="T110" fmla="*/ 46 w 313"/>
                  <a:gd name="T111" fmla="*/ 201 h 221"/>
                  <a:gd name="T112" fmla="*/ 46 w 313"/>
                  <a:gd name="T113" fmla="*/ 198 h 221"/>
                  <a:gd name="T114" fmla="*/ 44 w 313"/>
                  <a:gd name="T115" fmla="*/ 211 h 221"/>
                  <a:gd name="T116" fmla="*/ 47 w 313"/>
                  <a:gd name="T117" fmla="*/ 147 h 221"/>
                  <a:gd name="T118" fmla="*/ 42 w 313"/>
                  <a:gd name="T119" fmla="*/ 215 h 221"/>
                  <a:gd name="T120" fmla="*/ 39 w 313"/>
                  <a:gd name="T121" fmla="*/ 145 h 221"/>
                  <a:gd name="T122" fmla="*/ 42 w 313"/>
                  <a:gd name="T123" fmla="*/ 215 h 221"/>
                  <a:gd name="T124" fmla="*/ 51 w 313"/>
                  <a:gd name="T125" fmla="*/ 152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3" h="221">
                    <a:moveTo>
                      <a:pt x="268" y="97"/>
                    </a:moveTo>
                    <a:lnTo>
                      <a:pt x="268" y="99"/>
                    </a:lnTo>
                    <a:lnTo>
                      <a:pt x="270" y="99"/>
                    </a:lnTo>
                    <a:lnTo>
                      <a:pt x="270" y="101"/>
                    </a:lnTo>
                    <a:lnTo>
                      <a:pt x="272" y="101"/>
                    </a:lnTo>
                    <a:lnTo>
                      <a:pt x="272" y="102"/>
                    </a:lnTo>
                    <a:lnTo>
                      <a:pt x="273" y="104"/>
                    </a:lnTo>
                    <a:lnTo>
                      <a:pt x="272" y="104"/>
                    </a:lnTo>
                    <a:lnTo>
                      <a:pt x="272" y="106"/>
                    </a:lnTo>
                    <a:lnTo>
                      <a:pt x="270" y="107"/>
                    </a:lnTo>
                    <a:lnTo>
                      <a:pt x="268" y="111"/>
                    </a:lnTo>
                    <a:lnTo>
                      <a:pt x="270" y="113"/>
                    </a:lnTo>
                    <a:lnTo>
                      <a:pt x="270" y="114"/>
                    </a:lnTo>
                    <a:lnTo>
                      <a:pt x="270" y="116"/>
                    </a:lnTo>
                    <a:lnTo>
                      <a:pt x="272" y="116"/>
                    </a:lnTo>
                    <a:lnTo>
                      <a:pt x="273" y="116"/>
                    </a:lnTo>
                    <a:lnTo>
                      <a:pt x="273" y="118"/>
                    </a:lnTo>
                    <a:lnTo>
                      <a:pt x="275" y="118"/>
                    </a:lnTo>
                    <a:lnTo>
                      <a:pt x="275" y="121"/>
                    </a:lnTo>
                    <a:lnTo>
                      <a:pt x="279" y="121"/>
                    </a:lnTo>
                    <a:lnTo>
                      <a:pt x="280" y="126"/>
                    </a:lnTo>
                    <a:lnTo>
                      <a:pt x="280" y="128"/>
                    </a:lnTo>
                    <a:lnTo>
                      <a:pt x="279" y="135"/>
                    </a:lnTo>
                    <a:lnTo>
                      <a:pt x="280" y="136"/>
                    </a:lnTo>
                    <a:lnTo>
                      <a:pt x="284" y="140"/>
                    </a:lnTo>
                    <a:lnTo>
                      <a:pt x="284" y="143"/>
                    </a:lnTo>
                    <a:lnTo>
                      <a:pt x="282" y="147"/>
                    </a:lnTo>
                    <a:lnTo>
                      <a:pt x="279" y="148"/>
                    </a:lnTo>
                    <a:lnTo>
                      <a:pt x="277" y="150"/>
                    </a:lnTo>
                    <a:lnTo>
                      <a:pt x="279" y="153"/>
                    </a:lnTo>
                    <a:lnTo>
                      <a:pt x="279" y="155"/>
                    </a:lnTo>
                    <a:lnTo>
                      <a:pt x="282" y="160"/>
                    </a:lnTo>
                    <a:lnTo>
                      <a:pt x="287" y="164"/>
                    </a:lnTo>
                    <a:lnTo>
                      <a:pt x="285" y="167"/>
                    </a:lnTo>
                    <a:lnTo>
                      <a:pt x="289" y="170"/>
                    </a:lnTo>
                    <a:lnTo>
                      <a:pt x="290" y="170"/>
                    </a:lnTo>
                    <a:lnTo>
                      <a:pt x="292" y="170"/>
                    </a:lnTo>
                    <a:lnTo>
                      <a:pt x="294" y="165"/>
                    </a:lnTo>
                    <a:lnTo>
                      <a:pt x="296" y="165"/>
                    </a:lnTo>
                    <a:lnTo>
                      <a:pt x="296" y="167"/>
                    </a:lnTo>
                    <a:lnTo>
                      <a:pt x="299" y="167"/>
                    </a:lnTo>
                    <a:lnTo>
                      <a:pt x="299" y="169"/>
                    </a:lnTo>
                    <a:lnTo>
                      <a:pt x="301" y="169"/>
                    </a:lnTo>
                    <a:lnTo>
                      <a:pt x="301" y="170"/>
                    </a:lnTo>
                    <a:lnTo>
                      <a:pt x="302" y="172"/>
                    </a:lnTo>
                    <a:lnTo>
                      <a:pt x="304" y="174"/>
                    </a:lnTo>
                    <a:lnTo>
                      <a:pt x="304" y="175"/>
                    </a:lnTo>
                    <a:lnTo>
                      <a:pt x="304" y="177"/>
                    </a:lnTo>
                    <a:lnTo>
                      <a:pt x="306" y="177"/>
                    </a:lnTo>
                    <a:lnTo>
                      <a:pt x="304" y="179"/>
                    </a:lnTo>
                    <a:lnTo>
                      <a:pt x="307" y="182"/>
                    </a:lnTo>
                    <a:lnTo>
                      <a:pt x="309" y="182"/>
                    </a:lnTo>
                    <a:lnTo>
                      <a:pt x="309" y="184"/>
                    </a:lnTo>
                    <a:lnTo>
                      <a:pt x="311" y="186"/>
                    </a:lnTo>
                    <a:lnTo>
                      <a:pt x="309" y="187"/>
                    </a:lnTo>
                    <a:lnTo>
                      <a:pt x="309" y="189"/>
                    </a:lnTo>
                    <a:lnTo>
                      <a:pt x="311" y="189"/>
                    </a:lnTo>
                    <a:lnTo>
                      <a:pt x="311" y="187"/>
                    </a:lnTo>
                    <a:lnTo>
                      <a:pt x="313" y="187"/>
                    </a:lnTo>
                    <a:lnTo>
                      <a:pt x="313" y="189"/>
                    </a:lnTo>
                    <a:lnTo>
                      <a:pt x="311" y="191"/>
                    </a:lnTo>
                    <a:lnTo>
                      <a:pt x="311" y="192"/>
                    </a:lnTo>
                    <a:lnTo>
                      <a:pt x="311" y="194"/>
                    </a:lnTo>
                    <a:lnTo>
                      <a:pt x="311" y="196"/>
                    </a:lnTo>
                    <a:lnTo>
                      <a:pt x="311" y="198"/>
                    </a:lnTo>
                    <a:lnTo>
                      <a:pt x="313" y="201"/>
                    </a:lnTo>
                    <a:lnTo>
                      <a:pt x="309" y="201"/>
                    </a:lnTo>
                    <a:lnTo>
                      <a:pt x="309" y="203"/>
                    </a:lnTo>
                    <a:lnTo>
                      <a:pt x="307" y="203"/>
                    </a:lnTo>
                    <a:lnTo>
                      <a:pt x="309" y="204"/>
                    </a:lnTo>
                    <a:lnTo>
                      <a:pt x="311" y="206"/>
                    </a:lnTo>
                    <a:lnTo>
                      <a:pt x="309" y="206"/>
                    </a:lnTo>
                    <a:lnTo>
                      <a:pt x="311" y="208"/>
                    </a:lnTo>
                    <a:lnTo>
                      <a:pt x="309" y="210"/>
                    </a:lnTo>
                    <a:lnTo>
                      <a:pt x="307" y="210"/>
                    </a:lnTo>
                    <a:lnTo>
                      <a:pt x="309" y="210"/>
                    </a:lnTo>
                    <a:lnTo>
                      <a:pt x="309" y="211"/>
                    </a:lnTo>
                    <a:lnTo>
                      <a:pt x="311" y="211"/>
                    </a:lnTo>
                    <a:lnTo>
                      <a:pt x="311" y="210"/>
                    </a:lnTo>
                    <a:lnTo>
                      <a:pt x="311" y="213"/>
                    </a:lnTo>
                    <a:lnTo>
                      <a:pt x="313" y="213"/>
                    </a:lnTo>
                    <a:lnTo>
                      <a:pt x="313" y="211"/>
                    </a:lnTo>
                    <a:lnTo>
                      <a:pt x="313" y="213"/>
                    </a:lnTo>
                    <a:lnTo>
                      <a:pt x="313" y="215"/>
                    </a:lnTo>
                    <a:lnTo>
                      <a:pt x="313" y="216"/>
                    </a:lnTo>
                    <a:lnTo>
                      <a:pt x="307" y="215"/>
                    </a:lnTo>
                    <a:lnTo>
                      <a:pt x="304" y="215"/>
                    </a:lnTo>
                    <a:lnTo>
                      <a:pt x="297" y="216"/>
                    </a:lnTo>
                    <a:lnTo>
                      <a:pt x="296" y="218"/>
                    </a:lnTo>
                    <a:lnTo>
                      <a:pt x="292" y="218"/>
                    </a:lnTo>
                    <a:lnTo>
                      <a:pt x="289" y="218"/>
                    </a:lnTo>
                    <a:lnTo>
                      <a:pt x="285" y="216"/>
                    </a:lnTo>
                    <a:lnTo>
                      <a:pt x="280" y="218"/>
                    </a:lnTo>
                    <a:lnTo>
                      <a:pt x="279" y="216"/>
                    </a:lnTo>
                    <a:lnTo>
                      <a:pt x="275" y="216"/>
                    </a:lnTo>
                    <a:lnTo>
                      <a:pt x="272" y="220"/>
                    </a:lnTo>
                    <a:lnTo>
                      <a:pt x="268" y="220"/>
                    </a:lnTo>
                    <a:lnTo>
                      <a:pt x="263" y="221"/>
                    </a:lnTo>
                    <a:lnTo>
                      <a:pt x="260" y="220"/>
                    </a:lnTo>
                    <a:lnTo>
                      <a:pt x="256" y="216"/>
                    </a:lnTo>
                    <a:lnTo>
                      <a:pt x="255" y="216"/>
                    </a:lnTo>
                    <a:lnTo>
                      <a:pt x="251" y="218"/>
                    </a:lnTo>
                    <a:lnTo>
                      <a:pt x="248" y="215"/>
                    </a:lnTo>
                    <a:lnTo>
                      <a:pt x="243" y="216"/>
                    </a:lnTo>
                    <a:lnTo>
                      <a:pt x="241" y="213"/>
                    </a:lnTo>
                    <a:lnTo>
                      <a:pt x="238" y="213"/>
                    </a:lnTo>
                    <a:lnTo>
                      <a:pt x="238" y="211"/>
                    </a:lnTo>
                    <a:lnTo>
                      <a:pt x="234" y="210"/>
                    </a:lnTo>
                    <a:lnTo>
                      <a:pt x="233" y="211"/>
                    </a:lnTo>
                    <a:lnTo>
                      <a:pt x="233" y="213"/>
                    </a:lnTo>
                    <a:lnTo>
                      <a:pt x="231" y="215"/>
                    </a:lnTo>
                    <a:lnTo>
                      <a:pt x="226" y="213"/>
                    </a:lnTo>
                    <a:lnTo>
                      <a:pt x="226" y="210"/>
                    </a:lnTo>
                    <a:lnTo>
                      <a:pt x="228" y="208"/>
                    </a:lnTo>
                    <a:lnTo>
                      <a:pt x="226" y="204"/>
                    </a:lnTo>
                    <a:lnTo>
                      <a:pt x="224" y="206"/>
                    </a:lnTo>
                    <a:lnTo>
                      <a:pt x="221" y="204"/>
                    </a:lnTo>
                    <a:lnTo>
                      <a:pt x="221" y="206"/>
                    </a:lnTo>
                    <a:lnTo>
                      <a:pt x="219" y="204"/>
                    </a:lnTo>
                    <a:lnTo>
                      <a:pt x="217" y="204"/>
                    </a:lnTo>
                    <a:lnTo>
                      <a:pt x="216" y="204"/>
                    </a:lnTo>
                    <a:lnTo>
                      <a:pt x="214" y="204"/>
                    </a:lnTo>
                    <a:lnTo>
                      <a:pt x="212" y="204"/>
                    </a:lnTo>
                    <a:lnTo>
                      <a:pt x="194" y="203"/>
                    </a:lnTo>
                    <a:lnTo>
                      <a:pt x="173" y="203"/>
                    </a:lnTo>
                    <a:lnTo>
                      <a:pt x="163" y="203"/>
                    </a:lnTo>
                    <a:lnTo>
                      <a:pt x="161" y="203"/>
                    </a:lnTo>
                    <a:lnTo>
                      <a:pt x="146" y="203"/>
                    </a:lnTo>
                    <a:lnTo>
                      <a:pt x="134" y="203"/>
                    </a:lnTo>
                    <a:lnTo>
                      <a:pt x="132" y="203"/>
                    </a:lnTo>
                    <a:lnTo>
                      <a:pt x="120" y="203"/>
                    </a:lnTo>
                    <a:lnTo>
                      <a:pt x="112" y="206"/>
                    </a:lnTo>
                    <a:lnTo>
                      <a:pt x="105" y="211"/>
                    </a:lnTo>
                    <a:lnTo>
                      <a:pt x="95" y="216"/>
                    </a:lnTo>
                    <a:lnTo>
                      <a:pt x="83" y="215"/>
                    </a:lnTo>
                    <a:lnTo>
                      <a:pt x="80" y="215"/>
                    </a:lnTo>
                    <a:lnTo>
                      <a:pt x="76" y="213"/>
                    </a:lnTo>
                    <a:lnTo>
                      <a:pt x="73" y="213"/>
                    </a:lnTo>
                    <a:lnTo>
                      <a:pt x="69" y="215"/>
                    </a:lnTo>
                    <a:lnTo>
                      <a:pt x="68" y="215"/>
                    </a:lnTo>
                    <a:lnTo>
                      <a:pt x="59" y="218"/>
                    </a:lnTo>
                    <a:lnTo>
                      <a:pt x="58" y="220"/>
                    </a:lnTo>
                    <a:lnTo>
                      <a:pt x="56" y="218"/>
                    </a:lnTo>
                    <a:lnTo>
                      <a:pt x="51" y="220"/>
                    </a:lnTo>
                    <a:lnTo>
                      <a:pt x="47" y="220"/>
                    </a:lnTo>
                    <a:lnTo>
                      <a:pt x="42" y="220"/>
                    </a:lnTo>
                    <a:lnTo>
                      <a:pt x="41" y="220"/>
                    </a:lnTo>
                    <a:lnTo>
                      <a:pt x="41" y="218"/>
                    </a:lnTo>
                    <a:lnTo>
                      <a:pt x="39" y="216"/>
                    </a:lnTo>
                    <a:lnTo>
                      <a:pt x="37" y="215"/>
                    </a:lnTo>
                    <a:lnTo>
                      <a:pt x="37" y="213"/>
                    </a:lnTo>
                    <a:lnTo>
                      <a:pt x="39" y="210"/>
                    </a:lnTo>
                    <a:lnTo>
                      <a:pt x="41" y="210"/>
                    </a:lnTo>
                    <a:lnTo>
                      <a:pt x="41" y="211"/>
                    </a:lnTo>
                    <a:lnTo>
                      <a:pt x="44" y="213"/>
                    </a:lnTo>
                    <a:lnTo>
                      <a:pt x="42" y="213"/>
                    </a:lnTo>
                    <a:lnTo>
                      <a:pt x="42" y="215"/>
                    </a:lnTo>
                    <a:lnTo>
                      <a:pt x="41" y="215"/>
                    </a:lnTo>
                    <a:lnTo>
                      <a:pt x="42" y="215"/>
                    </a:lnTo>
                    <a:lnTo>
                      <a:pt x="44" y="216"/>
                    </a:lnTo>
                    <a:lnTo>
                      <a:pt x="44" y="215"/>
                    </a:lnTo>
                    <a:lnTo>
                      <a:pt x="42" y="213"/>
                    </a:lnTo>
                    <a:lnTo>
                      <a:pt x="44" y="213"/>
                    </a:lnTo>
                    <a:lnTo>
                      <a:pt x="44" y="210"/>
                    </a:lnTo>
                    <a:lnTo>
                      <a:pt x="46" y="208"/>
                    </a:lnTo>
                    <a:lnTo>
                      <a:pt x="47" y="204"/>
                    </a:lnTo>
                    <a:lnTo>
                      <a:pt x="51" y="206"/>
                    </a:lnTo>
                    <a:lnTo>
                      <a:pt x="51" y="208"/>
                    </a:lnTo>
                    <a:lnTo>
                      <a:pt x="52" y="208"/>
                    </a:lnTo>
                    <a:lnTo>
                      <a:pt x="54" y="208"/>
                    </a:lnTo>
                    <a:lnTo>
                      <a:pt x="56" y="210"/>
                    </a:lnTo>
                    <a:lnTo>
                      <a:pt x="58" y="208"/>
                    </a:lnTo>
                    <a:lnTo>
                      <a:pt x="56" y="208"/>
                    </a:lnTo>
                    <a:lnTo>
                      <a:pt x="56" y="206"/>
                    </a:lnTo>
                    <a:lnTo>
                      <a:pt x="56" y="208"/>
                    </a:lnTo>
                    <a:lnTo>
                      <a:pt x="54" y="206"/>
                    </a:lnTo>
                    <a:lnTo>
                      <a:pt x="52" y="204"/>
                    </a:lnTo>
                    <a:lnTo>
                      <a:pt x="52" y="206"/>
                    </a:lnTo>
                    <a:lnTo>
                      <a:pt x="49" y="203"/>
                    </a:lnTo>
                    <a:lnTo>
                      <a:pt x="51" y="203"/>
                    </a:lnTo>
                    <a:lnTo>
                      <a:pt x="51" y="201"/>
                    </a:lnTo>
                    <a:lnTo>
                      <a:pt x="49" y="201"/>
                    </a:lnTo>
                    <a:lnTo>
                      <a:pt x="47" y="199"/>
                    </a:lnTo>
                    <a:lnTo>
                      <a:pt x="49" y="192"/>
                    </a:lnTo>
                    <a:lnTo>
                      <a:pt x="47" y="189"/>
                    </a:lnTo>
                    <a:lnTo>
                      <a:pt x="47" y="191"/>
                    </a:lnTo>
                    <a:lnTo>
                      <a:pt x="47" y="189"/>
                    </a:lnTo>
                    <a:lnTo>
                      <a:pt x="46" y="189"/>
                    </a:lnTo>
                    <a:lnTo>
                      <a:pt x="46" y="187"/>
                    </a:lnTo>
                    <a:lnTo>
                      <a:pt x="44" y="191"/>
                    </a:lnTo>
                    <a:lnTo>
                      <a:pt x="46" y="192"/>
                    </a:lnTo>
                    <a:lnTo>
                      <a:pt x="44" y="192"/>
                    </a:lnTo>
                    <a:lnTo>
                      <a:pt x="46" y="192"/>
                    </a:lnTo>
                    <a:lnTo>
                      <a:pt x="46" y="194"/>
                    </a:lnTo>
                    <a:lnTo>
                      <a:pt x="46" y="196"/>
                    </a:lnTo>
                    <a:lnTo>
                      <a:pt x="47" y="198"/>
                    </a:lnTo>
                    <a:lnTo>
                      <a:pt x="46" y="198"/>
                    </a:lnTo>
                    <a:lnTo>
                      <a:pt x="44" y="198"/>
                    </a:lnTo>
                    <a:lnTo>
                      <a:pt x="42" y="199"/>
                    </a:lnTo>
                    <a:lnTo>
                      <a:pt x="42" y="201"/>
                    </a:lnTo>
                    <a:lnTo>
                      <a:pt x="41" y="199"/>
                    </a:lnTo>
                    <a:lnTo>
                      <a:pt x="37" y="203"/>
                    </a:lnTo>
                    <a:lnTo>
                      <a:pt x="39" y="199"/>
                    </a:lnTo>
                    <a:lnTo>
                      <a:pt x="37" y="199"/>
                    </a:lnTo>
                    <a:lnTo>
                      <a:pt x="39" y="199"/>
                    </a:lnTo>
                    <a:lnTo>
                      <a:pt x="39" y="198"/>
                    </a:lnTo>
                    <a:lnTo>
                      <a:pt x="39" y="196"/>
                    </a:lnTo>
                    <a:lnTo>
                      <a:pt x="37" y="199"/>
                    </a:lnTo>
                    <a:lnTo>
                      <a:pt x="41" y="189"/>
                    </a:lnTo>
                    <a:lnTo>
                      <a:pt x="41" y="184"/>
                    </a:lnTo>
                    <a:lnTo>
                      <a:pt x="41" y="182"/>
                    </a:lnTo>
                    <a:lnTo>
                      <a:pt x="41" y="181"/>
                    </a:lnTo>
                    <a:lnTo>
                      <a:pt x="42" y="181"/>
                    </a:lnTo>
                    <a:lnTo>
                      <a:pt x="42" y="179"/>
                    </a:lnTo>
                    <a:lnTo>
                      <a:pt x="66" y="179"/>
                    </a:lnTo>
                    <a:lnTo>
                      <a:pt x="88" y="179"/>
                    </a:lnTo>
                    <a:lnTo>
                      <a:pt x="88" y="169"/>
                    </a:lnTo>
                    <a:lnTo>
                      <a:pt x="92" y="169"/>
                    </a:lnTo>
                    <a:lnTo>
                      <a:pt x="93" y="169"/>
                    </a:lnTo>
                    <a:lnTo>
                      <a:pt x="98" y="169"/>
                    </a:lnTo>
                    <a:lnTo>
                      <a:pt x="103" y="167"/>
                    </a:lnTo>
                    <a:lnTo>
                      <a:pt x="109" y="169"/>
                    </a:lnTo>
                    <a:lnTo>
                      <a:pt x="114" y="169"/>
                    </a:lnTo>
                    <a:lnTo>
                      <a:pt x="117" y="165"/>
                    </a:lnTo>
                    <a:lnTo>
                      <a:pt x="119" y="160"/>
                    </a:lnTo>
                    <a:lnTo>
                      <a:pt x="120" y="157"/>
                    </a:lnTo>
                    <a:lnTo>
                      <a:pt x="124" y="157"/>
                    </a:lnTo>
                    <a:lnTo>
                      <a:pt x="126" y="160"/>
                    </a:lnTo>
                    <a:lnTo>
                      <a:pt x="129" y="162"/>
                    </a:lnTo>
                    <a:lnTo>
                      <a:pt x="132" y="164"/>
                    </a:lnTo>
                    <a:lnTo>
                      <a:pt x="136" y="164"/>
                    </a:lnTo>
                    <a:lnTo>
                      <a:pt x="137" y="165"/>
                    </a:lnTo>
                    <a:lnTo>
                      <a:pt x="141" y="165"/>
                    </a:lnTo>
                    <a:lnTo>
                      <a:pt x="143" y="169"/>
                    </a:lnTo>
                    <a:lnTo>
                      <a:pt x="144" y="169"/>
                    </a:lnTo>
                    <a:lnTo>
                      <a:pt x="148" y="169"/>
                    </a:lnTo>
                    <a:lnTo>
                      <a:pt x="149" y="169"/>
                    </a:lnTo>
                    <a:lnTo>
                      <a:pt x="153" y="170"/>
                    </a:lnTo>
                    <a:lnTo>
                      <a:pt x="156" y="172"/>
                    </a:lnTo>
                    <a:lnTo>
                      <a:pt x="158" y="174"/>
                    </a:lnTo>
                    <a:lnTo>
                      <a:pt x="161" y="175"/>
                    </a:lnTo>
                    <a:lnTo>
                      <a:pt x="165" y="174"/>
                    </a:lnTo>
                    <a:lnTo>
                      <a:pt x="166" y="175"/>
                    </a:lnTo>
                    <a:lnTo>
                      <a:pt x="171" y="175"/>
                    </a:lnTo>
                    <a:lnTo>
                      <a:pt x="173" y="174"/>
                    </a:lnTo>
                    <a:lnTo>
                      <a:pt x="173" y="172"/>
                    </a:lnTo>
                    <a:lnTo>
                      <a:pt x="178" y="172"/>
                    </a:lnTo>
                    <a:lnTo>
                      <a:pt x="182" y="170"/>
                    </a:lnTo>
                    <a:lnTo>
                      <a:pt x="185" y="170"/>
                    </a:lnTo>
                    <a:lnTo>
                      <a:pt x="187" y="169"/>
                    </a:lnTo>
                    <a:lnTo>
                      <a:pt x="188" y="167"/>
                    </a:lnTo>
                    <a:lnTo>
                      <a:pt x="190" y="165"/>
                    </a:lnTo>
                    <a:lnTo>
                      <a:pt x="183" y="158"/>
                    </a:lnTo>
                    <a:lnTo>
                      <a:pt x="180" y="157"/>
                    </a:lnTo>
                    <a:lnTo>
                      <a:pt x="178" y="158"/>
                    </a:lnTo>
                    <a:lnTo>
                      <a:pt x="175" y="158"/>
                    </a:lnTo>
                    <a:lnTo>
                      <a:pt x="170" y="160"/>
                    </a:lnTo>
                    <a:lnTo>
                      <a:pt x="166" y="162"/>
                    </a:lnTo>
                    <a:lnTo>
                      <a:pt x="163" y="164"/>
                    </a:lnTo>
                    <a:lnTo>
                      <a:pt x="158" y="162"/>
                    </a:lnTo>
                    <a:lnTo>
                      <a:pt x="154" y="160"/>
                    </a:lnTo>
                    <a:lnTo>
                      <a:pt x="154" y="157"/>
                    </a:lnTo>
                    <a:lnTo>
                      <a:pt x="151" y="153"/>
                    </a:lnTo>
                    <a:lnTo>
                      <a:pt x="148" y="153"/>
                    </a:lnTo>
                    <a:lnTo>
                      <a:pt x="143" y="155"/>
                    </a:lnTo>
                    <a:lnTo>
                      <a:pt x="139" y="153"/>
                    </a:lnTo>
                    <a:lnTo>
                      <a:pt x="139" y="150"/>
                    </a:lnTo>
                    <a:lnTo>
                      <a:pt x="136" y="148"/>
                    </a:lnTo>
                    <a:lnTo>
                      <a:pt x="132" y="147"/>
                    </a:lnTo>
                    <a:lnTo>
                      <a:pt x="129" y="147"/>
                    </a:lnTo>
                    <a:lnTo>
                      <a:pt x="126" y="145"/>
                    </a:lnTo>
                    <a:lnTo>
                      <a:pt x="122" y="147"/>
                    </a:lnTo>
                    <a:lnTo>
                      <a:pt x="117" y="148"/>
                    </a:lnTo>
                    <a:lnTo>
                      <a:pt x="115" y="148"/>
                    </a:lnTo>
                    <a:lnTo>
                      <a:pt x="112" y="147"/>
                    </a:lnTo>
                    <a:lnTo>
                      <a:pt x="109" y="148"/>
                    </a:lnTo>
                    <a:lnTo>
                      <a:pt x="105" y="152"/>
                    </a:lnTo>
                    <a:lnTo>
                      <a:pt x="103" y="157"/>
                    </a:lnTo>
                    <a:lnTo>
                      <a:pt x="90" y="157"/>
                    </a:lnTo>
                    <a:lnTo>
                      <a:pt x="78" y="157"/>
                    </a:lnTo>
                    <a:lnTo>
                      <a:pt x="71" y="157"/>
                    </a:lnTo>
                    <a:lnTo>
                      <a:pt x="61" y="157"/>
                    </a:lnTo>
                    <a:lnTo>
                      <a:pt x="56" y="157"/>
                    </a:lnTo>
                    <a:lnTo>
                      <a:pt x="52" y="157"/>
                    </a:lnTo>
                    <a:lnTo>
                      <a:pt x="51" y="157"/>
                    </a:lnTo>
                    <a:lnTo>
                      <a:pt x="51" y="155"/>
                    </a:lnTo>
                    <a:lnTo>
                      <a:pt x="51" y="157"/>
                    </a:lnTo>
                    <a:lnTo>
                      <a:pt x="49" y="155"/>
                    </a:lnTo>
                    <a:lnTo>
                      <a:pt x="51" y="157"/>
                    </a:lnTo>
                    <a:lnTo>
                      <a:pt x="49" y="157"/>
                    </a:lnTo>
                    <a:lnTo>
                      <a:pt x="47" y="155"/>
                    </a:lnTo>
                    <a:lnTo>
                      <a:pt x="52" y="153"/>
                    </a:lnTo>
                    <a:lnTo>
                      <a:pt x="52" y="152"/>
                    </a:lnTo>
                    <a:lnTo>
                      <a:pt x="51" y="152"/>
                    </a:lnTo>
                    <a:lnTo>
                      <a:pt x="52" y="150"/>
                    </a:lnTo>
                    <a:lnTo>
                      <a:pt x="52" y="148"/>
                    </a:lnTo>
                    <a:lnTo>
                      <a:pt x="54" y="147"/>
                    </a:lnTo>
                    <a:lnTo>
                      <a:pt x="52" y="145"/>
                    </a:lnTo>
                    <a:lnTo>
                      <a:pt x="52" y="143"/>
                    </a:lnTo>
                    <a:lnTo>
                      <a:pt x="54" y="143"/>
                    </a:lnTo>
                    <a:lnTo>
                      <a:pt x="52" y="143"/>
                    </a:lnTo>
                    <a:lnTo>
                      <a:pt x="54" y="141"/>
                    </a:lnTo>
                    <a:lnTo>
                      <a:pt x="54" y="140"/>
                    </a:lnTo>
                    <a:lnTo>
                      <a:pt x="54" y="141"/>
                    </a:lnTo>
                    <a:lnTo>
                      <a:pt x="52" y="141"/>
                    </a:lnTo>
                    <a:lnTo>
                      <a:pt x="52" y="140"/>
                    </a:lnTo>
                    <a:lnTo>
                      <a:pt x="54" y="138"/>
                    </a:lnTo>
                    <a:lnTo>
                      <a:pt x="52" y="136"/>
                    </a:lnTo>
                    <a:lnTo>
                      <a:pt x="51" y="136"/>
                    </a:lnTo>
                    <a:lnTo>
                      <a:pt x="49" y="136"/>
                    </a:lnTo>
                    <a:lnTo>
                      <a:pt x="47" y="136"/>
                    </a:lnTo>
                    <a:lnTo>
                      <a:pt x="51" y="135"/>
                    </a:lnTo>
                    <a:lnTo>
                      <a:pt x="49" y="135"/>
                    </a:lnTo>
                    <a:lnTo>
                      <a:pt x="47" y="135"/>
                    </a:lnTo>
                    <a:lnTo>
                      <a:pt x="46" y="136"/>
                    </a:lnTo>
                    <a:lnTo>
                      <a:pt x="44" y="135"/>
                    </a:lnTo>
                    <a:lnTo>
                      <a:pt x="41" y="136"/>
                    </a:lnTo>
                    <a:lnTo>
                      <a:pt x="39" y="138"/>
                    </a:lnTo>
                    <a:lnTo>
                      <a:pt x="39" y="140"/>
                    </a:lnTo>
                    <a:lnTo>
                      <a:pt x="37" y="131"/>
                    </a:lnTo>
                    <a:lnTo>
                      <a:pt x="35" y="128"/>
                    </a:lnTo>
                    <a:lnTo>
                      <a:pt x="35" y="130"/>
                    </a:lnTo>
                    <a:lnTo>
                      <a:pt x="34" y="126"/>
                    </a:lnTo>
                    <a:lnTo>
                      <a:pt x="34" y="124"/>
                    </a:lnTo>
                    <a:lnTo>
                      <a:pt x="30" y="121"/>
                    </a:lnTo>
                    <a:lnTo>
                      <a:pt x="30" y="118"/>
                    </a:lnTo>
                    <a:lnTo>
                      <a:pt x="27" y="114"/>
                    </a:lnTo>
                    <a:lnTo>
                      <a:pt x="24" y="113"/>
                    </a:lnTo>
                    <a:lnTo>
                      <a:pt x="22" y="109"/>
                    </a:lnTo>
                    <a:lnTo>
                      <a:pt x="17" y="102"/>
                    </a:lnTo>
                    <a:lnTo>
                      <a:pt x="13" y="101"/>
                    </a:lnTo>
                    <a:lnTo>
                      <a:pt x="8" y="99"/>
                    </a:lnTo>
                    <a:lnTo>
                      <a:pt x="5" y="99"/>
                    </a:lnTo>
                    <a:lnTo>
                      <a:pt x="7" y="101"/>
                    </a:lnTo>
                    <a:lnTo>
                      <a:pt x="7" y="102"/>
                    </a:lnTo>
                    <a:lnTo>
                      <a:pt x="5" y="101"/>
                    </a:lnTo>
                    <a:lnTo>
                      <a:pt x="5" y="102"/>
                    </a:lnTo>
                    <a:lnTo>
                      <a:pt x="5" y="104"/>
                    </a:lnTo>
                    <a:lnTo>
                      <a:pt x="5" y="102"/>
                    </a:lnTo>
                    <a:lnTo>
                      <a:pt x="3" y="102"/>
                    </a:lnTo>
                    <a:lnTo>
                      <a:pt x="1" y="101"/>
                    </a:lnTo>
                    <a:lnTo>
                      <a:pt x="0" y="99"/>
                    </a:lnTo>
                    <a:lnTo>
                      <a:pt x="12" y="96"/>
                    </a:lnTo>
                    <a:lnTo>
                      <a:pt x="20" y="90"/>
                    </a:lnTo>
                    <a:lnTo>
                      <a:pt x="22" y="87"/>
                    </a:lnTo>
                    <a:lnTo>
                      <a:pt x="32" y="75"/>
                    </a:lnTo>
                    <a:lnTo>
                      <a:pt x="35" y="72"/>
                    </a:lnTo>
                    <a:lnTo>
                      <a:pt x="46" y="55"/>
                    </a:lnTo>
                    <a:lnTo>
                      <a:pt x="51" y="46"/>
                    </a:lnTo>
                    <a:lnTo>
                      <a:pt x="51" y="44"/>
                    </a:lnTo>
                    <a:lnTo>
                      <a:pt x="51" y="46"/>
                    </a:lnTo>
                    <a:lnTo>
                      <a:pt x="51" y="41"/>
                    </a:lnTo>
                    <a:lnTo>
                      <a:pt x="52" y="33"/>
                    </a:lnTo>
                    <a:lnTo>
                      <a:pt x="52" y="31"/>
                    </a:lnTo>
                    <a:lnTo>
                      <a:pt x="52" y="33"/>
                    </a:lnTo>
                    <a:lnTo>
                      <a:pt x="56" y="29"/>
                    </a:lnTo>
                    <a:lnTo>
                      <a:pt x="54" y="26"/>
                    </a:lnTo>
                    <a:lnTo>
                      <a:pt x="56" y="24"/>
                    </a:lnTo>
                    <a:lnTo>
                      <a:pt x="58" y="24"/>
                    </a:lnTo>
                    <a:lnTo>
                      <a:pt x="59" y="22"/>
                    </a:lnTo>
                    <a:lnTo>
                      <a:pt x="59" y="21"/>
                    </a:lnTo>
                    <a:lnTo>
                      <a:pt x="59" y="19"/>
                    </a:lnTo>
                    <a:lnTo>
                      <a:pt x="61" y="17"/>
                    </a:lnTo>
                    <a:lnTo>
                      <a:pt x="61" y="14"/>
                    </a:lnTo>
                    <a:lnTo>
                      <a:pt x="63" y="14"/>
                    </a:lnTo>
                    <a:lnTo>
                      <a:pt x="63" y="12"/>
                    </a:lnTo>
                    <a:lnTo>
                      <a:pt x="63" y="10"/>
                    </a:lnTo>
                    <a:lnTo>
                      <a:pt x="63" y="9"/>
                    </a:lnTo>
                    <a:lnTo>
                      <a:pt x="64" y="9"/>
                    </a:lnTo>
                    <a:lnTo>
                      <a:pt x="68" y="9"/>
                    </a:lnTo>
                    <a:lnTo>
                      <a:pt x="69" y="7"/>
                    </a:lnTo>
                    <a:lnTo>
                      <a:pt x="71" y="7"/>
                    </a:lnTo>
                    <a:lnTo>
                      <a:pt x="73" y="9"/>
                    </a:lnTo>
                    <a:lnTo>
                      <a:pt x="75" y="10"/>
                    </a:lnTo>
                    <a:lnTo>
                      <a:pt x="78" y="9"/>
                    </a:lnTo>
                    <a:lnTo>
                      <a:pt x="80" y="10"/>
                    </a:lnTo>
                    <a:lnTo>
                      <a:pt x="83" y="9"/>
                    </a:lnTo>
                    <a:lnTo>
                      <a:pt x="85" y="9"/>
                    </a:lnTo>
                    <a:lnTo>
                      <a:pt x="85" y="10"/>
                    </a:lnTo>
                    <a:lnTo>
                      <a:pt x="86" y="9"/>
                    </a:lnTo>
                    <a:lnTo>
                      <a:pt x="93" y="10"/>
                    </a:lnTo>
                    <a:lnTo>
                      <a:pt x="97" y="10"/>
                    </a:lnTo>
                    <a:lnTo>
                      <a:pt x="97" y="9"/>
                    </a:lnTo>
                    <a:lnTo>
                      <a:pt x="100" y="9"/>
                    </a:lnTo>
                    <a:lnTo>
                      <a:pt x="102" y="9"/>
                    </a:lnTo>
                    <a:lnTo>
                      <a:pt x="102" y="7"/>
                    </a:lnTo>
                    <a:lnTo>
                      <a:pt x="105" y="5"/>
                    </a:lnTo>
                    <a:lnTo>
                      <a:pt x="107" y="7"/>
                    </a:lnTo>
                    <a:lnTo>
                      <a:pt x="112" y="5"/>
                    </a:lnTo>
                    <a:lnTo>
                      <a:pt x="117" y="7"/>
                    </a:lnTo>
                    <a:lnTo>
                      <a:pt x="120" y="5"/>
                    </a:lnTo>
                    <a:lnTo>
                      <a:pt x="122" y="5"/>
                    </a:lnTo>
                    <a:lnTo>
                      <a:pt x="124" y="4"/>
                    </a:lnTo>
                    <a:lnTo>
                      <a:pt x="122" y="2"/>
                    </a:lnTo>
                    <a:lnTo>
                      <a:pt x="124" y="0"/>
                    </a:lnTo>
                    <a:lnTo>
                      <a:pt x="126" y="4"/>
                    </a:lnTo>
                    <a:lnTo>
                      <a:pt x="127" y="4"/>
                    </a:lnTo>
                    <a:lnTo>
                      <a:pt x="129" y="2"/>
                    </a:lnTo>
                    <a:lnTo>
                      <a:pt x="129" y="0"/>
                    </a:lnTo>
                    <a:lnTo>
                      <a:pt x="131" y="0"/>
                    </a:lnTo>
                    <a:lnTo>
                      <a:pt x="131" y="2"/>
                    </a:lnTo>
                    <a:lnTo>
                      <a:pt x="131" y="4"/>
                    </a:lnTo>
                    <a:lnTo>
                      <a:pt x="132" y="2"/>
                    </a:lnTo>
                    <a:lnTo>
                      <a:pt x="134" y="4"/>
                    </a:lnTo>
                    <a:lnTo>
                      <a:pt x="134" y="2"/>
                    </a:lnTo>
                    <a:lnTo>
                      <a:pt x="136" y="2"/>
                    </a:lnTo>
                    <a:lnTo>
                      <a:pt x="137" y="2"/>
                    </a:lnTo>
                    <a:lnTo>
                      <a:pt x="139" y="4"/>
                    </a:lnTo>
                    <a:lnTo>
                      <a:pt x="141" y="2"/>
                    </a:lnTo>
                    <a:lnTo>
                      <a:pt x="141" y="4"/>
                    </a:lnTo>
                    <a:lnTo>
                      <a:pt x="143" y="2"/>
                    </a:lnTo>
                    <a:lnTo>
                      <a:pt x="146" y="2"/>
                    </a:lnTo>
                    <a:lnTo>
                      <a:pt x="146" y="4"/>
                    </a:lnTo>
                    <a:lnTo>
                      <a:pt x="148" y="4"/>
                    </a:lnTo>
                    <a:lnTo>
                      <a:pt x="151" y="4"/>
                    </a:lnTo>
                    <a:lnTo>
                      <a:pt x="151" y="2"/>
                    </a:lnTo>
                    <a:lnTo>
                      <a:pt x="154" y="4"/>
                    </a:lnTo>
                    <a:lnTo>
                      <a:pt x="156" y="4"/>
                    </a:lnTo>
                    <a:lnTo>
                      <a:pt x="158" y="2"/>
                    </a:lnTo>
                    <a:lnTo>
                      <a:pt x="161" y="2"/>
                    </a:lnTo>
                    <a:lnTo>
                      <a:pt x="161" y="5"/>
                    </a:lnTo>
                    <a:lnTo>
                      <a:pt x="165" y="5"/>
                    </a:lnTo>
                    <a:lnTo>
                      <a:pt x="166" y="9"/>
                    </a:lnTo>
                    <a:lnTo>
                      <a:pt x="166" y="7"/>
                    </a:lnTo>
                    <a:lnTo>
                      <a:pt x="168" y="7"/>
                    </a:lnTo>
                    <a:lnTo>
                      <a:pt x="168" y="9"/>
                    </a:lnTo>
                    <a:lnTo>
                      <a:pt x="171" y="10"/>
                    </a:lnTo>
                    <a:lnTo>
                      <a:pt x="171" y="12"/>
                    </a:lnTo>
                    <a:lnTo>
                      <a:pt x="175" y="14"/>
                    </a:lnTo>
                    <a:lnTo>
                      <a:pt x="177" y="17"/>
                    </a:lnTo>
                    <a:lnTo>
                      <a:pt x="180" y="17"/>
                    </a:lnTo>
                    <a:lnTo>
                      <a:pt x="182" y="19"/>
                    </a:lnTo>
                    <a:lnTo>
                      <a:pt x="180" y="19"/>
                    </a:lnTo>
                    <a:lnTo>
                      <a:pt x="180" y="21"/>
                    </a:lnTo>
                    <a:lnTo>
                      <a:pt x="182" y="21"/>
                    </a:lnTo>
                    <a:lnTo>
                      <a:pt x="180" y="24"/>
                    </a:lnTo>
                    <a:lnTo>
                      <a:pt x="183" y="22"/>
                    </a:lnTo>
                    <a:lnTo>
                      <a:pt x="183" y="24"/>
                    </a:lnTo>
                    <a:lnTo>
                      <a:pt x="185" y="24"/>
                    </a:lnTo>
                    <a:lnTo>
                      <a:pt x="185" y="27"/>
                    </a:lnTo>
                    <a:lnTo>
                      <a:pt x="187" y="29"/>
                    </a:lnTo>
                    <a:lnTo>
                      <a:pt x="188" y="27"/>
                    </a:lnTo>
                    <a:lnTo>
                      <a:pt x="192" y="27"/>
                    </a:lnTo>
                    <a:lnTo>
                      <a:pt x="194" y="26"/>
                    </a:lnTo>
                    <a:lnTo>
                      <a:pt x="194" y="27"/>
                    </a:lnTo>
                    <a:lnTo>
                      <a:pt x="195" y="29"/>
                    </a:lnTo>
                    <a:lnTo>
                      <a:pt x="200" y="27"/>
                    </a:lnTo>
                    <a:lnTo>
                      <a:pt x="204" y="29"/>
                    </a:lnTo>
                    <a:lnTo>
                      <a:pt x="205" y="27"/>
                    </a:lnTo>
                    <a:lnTo>
                      <a:pt x="204" y="29"/>
                    </a:lnTo>
                    <a:lnTo>
                      <a:pt x="204" y="31"/>
                    </a:lnTo>
                    <a:lnTo>
                      <a:pt x="207" y="29"/>
                    </a:lnTo>
                    <a:lnTo>
                      <a:pt x="207" y="31"/>
                    </a:lnTo>
                    <a:lnTo>
                      <a:pt x="211" y="33"/>
                    </a:lnTo>
                    <a:lnTo>
                      <a:pt x="211" y="38"/>
                    </a:lnTo>
                    <a:lnTo>
                      <a:pt x="214" y="39"/>
                    </a:lnTo>
                    <a:lnTo>
                      <a:pt x="212" y="41"/>
                    </a:lnTo>
                    <a:lnTo>
                      <a:pt x="214" y="41"/>
                    </a:lnTo>
                    <a:lnTo>
                      <a:pt x="214" y="44"/>
                    </a:lnTo>
                    <a:lnTo>
                      <a:pt x="216" y="46"/>
                    </a:lnTo>
                    <a:lnTo>
                      <a:pt x="214" y="46"/>
                    </a:lnTo>
                    <a:lnTo>
                      <a:pt x="219" y="50"/>
                    </a:lnTo>
                    <a:lnTo>
                      <a:pt x="219" y="51"/>
                    </a:lnTo>
                    <a:lnTo>
                      <a:pt x="217" y="51"/>
                    </a:lnTo>
                    <a:lnTo>
                      <a:pt x="217" y="55"/>
                    </a:lnTo>
                    <a:lnTo>
                      <a:pt x="221" y="53"/>
                    </a:lnTo>
                    <a:lnTo>
                      <a:pt x="226" y="56"/>
                    </a:lnTo>
                    <a:lnTo>
                      <a:pt x="224" y="60"/>
                    </a:lnTo>
                    <a:lnTo>
                      <a:pt x="228" y="62"/>
                    </a:lnTo>
                    <a:lnTo>
                      <a:pt x="231" y="60"/>
                    </a:lnTo>
                    <a:lnTo>
                      <a:pt x="231" y="63"/>
                    </a:lnTo>
                    <a:lnTo>
                      <a:pt x="233" y="63"/>
                    </a:lnTo>
                    <a:lnTo>
                      <a:pt x="233" y="65"/>
                    </a:lnTo>
                    <a:lnTo>
                      <a:pt x="233" y="67"/>
                    </a:lnTo>
                    <a:lnTo>
                      <a:pt x="233" y="68"/>
                    </a:lnTo>
                    <a:lnTo>
                      <a:pt x="238" y="70"/>
                    </a:lnTo>
                    <a:lnTo>
                      <a:pt x="238" y="72"/>
                    </a:lnTo>
                    <a:lnTo>
                      <a:pt x="236" y="72"/>
                    </a:lnTo>
                    <a:lnTo>
                      <a:pt x="234" y="72"/>
                    </a:lnTo>
                    <a:lnTo>
                      <a:pt x="238" y="75"/>
                    </a:lnTo>
                    <a:lnTo>
                      <a:pt x="239" y="75"/>
                    </a:lnTo>
                    <a:lnTo>
                      <a:pt x="241" y="75"/>
                    </a:lnTo>
                    <a:lnTo>
                      <a:pt x="239" y="77"/>
                    </a:lnTo>
                    <a:lnTo>
                      <a:pt x="245" y="82"/>
                    </a:lnTo>
                    <a:lnTo>
                      <a:pt x="246" y="80"/>
                    </a:lnTo>
                    <a:lnTo>
                      <a:pt x="250" y="82"/>
                    </a:lnTo>
                    <a:lnTo>
                      <a:pt x="253" y="84"/>
                    </a:lnTo>
                    <a:lnTo>
                      <a:pt x="255" y="85"/>
                    </a:lnTo>
                    <a:lnTo>
                      <a:pt x="256" y="87"/>
                    </a:lnTo>
                    <a:lnTo>
                      <a:pt x="258" y="90"/>
                    </a:lnTo>
                    <a:lnTo>
                      <a:pt x="260" y="94"/>
                    </a:lnTo>
                    <a:lnTo>
                      <a:pt x="263" y="94"/>
                    </a:lnTo>
                    <a:lnTo>
                      <a:pt x="267" y="97"/>
                    </a:lnTo>
                    <a:lnTo>
                      <a:pt x="268" y="97"/>
                    </a:lnTo>
                    <a:close/>
                    <a:moveTo>
                      <a:pt x="46" y="138"/>
                    </a:moveTo>
                    <a:lnTo>
                      <a:pt x="47" y="136"/>
                    </a:lnTo>
                    <a:lnTo>
                      <a:pt x="49" y="136"/>
                    </a:lnTo>
                    <a:lnTo>
                      <a:pt x="51" y="136"/>
                    </a:lnTo>
                    <a:lnTo>
                      <a:pt x="51" y="140"/>
                    </a:lnTo>
                    <a:lnTo>
                      <a:pt x="51" y="141"/>
                    </a:lnTo>
                    <a:lnTo>
                      <a:pt x="49" y="143"/>
                    </a:lnTo>
                    <a:lnTo>
                      <a:pt x="46" y="145"/>
                    </a:lnTo>
                    <a:lnTo>
                      <a:pt x="44" y="143"/>
                    </a:lnTo>
                    <a:lnTo>
                      <a:pt x="42" y="143"/>
                    </a:lnTo>
                    <a:lnTo>
                      <a:pt x="42" y="141"/>
                    </a:lnTo>
                    <a:lnTo>
                      <a:pt x="41" y="141"/>
                    </a:lnTo>
                    <a:lnTo>
                      <a:pt x="41" y="138"/>
                    </a:lnTo>
                    <a:lnTo>
                      <a:pt x="42" y="136"/>
                    </a:lnTo>
                    <a:lnTo>
                      <a:pt x="46" y="138"/>
                    </a:lnTo>
                    <a:close/>
                    <a:moveTo>
                      <a:pt x="52" y="145"/>
                    </a:moveTo>
                    <a:lnTo>
                      <a:pt x="52" y="147"/>
                    </a:lnTo>
                    <a:lnTo>
                      <a:pt x="52" y="148"/>
                    </a:lnTo>
                    <a:lnTo>
                      <a:pt x="52" y="150"/>
                    </a:lnTo>
                    <a:lnTo>
                      <a:pt x="51" y="153"/>
                    </a:lnTo>
                    <a:lnTo>
                      <a:pt x="49" y="153"/>
                    </a:lnTo>
                    <a:lnTo>
                      <a:pt x="47" y="153"/>
                    </a:lnTo>
                    <a:lnTo>
                      <a:pt x="46" y="152"/>
                    </a:lnTo>
                    <a:lnTo>
                      <a:pt x="46" y="148"/>
                    </a:lnTo>
                    <a:lnTo>
                      <a:pt x="49" y="145"/>
                    </a:lnTo>
                    <a:lnTo>
                      <a:pt x="52" y="143"/>
                    </a:lnTo>
                    <a:lnTo>
                      <a:pt x="52" y="145"/>
                    </a:lnTo>
                    <a:close/>
                    <a:moveTo>
                      <a:pt x="44" y="201"/>
                    </a:moveTo>
                    <a:lnTo>
                      <a:pt x="44" y="199"/>
                    </a:lnTo>
                    <a:lnTo>
                      <a:pt x="46" y="206"/>
                    </a:lnTo>
                    <a:lnTo>
                      <a:pt x="41" y="208"/>
                    </a:lnTo>
                    <a:lnTo>
                      <a:pt x="39" y="208"/>
                    </a:lnTo>
                    <a:lnTo>
                      <a:pt x="37" y="204"/>
                    </a:lnTo>
                    <a:lnTo>
                      <a:pt x="39" y="201"/>
                    </a:lnTo>
                    <a:lnTo>
                      <a:pt x="41" y="199"/>
                    </a:lnTo>
                    <a:lnTo>
                      <a:pt x="44" y="201"/>
                    </a:lnTo>
                    <a:close/>
                    <a:moveTo>
                      <a:pt x="46" y="191"/>
                    </a:moveTo>
                    <a:lnTo>
                      <a:pt x="47" y="191"/>
                    </a:lnTo>
                    <a:lnTo>
                      <a:pt x="49" y="192"/>
                    </a:lnTo>
                    <a:lnTo>
                      <a:pt x="47" y="198"/>
                    </a:lnTo>
                    <a:lnTo>
                      <a:pt x="46" y="196"/>
                    </a:lnTo>
                    <a:lnTo>
                      <a:pt x="46" y="194"/>
                    </a:lnTo>
                    <a:lnTo>
                      <a:pt x="47" y="194"/>
                    </a:lnTo>
                    <a:lnTo>
                      <a:pt x="46" y="192"/>
                    </a:lnTo>
                    <a:lnTo>
                      <a:pt x="44" y="192"/>
                    </a:lnTo>
                    <a:lnTo>
                      <a:pt x="46" y="192"/>
                    </a:lnTo>
                    <a:lnTo>
                      <a:pt x="44" y="191"/>
                    </a:lnTo>
                    <a:lnTo>
                      <a:pt x="46" y="189"/>
                    </a:lnTo>
                    <a:lnTo>
                      <a:pt x="46" y="191"/>
                    </a:lnTo>
                    <a:close/>
                    <a:moveTo>
                      <a:pt x="42" y="141"/>
                    </a:moveTo>
                    <a:lnTo>
                      <a:pt x="42" y="143"/>
                    </a:lnTo>
                    <a:lnTo>
                      <a:pt x="44" y="143"/>
                    </a:lnTo>
                    <a:lnTo>
                      <a:pt x="44" y="145"/>
                    </a:lnTo>
                    <a:lnTo>
                      <a:pt x="44" y="147"/>
                    </a:lnTo>
                    <a:lnTo>
                      <a:pt x="42" y="147"/>
                    </a:lnTo>
                    <a:lnTo>
                      <a:pt x="41" y="143"/>
                    </a:lnTo>
                    <a:lnTo>
                      <a:pt x="41" y="145"/>
                    </a:lnTo>
                    <a:lnTo>
                      <a:pt x="41" y="143"/>
                    </a:lnTo>
                    <a:lnTo>
                      <a:pt x="41" y="141"/>
                    </a:lnTo>
                    <a:lnTo>
                      <a:pt x="42" y="141"/>
                    </a:lnTo>
                    <a:close/>
                    <a:moveTo>
                      <a:pt x="49" y="199"/>
                    </a:moveTo>
                    <a:lnTo>
                      <a:pt x="49" y="201"/>
                    </a:lnTo>
                    <a:lnTo>
                      <a:pt x="49" y="203"/>
                    </a:lnTo>
                    <a:lnTo>
                      <a:pt x="47" y="204"/>
                    </a:lnTo>
                    <a:lnTo>
                      <a:pt x="46" y="204"/>
                    </a:lnTo>
                    <a:lnTo>
                      <a:pt x="46" y="201"/>
                    </a:lnTo>
                    <a:lnTo>
                      <a:pt x="47" y="199"/>
                    </a:lnTo>
                    <a:lnTo>
                      <a:pt x="49" y="199"/>
                    </a:lnTo>
                    <a:close/>
                    <a:moveTo>
                      <a:pt x="47" y="199"/>
                    </a:moveTo>
                    <a:lnTo>
                      <a:pt x="46" y="201"/>
                    </a:lnTo>
                    <a:lnTo>
                      <a:pt x="44" y="199"/>
                    </a:lnTo>
                    <a:lnTo>
                      <a:pt x="44" y="201"/>
                    </a:lnTo>
                    <a:lnTo>
                      <a:pt x="42" y="201"/>
                    </a:lnTo>
                    <a:lnTo>
                      <a:pt x="42" y="199"/>
                    </a:lnTo>
                    <a:lnTo>
                      <a:pt x="44" y="198"/>
                    </a:lnTo>
                    <a:lnTo>
                      <a:pt x="46" y="198"/>
                    </a:lnTo>
                    <a:lnTo>
                      <a:pt x="47" y="198"/>
                    </a:lnTo>
                    <a:lnTo>
                      <a:pt x="47" y="199"/>
                    </a:lnTo>
                    <a:close/>
                    <a:moveTo>
                      <a:pt x="52" y="138"/>
                    </a:moveTo>
                    <a:lnTo>
                      <a:pt x="52" y="141"/>
                    </a:lnTo>
                    <a:lnTo>
                      <a:pt x="51" y="140"/>
                    </a:lnTo>
                    <a:lnTo>
                      <a:pt x="51" y="136"/>
                    </a:lnTo>
                    <a:lnTo>
                      <a:pt x="52" y="138"/>
                    </a:lnTo>
                    <a:close/>
                    <a:moveTo>
                      <a:pt x="41" y="210"/>
                    </a:moveTo>
                    <a:lnTo>
                      <a:pt x="44" y="210"/>
                    </a:lnTo>
                    <a:lnTo>
                      <a:pt x="44" y="211"/>
                    </a:lnTo>
                    <a:lnTo>
                      <a:pt x="41" y="211"/>
                    </a:lnTo>
                    <a:lnTo>
                      <a:pt x="41" y="210"/>
                    </a:lnTo>
                    <a:close/>
                    <a:moveTo>
                      <a:pt x="49" y="141"/>
                    </a:moveTo>
                    <a:lnTo>
                      <a:pt x="52" y="141"/>
                    </a:lnTo>
                    <a:lnTo>
                      <a:pt x="52" y="143"/>
                    </a:lnTo>
                    <a:lnTo>
                      <a:pt x="49" y="143"/>
                    </a:lnTo>
                    <a:lnTo>
                      <a:pt x="49" y="141"/>
                    </a:lnTo>
                    <a:close/>
                    <a:moveTo>
                      <a:pt x="46" y="145"/>
                    </a:moveTo>
                    <a:lnTo>
                      <a:pt x="47" y="145"/>
                    </a:lnTo>
                    <a:lnTo>
                      <a:pt x="47" y="147"/>
                    </a:lnTo>
                    <a:lnTo>
                      <a:pt x="46" y="147"/>
                    </a:lnTo>
                    <a:lnTo>
                      <a:pt x="46" y="145"/>
                    </a:lnTo>
                    <a:close/>
                    <a:moveTo>
                      <a:pt x="49" y="201"/>
                    </a:moveTo>
                    <a:lnTo>
                      <a:pt x="51" y="201"/>
                    </a:lnTo>
                    <a:lnTo>
                      <a:pt x="51" y="203"/>
                    </a:lnTo>
                    <a:lnTo>
                      <a:pt x="49" y="203"/>
                    </a:lnTo>
                    <a:lnTo>
                      <a:pt x="49" y="201"/>
                    </a:lnTo>
                    <a:close/>
                    <a:moveTo>
                      <a:pt x="41" y="213"/>
                    </a:moveTo>
                    <a:lnTo>
                      <a:pt x="42" y="213"/>
                    </a:lnTo>
                    <a:lnTo>
                      <a:pt x="42" y="215"/>
                    </a:lnTo>
                    <a:lnTo>
                      <a:pt x="41" y="215"/>
                    </a:lnTo>
                    <a:lnTo>
                      <a:pt x="41" y="213"/>
                    </a:lnTo>
                    <a:close/>
                    <a:moveTo>
                      <a:pt x="44" y="145"/>
                    </a:moveTo>
                    <a:lnTo>
                      <a:pt x="46" y="145"/>
                    </a:lnTo>
                    <a:lnTo>
                      <a:pt x="46" y="147"/>
                    </a:lnTo>
                    <a:lnTo>
                      <a:pt x="44" y="147"/>
                    </a:lnTo>
                    <a:lnTo>
                      <a:pt x="44" y="145"/>
                    </a:lnTo>
                    <a:close/>
                    <a:moveTo>
                      <a:pt x="39" y="147"/>
                    </a:moveTo>
                    <a:lnTo>
                      <a:pt x="39" y="141"/>
                    </a:lnTo>
                    <a:lnTo>
                      <a:pt x="39" y="145"/>
                    </a:lnTo>
                    <a:lnTo>
                      <a:pt x="39" y="147"/>
                    </a:lnTo>
                    <a:close/>
                    <a:moveTo>
                      <a:pt x="46" y="189"/>
                    </a:moveTo>
                    <a:lnTo>
                      <a:pt x="47" y="189"/>
                    </a:lnTo>
                    <a:lnTo>
                      <a:pt x="47" y="191"/>
                    </a:lnTo>
                    <a:lnTo>
                      <a:pt x="46" y="191"/>
                    </a:lnTo>
                    <a:lnTo>
                      <a:pt x="46" y="189"/>
                    </a:lnTo>
                    <a:close/>
                    <a:moveTo>
                      <a:pt x="44" y="143"/>
                    </a:moveTo>
                    <a:lnTo>
                      <a:pt x="44" y="147"/>
                    </a:lnTo>
                    <a:lnTo>
                      <a:pt x="44" y="143"/>
                    </a:lnTo>
                    <a:close/>
                    <a:moveTo>
                      <a:pt x="42" y="215"/>
                    </a:moveTo>
                    <a:lnTo>
                      <a:pt x="44" y="215"/>
                    </a:lnTo>
                    <a:lnTo>
                      <a:pt x="42" y="215"/>
                    </a:lnTo>
                    <a:close/>
                    <a:moveTo>
                      <a:pt x="44" y="145"/>
                    </a:moveTo>
                    <a:lnTo>
                      <a:pt x="46" y="145"/>
                    </a:lnTo>
                    <a:lnTo>
                      <a:pt x="46" y="147"/>
                    </a:lnTo>
                    <a:lnTo>
                      <a:pt x="44" y="147"/>
                    </a:lnTo>
                    <a:lnTo>
                      <a:pt x="44" y="145"/>
                    </a:lnTo>
                    <a:close/>
                    <a:moveTo>
                      <a:pt x="51" y="152"/>
                    </a:moveTo>
                    <a:lnTo>
                      <a:pt x="52" y="152"/>
                    </a:lnTo>
                    <a:lnTo>
                      <a:pt x="51" y="152"/>
                    </a:lnTo>
                    <a:close/>
                    <a:moveTo>
                      <a:pt x="44" y="153"/>
                    </a:moveTo>
                    <a:lnTo>
                      <a:pt x="46" y="153"/>
                    </a:lnTo>
                    <a:lnTo>
                      <a:pt x="46" y="155"/>
                    </a:lnTo>
                    <a:lnTo>
                      <a:pt x="44" y="155"/>
                    </a:lnTo>
                    <a:lnTo>
                      <a:pt x="44" y="153"/>
                    </a:lnTo>
                    <a:close/>
                    <a:moveTo>
                      <a:pt x="46" y="152"/>
                    </a:moveTo>
                    <a:lnTo>
                      <a:pt x="46" y="153"/>
                    </a:lnTo>
                    <a:lnTo>
                      <a:pt x="46" y="152"/>
                    </a:lnTo>
                    <a:close/>
                  </a:path>
                </a:pathLst>
              </a:custGeom>
              <a:solidFill>
                <a:schemeClr val="accent2"/>
              </a:solidFill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0" name="Freeform 51">
                <a:extLst>
                  <a:ext uri="{FF2B5EF4-FFF2-40B4-BE49-F238E27FC236}">
                    <a16:creationId xmlns:a16="http://schemas.microsoft.com/office/drawing/2014/main" id="{EC4C7DA6-F9F7-47F1-9A62-D3B9D96226D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506688" y="2649428"/>
                <a:ext cx="242880" cy="247639"/>
              </a:xfrm>
              <a:custGeom>
                <a:avLst/>
                <a:gdLst>
                  <a:gd name="T0" fmla="*/ 151 w 153"/>
                  <a:gd name="T1" fmla="*/ 92 h 156"/>
                  <a:gd name="T2" fmla="*/ 136 w 153"/>
                  <a:gd name="T3" fmla="*/ 98 h 156"/>
                  <a:gd name="T4" fmla="*/ 127 w 153"/>
                  <a:gd name="T5" fmla="*/ 121 h 156"/>
                  <a:gd name="T6" fmla="*/ 114 w 153"/>
                  <a:gd name="T7" fmla="*/ 131 h 156"/>
                  <a:gd name="T8" fmla="*/ 104 w 153"/>
                  <a:gd name="T9" fmla="*/ 141 h 156"/>
                  <a:gd name="T10" fmla="*/ 100 w 153"/>
                  <a:gd name="T11" fmla="*/ 148 h 156"/>
                  <a:gd name="T12" fmla="*/ 87 w 153"/>
                  <a:gd name="T13" fmla="*/ 153 h 156"/>
                  <a:gd name="T14" fmla="*/ 39 w 153"/>
                  <a:gd name="T15" fmla="*/ 132 h 156"/>
                  <a:gd name="T16" fmla="*/ 44 w 153"/>
                  <a:gd name="T17" fmla="*/ 131 h 156"/>
                  <a:gd name="T18" fmla="*/ 49 w 153"/>
                  <a:gd name="T19" fmla="*/ 124 h 156"/>
                  <a:gd name="T20" fmla="*/ 41 w 153"/>
                  <a:gd name="T21" fmla="*/ 117 h 156"/>
                  <a:gd name="T22" fmla="*/ 25 w 153"/>
                  <a:gd name="T23" fmla="*/ 112 h 156"/>
                  <a:gd name="T24" fmla="*/ 17 w 153"/>
                  <a:gd name="T25" fmla="*/ 105 h 156"/>
                  <a:gd name="T26" fmla="*/ 19 w 153"/>
                  <a:gd name="T27" fmla="*/ 93 h 156"/>
                  <a:gd name="T28" fmla="*/ 7 w 153"/>
                  <a:gd name="T29" fmla="*/ 87 h 156"/>
                  <a:gd name="T30" fmla="*/ 2 w 153"/>
                  <a:gd name="T31" fmla="*/ 76 h 156"/>
                  <a:gd name="T32" fmla="*/ 10 w 153"/>
                  <a:gd name="T33" fmla="*/ 80 h 156"/>
                  <a:gd name="T34" fmla="*/ 8 w 153"/>
                  <a:gd name="T35" fmla="*/ 80 h 156"/>
                  <a:gd name="T36" fmla="*/ 14 w 153"/>
                  <a:gd name="T37" fmla="*/ 76 h 156"/>
                  <a:gd name="T38" fmla="*/ 17 w 153"/>
                  <a:gd name="T39" fmla="*/ 73 h 156"/>
                  <a:gd name="T40" fmla="*/ 20 w 153"/>
                  <a:gd name="T41" fmla="*/ 73 h 156"/>
                  <a:gd name="T42" fmla="*/ 14 w 153"/>
                  <a:gd name="T43" fmla="*/ 68 h 156"/>
                  <a:gd name="T44" fmla="*/ 10 w 153"/>
                  <a:gd name="T45" fmla="*/ 68 h 156"/>
                  <a:gd name="T46" fmla="*/ 8 w 153"/>
                  <a:gd name="T47" fmla="*/ 70 h 156"/>
                  <a:gd name="T48" fmla="*/ 7 w 153"/>
                  <a:gd name="T49" fmla="*/ 75 h 156"/>
                  <a:gd name="T50" fmla="*/ 12 w 153"/>
                  <a:gd name="T51" fmla="*/ 59 h 156"/>
                  <a:gd name="T52" fmla="*/ 7 w 153"/>
                  <a:gd name="T53" fmla="*/ 56 h 156"/>
                  <a:gd name="T54" fmla="*/ 5 w 153"/>
                  <a:gd name="T55" fmla="*/ 46 h 156"/>
                  <a:gd name="T56" fmla="*/ 20 w 153"/>
                  <a:gd name="T57" fmla="*/ 37 h 156"/>
                  <a:gd name="T58" fmla="*/ 29 w 153"/>
                  <a:gd name="T59" fmla="*/ 34 h 156"/>
                  <a:gd name="T60" fmla="*/ 34 w 153"/>
                  <a:gd name="T61" fmla="*/ 24 h 156"/>
                  <a:gd name="T62" fmla="*/ 37 w 153"/>
                  <a:gd name="T63" fmla="*/ 15 h 156"/>
                  <a:gd name="T64" fmla="*/ 41 w 153"/>
                  <a:gd name="T65" fmla="*/ 10 h 156"/>
                  <a:gd name="T66" fmla="*/ 71 w 153"/>
                  <a:gd name="T67" fmla="*/ 3 h 156"/>
                  <a:gd name="T68" fmla="*/ 109 w 153"/>
                  <a:gd name="T69" fmla="*/ 7 h 156"/>
                  <a:gd name="T70" fmla="*/ 121 w 153"/>
                  <a:gd name="T71" fmla="*/ 17 h 156"/>
                  <a:gd name="T72" fmla="*/ 124 w 153"/>
                  <a:gd name="T73" fmla="*/ 27 h 156"/>
                  <a:gd name="T74" fmla="*/ 134 w 153"/>
                  <a:gd name="T75" fmla="*/ 36 h 156"/>
                  <a:gd name="T76" fmla="*/ 131 w 153"/>
                  <a:gd name="T77" fmla="*/ 46 h 156"/>
                  <a:gd name="T78" fmla="*/ 141 w 153"/>
                  <a:gd name="T79" fmla="*/ 61 h 156"/>
                  <a:gd name="T80" fmla="*/ 138 w 153"/>
                  <a:gd name="T81" fmla="*/ 73 h 156"/>
                  <a:gd name="T82" fmla="*/ 133 w 153"/>
                  <a:gd name="T83" fmla="*/ 87 h 156"/>
                  <a:gd name="T84" fmla="*/ 148 w 153"/>
                  <a:gd name="T85" fmla="*/ 76 h 156"/>
                  <a:gd name="T86" fmla="*/ 36 w 153"/>
                  <a:gd name="T87" fmla="*/ 121 h 156"/>
                  <a:gd name="T88" fmla="*/ 39 w 153"/>
                  <a:gd name="T89" fmla="*/ 132 h 156"/>
                  <a:gd name="T90" fmla="*/ 22 w 153"/>
                  <a:gd name="T91" fmla="*/ 121 h 156"/>
                  <a:gd name="T92" fmla="*/ 41 w 153"/>
                  <a:gd name="T93" fmla="*/ 122 h 156"/>
                  <a:gd name="T94" fmla="*/ 41 w 153"/>
                  <a:gd name="T95" fmla="*/ 122 h 156"/>
                  <a:gd name="T96" fmla="*/ 17 w 153"/>
                  <a:gd name="T97" fmla="*/ 73 h 156"/>
                  <a:gd name="T98" fmla="*/ 12 w 153"/>
                  <a:gd name="T99" fmla="*/ 75 h 156"/>
                  <a:gd name="T100" fmla="*/ 37 w 153"/>
                  <a:gd name="T101" fmla="*/ 119 h 156"/>
                  <a:gd name="T102" fmla="*/ 12 w 153"/>
                  <a:gd name="T103" fmla="*/ 119 h 156"/>
                  <a:gd name="T104" fmla="*/ 7 w 153"/>
                  <a:gd name="T105" fmla="*/ 93 h 156"/>
                  <a:gd name="T106" fmla="*/ 41 w 153"/>
                  <a:gd name="T107" fmla="*/ 117 h 156"/>
                  <a:gd name="T108" fmla="*/ 15 w 153"/>
                  <a:gd name="T109" fmla="*/ 73 h 156"/>
                  <a:gd name="T110" fmla="*/ 8 w 153"/>
                  <a:gd name="T111" fmla="*/ 71 h 156"/>
                  <a:gd name="T112" fmla="*/ 10 w 153"/>
                  <a:gd name="T113" fmla="*/ 56 h 156"/>
                  <a:gd name="T114" fmla="*/ 41 w 153"/>
                  <a:gd name="T115" fmla="*/ 121 h 156"/>
                  <a:gd name="T116" fmla="*/ 41 w 153"/>
                  <a:gd name="T117" fmla="*/ 131 h 156"/>
                  <a:gd name="T118" fmla="*/ 8 w 153"/>
                  <a:gd name="T119" fmla="*/ 56 h 156"/>
                  <a:gd name="T120" fmla="*/ 12 w 153"/>
                  <a:gd name="T121" fmla="*/ 59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3" h="156">
                    <a:moveTo>
                      <a:pt x="153" y="76"/>
                    </a:moveTo>
                    <a:lnTo>
                      <a:pt x="153" y="85"/>
                    </a:lnTo>
                    <a:lnTo>
                      <a:pt x="153" y="87"/>
                    </a:lnTo>
                    <a:lnTo>
                      <a:pt x="151" y="87"/>
                    </a:lnTo>
                    <a:lnTo>
                      <a:pt x="153" y="90"/>
                    </a:lnTo>
                    <a:lnTo>
                      <a:pt x="151" y="92"/>
                    </a:lnTo>
                    <a:lnTo>
                      <a:pt x="150" y="93"/>
                    </a:lnTo>
                    <a:lnTo>
                      <a:pt x="148" y="93"/>
                    </a:lnTo>
                    <a:lnTo>
                      <a:pt x="144" y="93"/>
                    </a:lnTo>
                    <a:lnTo>
                      <a:pt x="143" y="93"/>
                    </a:lnTo>
                    <a:lnTo>
                      <a:pt x="138" y="98"/>
                    </a:lnTo>
                    <a:lnTo>
                      <a:pt x="136" y="98"/>
                    </a:lnTo>
                    <a:lnTo>
                      <a:pt x="138" y="112"/>
                    </a:lnTo>
                    <a:lnTo>
                      <a:pt x="134" y="114"/>
                    </a:lnTo>
                    <a:lnTo>
                      <a:pt x="133" y="114"/>
                    </a:lnTo>
                    <a:lnTo>
                      <a:pt x="129" y="119"/>
                    </a:lnTo>
                    <a:lnTo>
                      <a:pt x="127" y="119"/>
                    </a:lnTo>
                    <a:lnTo>
                      <a:pt x="127" y="121"/>
                    </a:lnTo>
                    <a:lnTo>
                      <a:pt x="126" y="122"/>
                    </a:lnTo>
                    <a:lnTo>
                      <a:pt x="126" y="124"/>
                    </a:lnTo>
                    <a:lnTo>
                      <a:pt x="124" y="124"/>
                    </a:lnTo>
                    <a:lnTo>
                      <a:pt x="121" y="127"/>
                    </a:lnTo>
                    <a:lnTo>
                      <a:pt x="121" y="126"/>
                    </a:lnTo>
                    <a:lnTo>
                      <a:pt x="114" y="131"/>
                    </a:lnTo>
                    <a:lnTo>
                      <a:pt x="112" y="132"/>
                    </a:lnTo>
                    <a:lnTo>
                      <a:pt x="109" y="134"/>
                    </a:lnTo>
                    <a:lnTo>
                      <a:pt x="109" y="136"/>
                    </a:lnTo>
                    <a:lnTo>
                      <a:pt x="107" y="139"/>
                    </a:lnTo>
                    <a:lnTo>
                      <a:pt x="105" y="139"/>
                    </a:lnTo>
                    <a:lnTo>
                      <a:pt x="104" y="141"/>
                    </a:lnTo>
                    <a:lnTo>
                      <a:pt x="104" y="139"/>
                    </a:lnTo>
                    <a:lnTo>
                      <a:pt x="102" y="143"/>
                    </a:lnTo>
                    <a:lnTo>
                      <a:pt x="100" y="141"/>
                    </a:lnTo>
                    <a:lnTo>
                      <a:pt x="100" y="144"/>
                    </a:lnTo>
                    <a:lnTo>
                      <a:pt x="99" y="144"/>
                    </a:lnTo>
                    <a:lnTo>
                      <a:pt x="100" y="148"/>
                    </a:lnTo>
                    <a:lnTo>
                      <a:pt x="99" y="148"/>
                    </a:lnTo>
                    <a:lnTo>
                      <a:pt x="99" y="151"/>
                    </a:lnTo>
                    <a:lnTo>
                      <a:pt x="95" y="153"/>
                    </a:lnTo>
                    <a:lnTo>
                      <a:pt x="95" y="155"/>
                    </a:lnTo>
                    <a:lnTo>
                      <a:pt x="93" y="156"/>
                    </a:lnTo>
                    <a:lnTo>
                      <a:pt x="87" y="153"/>
                    </a:lnTo>
                    <a:lnTo>
                      <a:pt x="88" y="153"/>
                    </a:lnTo>
                    <a:lnTo>
                      <a:pt x="87" y="153"/>
                    </a:lnTo>
                    <a:lnTo>
                      <a:pt x="83" y="149"/>
                    </a:lnTo>
                    <a:lnTo>
                      <a:pt x="71" y="143"/>
                    </a:lnTo>
                    <a:lnTo>
                      <a:pt x="49" y="134"/>
                    </a:lnTo>
                    <a:lnTo>
                      <a:pt x="39" y="132"/>
                    </a:lnTo>
                    <a:lnTo>
                      <a:pt x="42" y="131"/>
                    </a:lnTo>
                    <a:lnTo>
                      <a:pt x="44" y="131"/>
                    </a:lnTo>
                    <a:lnTo>
                      <a:pt x="48" y="132"/>
                    </a:lnTo>
                    <a:lnTo>
                      <a:pt x="48" y="131"/>
                    </a:lnTo>
                    <a:lnTo>
                      <a:pt x="46" y="131"/>
                    </a:lnTo>
                    <a:lnTo>
                      <a:pt x="44" y="131"/>
                    </a:lnTo>
                    <a:lnTo>
                      <a:pt x="42" y="131"/>
                    </a:lnTo>
                    <a:lnTo>
                      <a:pt x="41" y="129"/>
                    </a:lnTo>
                    <a:lnTo>
                      <a:pt x="44" y="126"/>
                    </a:lnTo>
                    <a:lnTo>
                      <a:pt x="48" y="126"/>
                    </a:lnTo>
                    <a:lnTo>
                      <a:pt x="48" y="124"/>
                    </a:lnTo>
                    <a:lnTo>
                      <a:pt x="49" y="124"/>
                    </a:lnTo>
                    <a:lnTo>
                      <a:pt x="48" y="124"/>
                    </a:lnTo>
                    <a:lnTo>
                      <a:pt x="46" y="124"/>
                    </a:lnTo>
                    <a:lnTo>
                      <a:pt x="42" y="124"/>
                    </a:lnTo>
                    <a:lnTo>
                      <a:pt x="42" y="121"/>
                    </a:lnTo>
                    <a:lnTo>
                      <a:pt x="39" y="117"/>
                    </a:lnTo>
                    <a:lnTo>
                      <a:pt x="41" y="117"/>
                    </a:lnTo>
                    <a:lnTo>
                      <a:pt x="41" y="114"/>
                    </a:lnTo>
                    <a:lnTo>
                      <a:pt x="36" y="117"/>
                    </a:lnTo>
                    <a:lnTo>
                      <a:pt x="32" y="115"/>
                    </a:lnTo>
                    <a:lnTo>
                      <a:pt x="31" y="115"/>
                    </a:lnTo>
                    <a:lnTo>
                      <a:pt x="25" y="114"/>
                    </a:lnTo>
                    <a:lnTo>
                      <a:pt x="25" y="112"/>
                    </a:lnTo>
                    <a:lnTo>
                      <a:pt x="27" y="110"/>
                    </a:lnTo>
                    <a:lnTo>
                      <a:pt x="25" y="112"/>
                    </a:lnTo>
                    <a:lnTo>
                      <a:pt x="22" y="110"/>
                    </a:lnTo>
                    <a:lnTo>
                      <a:pt x="20" y="109"/>
                    </a:lnTo>
                    <a:lnTo>
                      <a:pt x="19" y="107"/>
                    </a:lnTo>
                    <a:lnTo>
                      <a:pt x="17" y="105"/>
                    </a:lnTo>
                    <a:lnTo>
                      <a:pt x="20" y="104"/>
                    </a:lnTo>
                    <a:lnTo>
                      <a:pt x="24" y="104"/>
                    </a:lnTo>
                    <a:lnTo>
                      <a:pt x="20" y="102"/>
                    </a:lnTo>
                    <a:lnTo>
                      <a:pt x="20" y="98"/>
                    </a:lnTo>
                    <a:lnTo>
                      <a:pt x="20" y="97"/>
                    </a:lnTo>
                    <a:lnTo>
                      <a:pt x="19" y="93"/>
                    </a:lnTo>
                    <a:lnTo>
                      <a:pt x="15" y="90"/>
                    </a:lnTo>
                    <a:lnTo>
                      <a:pt x="12" y="90"/>
                    </a:lnTo>
                    <a:lnTo>
                      <a:pt x="7" y="93"/>
                    </a:lnTo>
                    <a:lnTo>
                      <a:pt x="8" y="90"/>
                    </a:lnTo>
                    <a:lnTo>
                      <a:pt x="7" y="88"/>
                    </a:lnTo>
                    <a:lnTo>
                      <a:pt x="7" y="87"/>
                    </a:lnTo>
                    <a:lnTo>
                      <a:pt x="5" y="85"/>
                    </a:lnTo>
                    <a:lnTo>
                      <a:pt x="3" y="83"/>
                    </a:lnTo>
                    <a:lnTo>
                      <a:pt x="0" y="80"/>
                    </a:lnTo>
                    <a:lnTo>
                      <a:pt x="2" y="78"/>
                    </a:lnTo>
                    <a:lnTo>
                      <a:pt x="0" y="76"/>
                    </a:lnTo>
                    <a:lnTo>
                      <a:pt x="2" y="76"/>
                    </a:lnTo>
                    <a:lnTo>
                      <a:pt x="2" y="78"/>
                    </a:lnTo>
                    <a:lnTo>
                      <a:pt x="2" y="76"/>
                    </a:lnTo>
                    <a:lnTo>
                      <a:pt x="3" y="76"/>
                    </a:lnTo>
                    <a:lnTo>
                      <a:pt x="5" y="76"/>
                    </a:lnTo>
                    <a:lnTo>
                      <a:pt x="8" y="80"/>
                    </a:lnTo>
                    <a:lnTo>
                      <a:pt x="10" y="80"/>
                    </a:lnTo>
                    <a:lnTo>
                      <a:pt x="12" y="83"/>
                    </a:lnTo>
                    <a:lnTo>
                      <a:pt x="12" y="81"/>
                    </a:lnTo>
                    <a:lnTo>
                      <a:pt x="14" y="83"/>
                    </a:lnTo>
                    <a:lnTo>
                      <a:pt x="12" y="81"/>
                    </a:lnTo>
                    <a:lnTo>
                      <a:pt x="12" y="80"/>
                    </a:lnTo>
                    <a:lnTo>
                      <a:pt x="8" y="80"/>
                    </a:lnTo>
                    <a:lnTo>
                      <a:pt x="8" y="78"/>
                    </a:lnTo>
                    <a:lnTo>
                      <a:pt x="10" y="78"/>
                    </a:lnTo>
                    <a:lnTo>
                      <a:pt x="10" y="76"/>
                    </a:lnTo>
                    <a:lnTo>
                      <a:pt x="12" y="76"/>
                    </a:lnTo>
                    <a:lnTo>
                      <a:pt x="14" y="75"/>
                    </a:lnTo>
                    <a:lnTo>
                      <a:pt x="14" y="76"/>
                    </a:lnTo>
                    <a:lnTo>
                      <a:pt x="15" y="78"/>
                    </a:lnTo>
                    <a:lnTo>
                      <a:pt x="15" y="76"/>
                    </a:lnTo>
                    <a:lnTo>
                      <a:pt x="14" y="76"/>
                    </a:lnTo>
                    <a:lnTo>
                      <a:pt x="14" y="75"/>
                    </a:lnTo>
                    <a:lnTo>
                      <a:pt x="15" y="73"/>
                    </a:lnTo>
                    <a:lnTo>
                      <a:pt x="17" y="73"/>
                    </a:lnTo>
                    <a:lnTo>
                      <a:pt x="17" y="75"/>
                    </a:lnTo>
                    <a:lnTo>
                      <a:pt x="19" y="75"/>
                    </a:lnTo>
                    <a:lnTo>
                      <a:pt x="22" y="73"/>
                    </a:lnTo>
                    <a:lnTo>
                      <a:pt x="24" y="73"/>
                    </a:lnTo>
                    <a:lnTo>
                      <a:pt x="20" y="71"/>
                    </a:lnTo>
                    <a:lnTo>
                      <a:pt x="20" y="73"/>
                    </a:lnTo>
                    <a:lnTo>
                      <a:pt x="19" y="71"/>
                    </a:lnTo>
                    <a:lnTo>
                      <a:pt x="15" y="71"/>
                    </a:lnTo>
                    <a:lnTo>
                      <a:pt x="12" y="73"/>
                    </a:lnTo>
                    <a:lnTo>
                      <a:pt x="10" y="71"/>
                    </a:lnTo>
                    <a:lnTo>
                      <a:pt x="15" y="68"/>
                    </a:lnTo>
                    <a:lnTo>
                      <a:pt x="14" y="68"/>
                    </a:lnTo>
                    <a:lnTo>
                      <a:pt x="14" y="66"/>
                    </a:lnTo>
                    <a:lnTo>
                      <a:pt x="12" y="68"/>
                    </a:lnTo>
                    <a:lnTo>
                      <a:pt x="12" y="66"/>
                    </a:lnTo>
                    <a:lnTo>
                      <a:pt x="12" y="70"/>
                    </a:lnTo>
                    <a:lnTo>
                      <a:pt x="10" y="70"/>
                    </a:lnTo>
                    <a:lnTo>
                      <a:pt x="10" y="68"/>
                    </a:lnTo>
                    <a:lnTo>
                      <a:pt x="10" y="70"/>
                    </a:lnTo>
                    <a:lnTo>
                      <a:pt x="8" y="70"/>
                    </a:lnTo>
                    <a:lnTo>
                      <a:pt x="8" y="68"/>
                    </a:lnTo>
                    <a:lnTo>
                      <a:pt x="8" y="66"/>
                    </a:lnTo>
                    <a:lnTo>
                      <a:pt x="7" y="68"/>
                    </a:lnTo>
                    <a:lnTo>
                      <a:pt x="8" y="70"/>
                    </a:lnTo>
                    <a:lnTo>
                      <a:pt x="10" y="70"/>
                    </a:lnTo>
                    <a:lnTo>
                      <a:pt x="8" y="70"/>
                    </a:lnTo>
                    <a:lnTo>
                      <a:pt x="10" y="71"/>
                    </a:lnTo>
                    <a:lnTo>
                      <a:pt x="8" y="73"/>
                    </a:lnTo>
                    <a:lnTo>
                      <a:pt x="8" y="75"/>
                    </a:lnTo>
                    <a:lnTo>
                      <a:pt x="7" y="75"/>
                    </a:lnTo>
                    <a:lnTo>
                      <a:pt x="3" y="68"/>
                    </a:lnTo>
                    <a:lnTo>
                      <a:pt x="3" y="59"/>
                    </a:lnTo>
                    <a:lnTo>
                      <a:pt x="5" y="58"/>
                    </a:lnTo>
                    <a:lnTo>
                      <a:pt x="8" y="59"/>
                    </a:lnTo>
                    <a:lnTo>
                      <a:pt x="10" y="59"/>
                    </a:lnTo>
                    <a:lnTo>
                      <a:pt x="12" y="59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7" y="56"/>
                    </a:lnTo>
                    <a:lnTo>
                      <a:pt x="12" y="54"/>
                    </a:lnTo>
                    <a:lnTo>
                      <a:pt x="8" y="54"/>
                    </a:lnTo>
                    <a:lnTo>
                      <a:pt x="7" y="56"/>
                    </a:lnTo>
                    <a:lnTo>
                      <a:pt x="5" y="54"/>
                    </a:lnTo>
                    <a:lnTo>
                      <a:pt x="3" y="53"/>
                    </a:lnTo>
                    <a:lnTo>
                      <a:pt x="3" y="51"/>
                    </a:lnTo>
                    <a:lnTo>
                      <a:pt x="2" y="53"/>
                    </a:lnTo>
                    <a:lnTo>
                      <a:pt x="0" y="47"/>
                    </a:lnTo>
                    <a:lnTo>
                      <a:pt x="5" y="46"/>
                    </a:lnTo>
                    <a:lnTo>
                      <a:pt x="8" y="47"/>
                    </a:lnTo>
                    <a:lnTo>
                      <a:pt x="12" y="47"/>
                    </a:lnTo>
                    <a:lnTo>
                      <a:pt x="19" y="42"/>
                    </a:lnTo>
                    <a:lnTo>
                      <a:pt x="17" y="39"/>
                    </a:lnTo>
                    <a:lnTo>
                      <a:pt x="19" y="36"/>
                    </a:lnTo>
                    <a:lnTo>
                      <a:pt x="20" y="37"/>
                    </a:lnTo>
                    <a:lnTo>
                      <a:pt x="22" y="37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7" y="36"/>
                    </a:lnTo>
                    <a:lnTo>
                      <a:pt x="27" y="34"/>
                    </a:lnTo>
                    <a:lnTo>
                      <a:pt x="29" y="34"/>
                    </a:lnTo>
                    <a:lnTo>
                      <a:pt x="27" y="30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2" y="30"/>
                    </a:lnTo>
                    <a:lnTo>
                      <a:pt x="32" y="27"/>
                    </a:lnTo>
                    <a:lnTo>
                      <a:pt x="34" y="24"/>
                    </a:lnTo>
                    <a:lnTo>
                      <a:pt x="32" y="24"/>
                    </a:lnTo>
                    <a:lnTo>
                      <a:pt x="34" y="22"/>
                    </a:lnTo>
                    <a:lnTo>
                      <a:pt x="36" y="20"/>
                    </a:lnTo>
                    <a:lnTo>
                      <a:pt x="36" y="17"/>
                    </a:lnTo>
                    <a:lnTo>
                      <a:pt x="37" y="17"/>
                    </a:lnTo>
                    <a:lnTo>
                      <a:pt x="37" y="15"/>
                    </a:lnTo>
                    <a:lnTo>
                      <a:pt x="39" y="13"/>
                    </a:lnTo>
                    <a:lnTo>
                      <a:pt x="39" y="15"/>
                    </a:lnTo>
                    <a:lnTo>
                      <a:pt x="39" y="13"/>
                    </a:lnTo>
                    <a:lnTo>
                      <a:pt x="41" y="13"/>
                    </a:lnTo>
                    <a:lnTo>
                      <a:pt x="41" y="12"/>
                    </a:lnTo>
                    <a:lnTo>
                      <a:pt x="41" y="10"/>
                    </a:lnTo>
                    <a:lnTo>
                      <a:pt x="41" y="7"/>
                    </a:lnTo>
                    <a:lnTo>
                      <a:pt x="42" y="7"/>
                    </a:lnTo>
                    <a:lnTo>
                      <a:pt x="54" y="3"/>
                    </a:lnTo>
                    <a:lnTo>
                      <a:pt x="56" y="5"/>
                    </a:lnTo>
                    <a:lnTo>
                      <a:pt x="59" y="7"/>
                    </a:lnTo>
                    <a:lnTo>
                      <a:pt x="71" y="3"/>
                    </a:lnTo>
                    <a:lnTo>
                      <a:pt x="71" y="0"/>
                    </a:lnTo>
                    <a:lnTo>
                      <a:pt x="88" y="0"/>
                    </a:lnTo>
                    <a:lnTo>
                      <a:pt x="107" y="0"/>
                    </a:lnTo>
                    <a:lnTo>
                      <a:pt x="107" y="1"/>
                    </a:lnTo>
                    <a:lnTo>
                      <a:pt x="109" y="3"/>
                    </a:lnTo>
                    <a:lnTo>
                      <a:pt x="109" y="7"/>
                    </a:lnTo>
                    <a:lnTo>
                      <a:pt x="114" y="8"/>
                    </a:lnTo>
                    <a:lnTo>
                      <a:pt x="117" y="13"/>
                    </a:lnTo>
                    <a:lnTo>
                      <a:pt x="119" y="17"/>
                    </a:lnTo>
                    <a:lnTo>
                      <a:pt x="121" y="17"/>
                    </a:lnTo>
                    <a:lnTo>
                      <a:pt x="121" y="18"/>
                    </a:lnTo>
                    <a:lnTo>
                      <a:pt x="121" y="17"/>
                    </a:lnTo>
                    <a:lnTo>
                      <a:pt x="121" y="20"/>
                    </a:lnTo>
                    <a:lnTo>
                      <a:pt x="124" y="22"/>
                    </a:lnTo>
                    <a:lnTo>
                      <a:pt x="124" y="24"/>
                    </a:lnTo>
                    <a:lnTo>
                      <a:pt x="126" y="24"/>
                    </a:lnTo>
                    <a:lnTo>
                      <a:pt x="124" y="25"/>
                    </a:lnTo>
                    <a:lnTo>
                      <a:pt x="124" y="27"/>
                    </a:lnTo>
                    <a:lnTo>
                      <a:pt x="127" y="29"/>
                    </a:lnTo>
                    <a:lnTo>
                      <a:pt x="126" y="30"/>
                    </a:lnTo>
                    <a:lnTo>
                      <a:pt x="129" y="30"/>
                    </a:lnTo>
                    <a:lnTo>
                      <a:pt x="131" y="32"/>
                    </a:lnTo>
                    <a:lnTo>
                      <a:pt x="133" y="32"/>
                    </a:lnTo>
                    <a:lnTo>
                      <a:pt x="134" y="36"/>
                    </a:lnTo>
                    <a:lnTo>
                      <a:pt x="133" y="37"/>
                    </a:lnTo>
                    <a:lnTo>
                      <a:pt x="134" y="39"/>
                    </a:lnTo>
                    <a:lnTo>
                      <a:pt x="133" y="41"/>
                    </a:lnTo>
                    <a:lnTo>
                      <a:pt x="131" y="41"/>
                    </a:lnTo>
                    <a:lnTo>
                      <a:pt x="131" y="42"/>
                    </a:lnTo>
                    <a:lnTo>
                      <a:pt x="131" y="46"/>
                    </a:lnTo>
                    <a:lnTo>
                      <a:pt x="134" y="46"/>
                    </a:lnTo>
                    <a:lnTo>
                      <a:pt x="138" y="47"/>
                    </a:lnTo>
                    <a:lnTo>
                      <a:pt x="138" y="53"/>
                    </a:lnTo>
                    <a:lnTo>
                      <a:pt x="139" y="58"/>
                    </a:lnTo>
                    <a:lnTo>
                      <a:pt x="139" y="61"/>
                    </a:lnTo>
                    <a:lnTo>
                      <a:pt x="141" y="61"/>
                    </a:lnTo>
                    <a:lnTo>
                      <a:pt x="141" y="64"/>
                    </a:lnTo>
                    <a:lnTo>
                      <a:pt x="143" y="64"/>
                    </a:lnTo>
                    <a:lnTo>
                      <a:pt x="144" y="66"/>
                    </a:lnTo>
                    <a:lnTo>
                      <a:pt x="143" y="70"/>
                    </a:lnTo>
                    <a:lnTo>
                      <a:pt x="138" y="71"/>
                    </a:lnTo>
                    <a:lnTo>
                      <a:pt x="138" y="73"/>
                    </a:lnTo>
                    <a:lnTo>
                      <a:pt x="136" y="73"/>
                    </a:lnTo>
                    <a:lnTo>
                      <a:pt x="136" y="76"/>
                    </a:lnTo>
                    <a:lnTo>
                      <a:pt x="134" y="80"/>
                    </a:lnTo>
                    <a:lnTo>
                      <a:pt x="136" y="81"/>
                    </a:lnTo>
                    <a:lnTo>
                      <a:pt x="133" y="81"/>
                    </a:lnTo>
                    <a:lnTo>
                      <a:pt x="133" y="87"/>
                    </a:lnTo>
                    <a:lnTo>
                      <a:pt x="134" y="83"/>
                    </a:lnTo>
                    <a:lnTo>
                      <a:pt x="138" y="85"/>
                    </a:lnTo>
                    <a:lnTo>
                      <a:pt x="139" y="85"/>
                    </a:lnTo>
                    <a:lnTo>
                      <a:pt x="141" y="85"/>
                    </a:lnTo>
                    <a:lnTo>
                      <a:pt x="148" y="78"/>
                    </a:lnTo>
                    <a:lnTo>
                      <a:pt x="148" y="76"/>
                    </a:lnTo>
                    <a:lnTo>
                      <a:pt x="150" y="76"/>
                    </a:lnTo>
                    <a:lnTo>
                      <a:pt x="151" y="76"/>
                    </a:lnTo>
                    <a:lnTo>
                      <a:pt x="153" y="76"/>
                    </a:lnTo>
                    <a:close/>
                    <a:moveTo>
                      <a:pt x="36" y="119"/>
                    </a:moveTo>
                    <a:lnTo>
                      <a:pt x="37" y="121"/>
                    </a:lnTo>
                    <a:lnTo>
                      <a:pt x="36" y="121"/>
                    </a:lnTo>
                    <a:lnTo>
                      <a:pt x="36" y="122"/>
                    </a:lnTo>
                    <a:lnTo>
                      <a:pt x="37" y="124"/>
                    </a:lnTo>
                    <a:lnTo>
                      <a:pt x="41" y="124"/>
                    </a:lnTo>
                    <a:lnTo>
                      <a:pt x="41" y="127"/>
                    </a:lnTo>
                    <a:lnTo>
                      <a:pt x="39" y="127"/>
                    </a:lnTo>
                    <a:lnTo>
                      <a:pt x="39" y="132"/>
                    </a:lnTo>
                    <a:lnTo>
                      <a:pt x="37" y="132"/>
                    </a:lnTo>
                    <a:lnTo>
                      <a:pt x="37" y="129"/>
                    </a:lnTo>
                    <a:lnTo>
                      <a:pt x="34" y="127"/>
                    </a:lnTo>
                    <a:lnTo>
                      <a:pt x="17" y="122"/>
                    </a:lnTo>
                    <a:lnTo>
                      <a:pt x="20" y="122"/>
                    </a:lnTo>
                    <a:lnTo>
                      <a:pt x="22" y="121"/>
                    </a:lnTo>
                    <a:lnTo>
                      <a:pt x="24" y="121"/>
                    </a:lnTo>
                    <a:lnTo>
                      <a:pt x="25" y="121"/>
                    </a:lnTo>
                    <a:lnTo>
                      <a:pt x="29" y="121"/>
                    </a:lnTo>
                    <a:lnTo>
                      <a:pt x="31" y="119"/>
                    </a:lnTo>
                    <a:lnTo>
                      <a:pt x="36" y="119"/>
                    </a:lnTo>
                    <a:close/>
                    <a:moveTo>
                      <a:pt x="41" y="122"/>
                    </a:moveTo>
                    <a:lnTo>
                      <a:pt x="41" y="124"/>
                    </a:lnTo>
                    <a:lnTo>
                      <a:pt x="39" y="124"/>
                    </a:lnTo>
                    <a:lnTo>
                      <a:pt x="37" y="124"/>
                    </a:lnTo>
                    <a:lnTo>
                      <a:pt x="36" y="122"/>
                    </a:lnTo>
                    <a:lnTo>
                      <a:pt x="37" y="121"/>
                    </a:lnTo>
                    <a:lnTo>
                      <a:pt x="41" y="122"/>
                    </a:lnTo>
                    <a:close/>
                    <a:moveTo>
                      <a:pt x="3" y="54"/>
                    </a:moveTo>
                    <a:lnTo>
                      <a:pt x="5" y="54"/>
                    </a:lnTo>
                    <a:lnTo>
                      <a:pt x="5" y="56"/>
                    </a:lnTo>
                    <a:lnTo>
                      <a:pt x="3" y="56"/>
                    </a:lnTo>
                    <a:lnTo>
                      <a:pt x="3" y="54"/>
                    </a:lnTo>
                    <a:close/>
                    <a:moveTo>
                      <a:pt x="17" y="73"/>
                    </a:moveTo>
                    <a:lnTo>
                      <a:pt x="19" y="73"/>
                    </a:lnTo>
                    <a:lnTo>
                      <a:pt x="19" y="75"/>
                    </a:lnTo>
                    <a:lnTo>
                      <a:pt x="17" y="75"/>
                    </a:lnTo>
                    <a:lnTo>
                      <a:pt x="17" y="73"/>
                    </a:lnTo>
                    <a:close/>
                    <a:moveTo>
                      <a:pt x="12" y="73"/>
                    </a:moveTo>
                    <a:lnTo>
                      <a:pt x="12" y="75"/>
                    </a:lnTo>
                    <a:lnTo>
                      <a:pt x="12" y="73"/>
                    </a:lnTo>
                    <a:close/>
                    <a:moveTo>
                      <a:pt x="37" y="119"/>
                    </a:moveTo>
                    <a:lnTo>
                      <a:pt x="39" y="119"/>
                    </a:lnTo>
                    <a:lnTo>
                      <a:pt x="39" y="121"/>
                    </a:lnTo>
                    <a:lnTo>
                      <a:pt x="37" y="121"/>
                    </a:lnTo>
                    <a:lnTo>
                      <a:pt x="37" y="119"/>
                    </a:lnTo>
                    <a:close/>
                    <a:moveTo>
                      <a:pt x="44" y="131"/>
                    </a:moveTo>
                    <a:lnTo>
                      <a:pt x="48" y="131"/>
                    </a:lnTo>
                    <a:lnTo>
                      <a:pt x="48" y="132"/>
                    </a:lnTo>
                    <a:lnTo>
                      <a:pt x="44" y="132"/>
                    </a:lnTo>
                    <a:lnTo>
                      <a:pt x="44" y="131"/>
                    </a:lnTo>
                    <a:close/>
                    <a:moveTo>
                      <a:pt x="12" y="119"/>
                    </a:moveTo>
                    <a:lnTo>
                      <a:pt x="14" y="119"/>
                    </a:lnTo>
                    <a:lnTo>
                      <a:pt x="14" y="121"/>
                    </a:lnTo>
                    <a:lnTo>
                      <a:pt x="12" y="121"/>
                    </a:lnTo>
                    <a:lnTo>
                      <a:pt x="12" y="119"/>
                    </a:lnTo>
                    <a:close/>
                    <a:moveTo>
                      <a:pt x="3" y="93"/>
                    </a:moveTo>
                    <a:lnTo>
                      <a:pt x="7" y="93"/>
                    </a:lnTo>
                    <a:lnTo>
                      <a:pt x="7" y="97"/>
                    </a:lnTo>
                    <a:lnTo>
                      <a:pt x="3" y="97"/>
                    </a:lnTo>
                    <a:lnTo>
                      <a:pt x="3" y="93"/>
                    </a:lnTo>
                    <a:close/>
                    <a:moveTo>
                      <a:pt x="39" y="115"/>
                    </a:moveTo>
                    <a:lnTo>
                      <a:pt x="41" y="115"/>
                    </a:lnTo>
                    <a:lnTo>
                      <a:pt x="41" y="117"/>
                    </a:lnTo>
                    <a:lnTo>
                      <a:pt x="39" y="117"/>
                    </a:lnTo>
                    <a:lnTo>
                      <a:pt x="39" y="115"/>
                    </a:lnTo>
                    <a:close/>
                    <a:moveTo>
                      <a:pt x="15" y="71"/>
                    </a:moveTo>
                    <a:lnTo>
                      <a:pt x="17" y="71"/>
                    </a:lnTo>
                    <a:lnTo>
                      <a:pt x="17" y="73"/>
                    </a:lnTo>
                    <a:lnTo>
                      <a:pt x="15" y="73"/>
                    </a:lnTo>
                    <a:lnTo>
                      <a:pt x="15" y="71"/>
                    </a:lnTo>
                    <a:close/>
                    <a:moveTo>
                      <a:pt x="8" y="71"/>
                    </a:moveTo>
                    <a:lnTo>
                      <a:pt x="10" y="71"/>
                    </a:lnTo>
                    <a:lnTo>
                      <a:pt x="10" y="73"/>
                    </a:lnTo>
                    <a:lnTo>
                      <a:pt x="8" y="73"/>
                    </a:lnTo>
                    <a:lnTo>
                      <a:pt x="8" y="71"/>
                    </a:lnTo>
                    <a:close/>
                    <a:moveTo>
                      <a:pt x="42" y="124"/>
                    </a:moveTo>
                    <a:lnTo>
                      <a:pt x="42" y="126"/>
                    </a:lnTo>
                    <a:lnTo>
                      <a:pt x="42" y="124"/>
                    </a:lnTo>
                    <a:close/>
                    <a:moveTo>
                      <a:pt x="8" y="54"/>
                    </a:moveTo>
                    <a:lnTo>
                      <a:pt x="10" y="54"/>
                    </a:lnTo>
                    <a:lnTo>
                      <a:pt x="10" y="56"/>
                    </a:lnTo>
                    <a:lnTo>
                      <a:pt x="8" y="56"/>
                    </a:lnTo>
                    <a:lnTo>
                      <a:pt x="8" y="54"/>
                    </a:lnTo>
                    <a:close/>
                    <a:moveTo>
                      <a:pt x="15" y="122"/>
                    </a:moveTo>
                    <a:lnTo>
                      <a:pt x="17" y="122"/>
                    </a:lnTo>
                    <a:lnTo>
                      <a:pt x="15" y="122"/>
                    </a:lnTo>
                    <a:close/>
                    <a:moveTo>
                      <a:pt x="41" y="121"/>
                    </a:moveTo>
                    <a:lnTo>
                      <a:pt x="42" y="121"/>
                    </a:lnTo>
                    <a:lnTo>
                      <a:pt x="41" y="121"/>
                    </a:lnTo>
                    <a:close/>
                    <a:moveTo>
                      <a:pt x="41" y="129"/>
                    </a:moveTo>
                    <a:lnTo>
                      <a:pt x="42" y="129"/>
                    </a:lnTo>
                    <a:lnTo>
                      <a:pt x="42" y="131"/>
                    </a:lnTo>
                    <a:lnTo>
                      <a:pt x="41" y="131"/>
                    </a:lnTo>
                    <a:lnTo>
                      <a:pt x="41" y="129"/>
                    </a:lnTo>
                    <a:close/>
                    <a:moveTo>
                      <a:pt x="87" y="153"/>
                    </a:moveTo>
                    <a:lnTo>
                      <a:pt x="88" y="153"/>
                    </a:lnTo>
                    <a:lnTo>
                      <a:pt x="87" y="153"/>
                    </a:lnTo>
                    <a:close/>
                    <a:moveTo>
                      <a:pt x="7" y="56"/>
                    </a:moveTo>
                    <a:lnTo>
                      <a:pt x="8" y="56"/>
                    </a:lnTo>
                    <a:lnTo>
                      <a:pt x="8" y="58"/>
                    </a:lnTo>
                    <a:lnTo>
                      <a:pt x="7" y="58"/>
                    </a:lnTo>
                    <a:lnTo>
                      <a:pt x="7" y="56"/>
                    </a:lnTo>
                    <a:close/>
                    <a:moveTo>
                      <a:pt x="10" y="58"/>
                    </a:moveTo>
                    <a:lnTo>
                      <a:pt x="12" y="58"/>
                    </a:lnTo>
                    <a:lnTo>
                      <a:pt x="12" y="59"/>
                    </a:lnTo>
                    <a:lnTo>
                      <a:pt x="10" y="59"/>
                    </a:lnTo>
                    <a:lnTo>
                      <a:pt x="10" y="58"/>
                    </a:lnTo>
                    <a:close/>
                    <a:moveTo>
                      <a:pt x="10" y="58"/>
                    </a:moveTo>
                    <a:lnTo>
                      <a:pt x="10" y="59"/>
                    </a:lnTo>
                    <a:lnTo>
                      <a:pt x="10" y="58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1" name="Freeform 52">
                <a:extLst>
                  <a:ext uri="{FF2B5EF4-FFF2-40B4-BE49-F238E27FC236}">
                    <a16:creationId xmlns:a16="http://schemas.microsoft.com/office/drawing/2014/main" id="{6E5170DC-F326-4E52-A67C-3BEFD623775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872188" y="2489096"/>
                <a:ext cx="836588" cy="1096918"/>
              </a:xfrm>
              <a:custGeom>
                <a:avLst/>
                <a:gdLst>
                  <a:gd name="T0" fmla="*/ 0 w 527"/>
                  <a:gd name="T1" fmla="*/ 647 h 691"/>
                  <a:gd name="T2" fmla="*/ 0 w 527"/>
                  <a:gd name="T3" fmla="*/ 557 h 691"/>
                  <a:gd name="T4" fmla="*/ 0 w 527"/>
                  <a:gd name="T5" fmla="*/ 490 h 691"/>
                  <a:gd name="T6" fmla="*/ 43 w 527"/>
                  <a:gd name="T7" fmla="*/ 409 h 691"/>
                  <a:gd name="T8" fmla="*/ 55 w 527"/>
                  <a:gd name="T9" fmla="*/ 395 h 691"/>
                  <a:gd name="T10" fmla="*/ 79 w 527"/>
                  <a:gd name="T11" fmla="*/ 395 h 691"/>
                  <a:gd name="T12" fmla="*/ 106 w 527"/>
                  <a:gd name="T13" fmla="*/ 373 h 691"/>
                  <a:gd name="T14" fmla="*/ 201 w 527"/>
                  <a:gd name="T15" fmla="*/ 358 h 691"/>
                  <a:gd name="T16" fmla="*/ 269 w 527"/>
                  <a:gd name="T17" fmla="*/ 290 h 691"/>
                  <a:gd name="T18" fmla="*/ 332 w 527"/>
                  <a:gd name="T19" fmla="*/ 225 h 691"/>
                  <a:gd name="T20" fmla="*/ 266 w 527"/>
                  <a:gd name="T21" fmla="*/ 189 h 691"/>
                  <a:gd name="T22" fmla="*/ 193 w 527"/>
                  <a:gd name="T23" fmla="*/ 165 h 691"/>
                  <a:gd name="T24" fmla="*/ 143 w 527"/>
                  <a:gd name="T25" fmla="*/ 142 h 691"/>
                  <a:gd name="T26" fmla="*/ 116 w 527"/>
                  <a:gd name="T27" fmla="*/ 121 h 691"/>
                  <a:gd name="T28" fmla="*/ 94 w 527"/>
                  <a:gd name="T29" fmla="*/ 89 h 691"/>
                  <a:gd name="T30" fmla="*/ 102 w 527"/>
                  <a:gd name="T31" fmla="*/ 46 h 691"/>
                  <a:gd name="T32" fmla="*/ 123 w 527"/>
                  <a:gd name="T33" fmla="*/ 31 h 691"/>
                  <a:gd name="T34" fmla="*/ 136 w 527"/>
                  <a:gd name="T35" fmla="*/ 53 h 691"/>
                  <a:gd name="T36" fmla="*/ 172 w 527"/>
                  <a:gd name="T37" fmla="*/ 80 h 691"/>
                  <a:gd name="T38" fmla="*/ 203 w 527"/>
                  <a:gd name="T39" fmla="*/ 79 h 691"/>
                  <a:gd name="T40" fmla="*/ 220 w 527"/>
                  <a:gd name="T41" fmla="*/ 67 h 691"/>
                  <a:gd name="T42" fmla="*/ 242 w 527"/>
                  <a:gd name="T43" fmla="*/ 57 h 691"/>
                  <a:gd name="T44" fmla="*/ 276 w 527"/>
                  <a:gd name="T45" fmla="*/ 67 h 691"/>
                  <a:gd name="T46" fmla="*/ 308 w 527"/>
                  <a:gd name="T47" fmla="*/ 51 h 691"/>
                  <a:gd name="T48" fmla="*/ 344 w 527"/>
                  <a:gd name="T49" fmla="*/ 45 h 691"/>
                  <a:gd name="T50" fmla="*/ 369 w 527"/>
                  <a:gd name="T51" fmla="*/ 40 h 691"/>
                  <a:gd name="T52" fmla="*/ 400 w 527"/>
                  <a:gd name="T53" fmla="*/ 38 h 691"/>
                  <a:gd name="T54" fmla="*/ 430 w 527"/>
                  <a:gd name="T55" fmla="*/ 31 h 691"/>
                  <a:gd name="T56" fmla="*/ 453 w 527"/>
                  <a:gd name="T57" fmla="*/ 24 h 691"/>
                  <a:gd name="T58" fmla="*/ 480 w 527"/>
                  <a:gd name="T59" fmla="*/ 14 h 691"/>
                  <a:gd name="T60" fmla="*/ 497 w 527"/>
                  <a:gd name="T61" fmla="*/ 0 h 691"/>
                  <a:gd name="T62" fmla="*/ 521 w 527"/>
                  <a:gd name="T63" fmla="*/ 7 h 691"/>
                  <a:gd name="T64" fmla="*/ 510 w 527"/>
                  <a:gd name="T65" fmla="*/ 38 h 691"/>
                  <a:gd name="T66" fmla="*/ 515 w 527"/>
                  <a:gd name="T67" fmla="*/ 72 h 691"/>
                  <a:gd name="T68" fmla="*/ 514 w 527"/>
                  <a:gd name="T69" fmla="*/ 79 h 691"/>
                  <a:gd name="T70" fmla="*/ 527 w 527"/>
                  <a:gd name="T71" fmla="*/ 79 h 691"/>
                  <a:gd name="T72" fmla="*/ 515 w 527"/>
                  <a:gd name="T73" fmla="*/ 79 h 691"/>
                  <a:gd name="T74" fmla="*/ 500 w 527"/>
                  <a:gd name="T75" fmla="*/ 108 h 691"/>
                  <a:gd name="T76" fmla="*/ 498 w 527"/>
                  <a:gd name="T77" fmla="*/ 130 h 691"/>
                  <a:gd name="T78" fmla="*/ 476 w 527"/>
                  <a:gd name="T79" fmla="*/ 159 h 691"/>
                  <a:gd name="T80" fmla="*/ 463 w 527"/>
                  <a:gd name="T81" fmla="*/ 193 h 691"/>
                  <a:gd name="T82" fmla="*/ 447 w 527"/>
                  <a:gd name="T83" fmla="*/ 213 h 691"/>
                  <a:gd name="T84" fmla="*/ 425 w 527"/>
                  <a:gd name="T85" fmla="*/ 250 h 691"/>
                  <a:gd name="T86" fmla="*/ 400 w 527"/>
                  <a:gd name="T87" fmla="*/ 308 h 691"/>
                  <a:gd name="T88" fmla="*/ 359 w 527"/>
                  <a:gd name="T89" fmla="*/ 371 h 691"/>
                  <a:gd name="T90" fmla="*/ 300 w 527"/>
                  <a:gd name="T91" fmla="*/ 438 h 691"/>
                  <a:gd name="T92" fmla="*/ 254 w 527"/>
                  <a:gd name="T93" fmla="*/ 485 h 691"/>
                  <a:gd name="T94" fmla="*/ 191 w 527"/>
                  <a:gd name="T95" fmla="*/ 521 h 691"/>
                  <a:gd name="T96" fmla="*/ 155 w 527"/>
                  <a:gd name="T97" fmla="*/ 550 h 691"/>
                  <a:gd name="T98" fmla="*/ 121 w 527"/>
                  <a:gd name="T99" fmla="*/ 580 h 691"/>
                  <a:gd name="T100" fmla="*/ 79 w 527"/>
                  <a:gd name="T101" fmla="*/ 626 h 691"/>
                  <a:gd name="T102" fmla="*/ 72 w 527"/>
                  <a:gd name="T103" fmla="*/ 633 h 691"/>
                  <a:gd name="T104" fmla="*/ 51 w 527"/>
                  <a:gd name="T105" fmla="*/ 649 h 691"/>
                  <a:gd name="T106" fmla="*/ 55 w 527"/>
                  <a:gd name="T107" fmla="*/ 652 h 691"/>
                  <a:gd name="T108" fmla="*/ 50 w 527"/>
                  <a:gd name="T109" fmla="*/ 657 h 691"/>
                  <a:gd name="T110" fmla="*/ 48 w 527"/>
                  <a:gd name="T111" fmla="*/ 657 h 691"/>
                  <a:gd name="T112" fmla="*/ 45 w 527"/>
                  <a:gd name="T113" fmla="*/ 667 h 691"/>
                  <a:gd name="T114" fmla="*/ 41 w 527"/>
                  <a:gd name="T115" fmla="*/ 667 h 691"/>
                  <a:gd name="T116" fmla="*/ 34 w 527"/>
                  <a:gd name="T117" fmla="*/ 669 h 691"/>
                  <a:gd name="T118" fmla="*/ 28 w 527"/>
                  <a:gd name="T119" fmla="*/ 691 h 691"/>
                  <a:gd name="T120" fmla="*/ 125 w 527"/>
                  <a:gd name="T121" fmla="*/ 24 h 6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27" h="691">
                    <a:moveTo>
                      <a:pt x="28" y="691"/>
                    </a:moveTo>
                    <a:lnTo>
                      <a:pt x="28" y="688"/>
                    </a:lnTo>
                    <a:lnTo>
                      <a:pt x="11" y="666"/>
                    </a:lnTo>
                    <a:lnTo>
                      <a:pt x="6" y="659"/>
                    </a:lnTo>
                    <a:lnTo>
                      <a:pt x="0" y="650"/>
                    </a:lnTo>
                    <a:lnTo>
                      <a:pt x="0" y="647"/>
                    </a:lnTo>
                    <a:lnTo>
                      <a:pt x="0" y="618"/>
                    </a:lnTo>
                    <a:lnTo>
                      <a:pt x="0" y="608"/>
                    </a:lnTo>
                    <a:lnTo>
                      <a:pt x="0" y="587"/>
                    </a:lnTo>
                    <a:lnTo>
                      <a:pt x="0" y="574"/>
                    </a:lnTo>
                    <a:lnTo>
                      <a:pt x="0" y="560"/>
                    </a:lnTo>
                    <a:lnTo>
                      <a:pt x="0" y="557"/>
                    </a:lnTo>
                    <a:lnTo>
                      <a:pt x="0" y="545"/>
                    </a:lnTo>
                    <a:lnTo>
                      <a:pt x="0" y="536"/>
                    </a:lnTo>
                    <a:lnTo>
                      <a:pt x="0" y="521"/>
                    </a:lnTo>
                    <a:lnTo>
                      <a:pt x="0" y="507"/>
                    </a:lnTo>
                    <a:lnTo>
                      <a:pt x="0" y="497"/>
                    </a:lnTo>
                    <a:lnTo>
                      <a:pt x="0" y="490"/>
                    </a:lnTo>
                    <a:lnTo>
                      <a:pt x="0" y="489"/>
                    </a:lnTo>
                    <a:lnTo>
                      <a:pt x="0" y="473"/>
                    </a:lnTo>
                    <a:lnTo>
                      <a:pt x="0" y="465"/>
                    </a:lnTo>
                    <a:lnTo>
                      <a:pt x="2" y="461"/>
                    </a:lnTo>
                    <a:lnTo>
                      <a:pt x="17" y="448"/>
                    </a:lnTo>
                    <a:lnTo>
                      <a:pt x="43" y="409"/>
                    </a:lnTo>
                    <a:lnTo>
                      <a:pt x="46" y="405"/>
                    </a:lnTo>
                    <a:lnTo>
                      <a:pt x="48" y="404"/>
                    </a:lnTo>
                    <a:lnTo>
                      <a:pt x="48" y="402"/>
                    </a:lnTo>
                    <a:lnTo>
                      <a:pt x="50" y="400"/>
                    </a:lnTo>
                    <a:lnTo>
                      <a:pt x="51" y="398"/>
                    </a:lnTo>
                    <a:lnTo>
                      <a:pt x="55" y="395"/>
                    </a:lnTo>
                    <a:lnTo>
                      <a:pt x="55" y="397"/>
                    </a:lnTo>
                    <a:lnTo>
                      <a:pt x="57" y="395"/>
                    </a:lnTo>
                    <a:lnTo>
                      <a:pt x="58" y="397"/>
                    </a:lnTo>
                    <a:lnTo>
                      <a:pt x="60" y="397"/>
                    </a:lnTo>
                    <a:lnTo>
                      <a:pt x="60" y="395"/>
                    </a:lnTo>
                    <a:lnTo>
                      <a:pt x="79" y="395"/>
                    </a:lnTo>
                    <a:lnTo>
                      <a:pt x="87" y="392"/>
                    </a:lnTo>
                    <a:lnTo>
                      <a:pt x="92" y="392"/>
                    </a:lnTo>
                    <a:lnTo>
                      <a:pt x="99" y="387"/>
                    </a:lnTo>
                    <a:lnTo>
                      <a:pt x="102" y="381"/>
                    </a:lnTo>
                    <a:lnTo>
                      <a:pt x="102" y="378"/>
                    </a:lnTo>
                    <a:lnTo>
                      <a:pt x="106" y="373"/>
                    </a:lnTo>
                    <a:lnTo>
                      <a:pt x="125" y="364"/>
                    </a:lnTo>
                    <a:lnTo>
                      <a:pt x="135" y="361"/>
                    </a:lnTo>
                    <a:lnTo>
                      <a:pt x="152" y="356"/>
                    </a:lnTo>
                    <a:lnTo>
                      <a:pt x="182" y="358"/>
                    </a:lnTo>
                    <a:lnTo>
                      <a:pt x="198" y="358"/>
                    </a:lnTo>
                    <a:lnTo>
                      <a:pt x="201" y="358"/>
                    </a:lnTo>
                    <a:lnTo>
                      <a:pt x="210" y="351"/>
                    </a:lnTo>
                    <a:lnTo>
                      <a:pt x="230" y="330"/>
                    </a:lnTo>
                    <a:lnTo>
                      <a:pt x="237" y="322"/>
                    </a:lnTo>
                    <a:lnTo>
                      <a:pt x="250" y="308"/>
                    </a:lnTo>
                    <a:lnTo>
                      <a:pt x="259" y="300"/>
                    </a:lnTo>
                    <a:lnTo>
                      <a:pt x="269" y="290"/>
                    </a:lnTo>
                    <a:lnTo>
                      <a:pt x="279" y="278"/>
                    </a:lnTo>
                    <a:lnTo>
                      <a:pt x="295" y="262"/>
                    </a:lnTo>
                    <a:lnTo>
                      <a:pt x="300" y="259"/>
                    </a:lnTo>
                    <a:lnTo>
                      <a:pt x="322" y="235"/>
                    </a:lnTo>
                    <a:lnTo>
                      <a:pt x="329" y="228"/>
                    </a:lnTo>
                    <a:lnTo>
                      <a:pt x="332" y="225"/>
                    </a:lnTo>
                    <a:lnTo>
                      <a:pt x="354" y="203"/>
                    </a:lnTo>
                    <a:lnTo>
                      <a:pt x="351" y="203"/>
                    </a:lnTo>
                    <a:lnTo>
                      <a:pt x="305" y="203"/>
                    </a:lnTo>
                    <a:lnTo>
                      <a:pt x="303" y="203"/>
                    </a:lnTo>
                    <a:lnTo>
                      <a:pt x="267" y="189"/>
                    </a:lnTo>
                    <a:lnTo>
                      <a:pt x="266" y="189"/>
                    </a:lnTo>
                    <a:lnTo>
                      <a:pt x="235" y="179"/>
                    </a:lnTo>
                    <a:lnTo>
                      <a:pt x="227" y="177"/>
                    </a:lnTo>
                    <a:lnTo>
                      <a:pt x="213" y="172"/>
                    </a:lnTo>
                    <a:lnTo>
                      <a:pt x="204" y="169"/>
                    </a:lnTo>
                    <a:lnTo>
                      <a:pt x="198" y="167"/>
                    </a:lnTo>
                    <a:lnTo>
                      <a:pt x="193" y="165"/>
                    </a:lnTo>
                    <a:lnTo>
                      <a:pt x="187" y="164"/>
                    </a:lnTo>
                    <a:lnTo>
                      <a:pt x="172" y="159"/>
                    </a:lnTo>
                    <a:lnTo>
                      <a:pt x="164" y="155"/>
                    </a:lnTo>
                    <a:lnTo>
                      <a:pt x="153" y="152"/>
                    </a:lnTo>
                    <a:lnTo>
                      <a:pt x="150" y="150"/>
                    </a:lnTo>
                    <a:lnTo>
                      <a:pt x="143" y="142"/>
                    </a:lnTo>
                    <a:lnTo>
                      <a:pt x="135" y="133"/>
                    </a:lnTo>
                    <a:lnTo>
                      <a:pt x="128" y="131"/>
                    </a:lnTo>
                    <a:lnTo>
                      <a:pt x="125" y="130"/>
                    </a:lnTo>
                    <a:lnTo>
                      <a:pt x="121" y="123"/>
                    </a:lnTo>
                    <a:lnTo>
                      <a:pt x="118" y="121"/>
                    </a:lnTo>
                    <a:lnTo>
                      <a:pt x="116" y="121"/>
                    </a:lnTo>
                    <a:lnTo>
                      <a:pt x="114" y="109"/>
                    </a:lnTo>
                    <a:lnTo>
                      <a:pt x="109" y="106"/>
                    </a:lnTo>
                    <a:lnTo>
                      <a:pt x="108" y="106"/>
                    </a:lnTo>
                    <a:lnTo>
                      <a:pt x="106" y="106"/>
                    </a:lnTo>
                    <a:lnTo>
                      <a:pt x="102" y="96"/>
                    </a:lnTo>
                    <a:lnTo>
                      <a:pt x="94" y="89"/>
                    </a:lnTo>
                    <a:lnTo>
                      <a:pt x="89" y="75"/>
                    </a:lnTo>
                    <a:lnTo>
                      <a:pt x="85" y="74"/>
                    </a:lnTo>
                    <a:lnTo>
                      <a:pt x="85" y="70"/>
                    </a:lnTo>
                    <a:lnTo>
                      <a:pt x="87" y="68"/>
                    </a:lnTo>
                    <a:lnTo>
                      <a:pt x="99" y="51"/>
                    </a:lnTo>
                    <a:lnTo>
                      <a:pt x="102" y="46"/>
                    </a:lnTo>
                    <a:lnTo>
                      <a:pt x="114" y="28"/>
                    </a:lnTo>
                    <a:lnTo>
                      <a:pt x="118" y="26"/>
                    </a:lnTo>
                    <a:lnTo>
                      <a:pt x="118" y="29"/>
                    </a:lnTo>
                    <a:lnTo>
                      <a:pt x="119" y="28"/>
                    </a:lnTo>
                    <a:lnTo>
                      <a:pt x="119" y="29"/>
                    </a:lnTo>
                    <a:lnTo>
                      <a:pt x="123" y="31"/>
                    </a:lnTo>
                    <a:lnTo>
                      <a:pt x="125" y="33"/>
                    </a:lnTo>
                    <a:lnTo>
                      <a:pt x="126" y="31"/>
                    </a:lnTo>
                    <a:lnTo>
                      <a:pt x="126" y="33"/>
                    </a:lnTo>
                    <a:lnTo>
                      <a:pt x="128" y="40"/>
                    </a:lnTo>
                    <a:lnTo>
                      <a:pt x="130" y="41"/>
                    </a:lnTo>
                    <a:lnTo>
                      <a:pt x="136" y="53"/>
                    </a:lnTo>
                    <a:lnTo>
                      <a:pt x="147" y="65"/>
                    </a:lnTo>
                    <a:lnTo>
                      <a:pt x="155" y="70"/>
                    </a:lnTo>
                    <a:lnTo>
                      <a:pt x="157" y="72"/>
                    </a:lnTo>
                    <a:lnTo>
                      <a:pt x="160" y="74"/>
                    </a:lnTo>
                    <a:lnTo>
                      <a:pt x="167" y="79"/>
                    </a:lnTo>
                    <a:lnTo>
                      <a:pt x="172" y="80"/>
                    </a:lnTo>
                    <a:lnTo>
                      <a:pt x="176" y="80"/>
                    </a:lnTo>
                    <a:lnTo>
                      <a:pt x="182" y="82"/>
                    </a:lnTo>
                    <a:lnTo>
                      <a:pt x="189" y="80"/>
                    </a:lnTo>
                    <a:lnTo>
                      <a:pt x="196" y="80"/>
                    </a:lnTo>
                    <a:lnTo>
                      <a:pt x="199" y="80"/>
                    </a:lnTo>
                    <a:lnTo>
                      <a:pt x="203" y="79"/>
                    </a:lnTo>
                    <a:lnTo>
                      <a:pt x="201" y="79"/>
                    </a:lnTo>
                    <a:lnTo>
                      <a:pt x="206" y="77"/>
                    </a:lnTo>
                    <a:lnTo>
                      <a:pt x="206" y="75"/>
                    </a:lnTo>
                    <a:lnTo>
                      <a:pt x="210" y="75"/>
                    </a:lnTo>
                    <a:lnTo>
                      <a:pt x="215" y="72"/>
                    </a:lnTo>
                    <a:lnTo>
                      <a:pt x="220" y="67"/>
                    </a:lnTo>
                    <a:lnTo>
                      <a:pt x="227" y="67"/>
                    </a:lnTo>
                    <a:lnTo>
                      <a:pt x="232" y="63"/>
                    </a:lnTo>
                    <a:lnTo>
                      <a:pt x="233" y="62"/>
                    </a:lnTo>
                    <a:lnTo>
                      <a:pt x="237" y="62"/>
                    </a:lnTo>
                    <a:lnTo>
                      <a:pt x="240" y="58"/>
                    </a:lnTo>
                    <a:lnTo>
                      <a:pt x="242" y="57"/>
                    </a:lnTo>
                    <a:lnTo>
                      <a:pt x="244" y="57"/>
                    </a:lnTo>
                    <a:lnTo>
                      <a:pt x="252" y="62"/>
                    </a:lnTo>
                    <a:lnTo>
                      <a:pt x="259" y="62"/>
                    </a:lnTo>
                    <a:lnTo>
                      <a:pt x="266" y="62"/>
                    </a:lnTo>
                    <a:lnTo>
                      <a:pt x="271" y="65"/>
                    </a:lnTo>
                    <a:lnTo>
                      <a:pt x="276" y="67"/>
                    </a:lnTo>
                    <a:lnTo>
                      <a:pt x="288" y="63"/>
                    </a:lnTo>
                    <a:lnTo>
                      <a:pt x="298" y="57"/>
                    </a:lnTo>
                    <a:lnTo>
                      <a:pt x="300" y="55"/>
                    </a:lnTo>
                    <a:lnTo>
                      <a:pt x="303" y="53"/>
                    </a:lnTo>
                    <a:lnTo>
                      <a:pt x="305" y="51"/>
                    </a:lnTo>
                    <a:lnTo>
                      <a:pt x="308" y="51"/>
                    </a:lnTo>
                    <a:lnTo>
                      <a:pt x="312" y="46"/>
                    </a:lnTo>
                    <a:lnTo>
                      <a:pt x="325" y="41"/>
                    </a:lnTo>
                    <a:lnTo>
                      <a:pt x="332" y="41"/>
                    </a:lnTo>
                    <a:lnTo>
                      <a:pt x="335" y="45"/>
                    </a:lnTo>
                    <a:lnTo>
                      <a:pt x="339" y="46"/>
                    </a:lnTo>
                    <a:lnTo>
                      <a:pt x="344" y="45"/>
                    </a:lnTo>
                    <a:lnTo>
                      <a:pt x="347" y="45"/>
                    </a:lnTo>
                    <a:lnTo>
                      <a:pt x="351" y="43"/>
                    </a:lnTo>
                    <a:lnTo>
                      <a:pt x="352" y="45"/>
                    </a:lnTo>
                    <a:lnTo>
                      <a:pt x="361" y="43"/>
                    </a:lnTo>
                    <a:lnTo>
                      <a:pt x="366" y="40"/>
                    </a:lnTo>
                    <a:lnTo>
                      <a:pt x="369" y="40"/>
                    </a:lnTo>
                    <a:lnTo>
                      <a:pt x="373" y="36"/>
                    </a:lnTo>
                    <a:lnTo>
                      <a:pt x="378" y="36"/>
                    </a:lnTo>
                    <a:lnTo>
                      <a:pt x="381" y="34"/>
                    </a:lnTo>
                    <a:lnTo>
                      <a:pt x="385" y="34"/>
                    </a:lnTo>
                    <a:lnTo>
                      <a:pt x="388" y="34"/>
                    </a:lnTo>
                    <a:lnTo>
                      <a:pt x="400" y="38"/>
                    </a:lnTo>
                    <a:lnTo>
                      <a:pt x="403" y="38"/>
                    </a:lnTo>
                    <a:lnTo>
                      <a:pt x="419" y="34"/>
                    </a:lnTo>
                    <a:lnTo>
                      <a:pt x="420" y="33"/>
                    </a:lnTo>
                    <a:lnTo>
                      <a:pt x="427" y="33"/>
                    </a:lnTo>
                    <a:lnTo>
                      <a:pt x="429" y="31"/>
                    </a:lnTo>
                    <a:lnTo>
                      <a:pt x="430" y="31"/>
                    </a:lnTo>
                    <a:lnTo>
                      <a:pt x="434" y="28"/>
                    </a:lnTo>
                    <a:lnTo>
                      <a:pt x="439" y="28"/>
                    </a:lnTo>
                    <a:lnTo>
                      <a:pt x="441" y="26"/>
                    </a:lnTo>
                    <a:lnTo>
                      <a:pt x="444" y="28"/>
                    </a:lnTo>
                    <a:lnTo>
                      <a:pt x="447" y="28"/>
                    </a:lnTo>
                    <a:lnTo>
                      <a:pt x="453" y="24"/>
                    </a:lnTo>
                    <a:lnTo>
                      <a:pt x="459" y="24"/>
                    </a:lnTo>
                    <a:lnTo>
                      <a:pt x="463" y="23"/>
                    </a:lnTo>
                    <a:lnTo>
                      <a:pt x="470" y="21"/>
                    </a:lnTo>
                    <a:lnTo>
                      <a:pt x="471" y="19"/>
                    </a:lnTo>
                    <a:lnTo>
                      <a:pt x="476" y="16"/>
                    </a:lnTo>
                    <a:lnTo>
                      <a:pt x="480" y="14"/>
                    </a:lnTo>
                    <a:lnTo>
                      <a:pt x="481" y="12"/>
                    </a:lnTo>
                    <a:lnTo>
                      <a:pt x="483" y="6"/>
                    </a:lnTo>
                    <a:lnTo>
                      <a:pt x="485" y="4"/>
                    </a:lnTo>
                    <a:lnTo>
                      <a:pt x="488" y="2"/>
                    </a:lnTo>
                    <a:lnTo>
                      <a:pt x="490" y="2"/>
                    </a:lnTo>
                    <a:lnTo>
                      <a:pt x="497" y="0"/>
                    </a:lnTo>
                    <a:lnTo>
                      <a:pt x="498" y="2"/>
                    </a:lnTo>
                    <a:lnTo>
                      <a:pt x="505" y="4"/>
                    </a:lnTo>
                    <a:lnTo>
                      <a:pt x="509" y="6"/>
                    </a:lnTo>
                    <a:lnTo>
                      <a:pt x="514" y="6"/>
                    </a:lnTo>
                    <a:lnTo>
                      <a:pt x="519" y="7"/>
                    </a:lnTo>
                    <a:lnTo>
                      <a:pt x="521" y="7"/>
                    </a:lnTo>
                    <a:lnTo>
                      <a:pt x="519" y="14"/>
                    </a:lnTo>
                    <a:lnTo>
                      <a:pt x="519" y="16"/>
                    </a:lnTo>
                    <a:lnTo>
                      <a:pt x="512" y="24"/>
                    </a:lnTo>
                    <a:lnTo>
                      <a:pt x="512" y="28"/>
                    </a:lnTo>
                    <a:lnTo>
                      <a:pt x="510" y="33"/>
                    </a:lnTo>
                    <a:lnTo>
                      <a:pt x="510" y="38"/>
                    </a:lnTo>
                    <a:lnTo>
                      <a:pt x="512" y="41"/>
                    </a:lnTo>
                    <a:lnTo>
                      <a:pt x="515" y="43"/>
                    </a:lnTo>
                    <a:lnTo>
                      <a:pt x="514" y="48"/>
                    </a:lnTo>
                    <a:lnTo>
                      <a:pt x="512" y="51"/>
                    </a:lnTo>
                    <a:lnTo>
                      <a:pt x="514" y="67"/>
                    </a:lnTo>
                    <a:lnTo>
                      <a:pt x="515" y="72"/>
                    </a:lnTo>
                    <a:lnTo>
                      <a:pt x="512" y="74"/>
                    </a:lnTo>
                    <a:lnTo>
                      <a:pt x="512" y="77"/>
                    </a:lnTo>
                    <a:lnTo>
                      <a:pt x="510" y="77"/>
                    </a:lnTo>
                    <a:lnTo>
                      <a:pt x="509" y="79"/>
                    </a:lnTo>
                    <a:lnTo>
                      <a:pt x="509" y="80"/>
                    </a:lnTo>
                    <a:lnTo>
                      <a:pt x="514" y="79"/>
                    </a:lnTo>
                    <a:lnTo>
                      <a:pt x="519" y="79"/>
                    </a:lnTo>
                    <a:lnTo>
                      <a:pt x="517" y="77"/>
                    </a:lnTo>
                    <a:lnTo>
                      <a:pt x="515" y="74"/>
                    </a:lnTo>
                    <a:lnTo>
                      <a:pt x="521" y="77"/>
                    </a:lnTo>
                    <a:lnTo>
                      <a:pt x="526" y="77"/>
                    </a:lnTo>
                    <a:lnTo>
                      <a:pt x="527" y="79"/>
                    </a:lnTo>
                    <a:lnTo>
                      <a:pt x="526" y="82"/>
                    </a:lnTo>
                    <a:lnTo>
                      <a:pt x="524" y="82"/>
                    </a:lnTo>
                    <a:lnTo>
                      <a:pt x="521" y="82"/>
                    </a:lnTo>
                    <a:lnTo>
                      <a:pt x="521" y="80"/>
                    </a:lnTo>
                    <a:lnTo>
                      <a:pt x="519" y="79"/>
                    </a:lnTo>
                    <a:lnTo>
                      <a:pt x="515" y="79"/>
                    </a:lnTo>
                    <a:lnTo>
                      <a:pt x="507" y="80"/>
                    </a:lnTo>
                    <a:lnTo>
                      <a:pt x="502" y="85"/>
                    </a:lnTo>
                    <a:lnTo>
                      <a:pt x="502" y="92"/>
                    </a:lnTo>
                    <a:lnTo>
                      <a:pt x="500" y="96"/>
                    </a:lnTo>
                    <a:lnTo>
                      <a:pt x="502" y="101"/>
                    </a:lnTo>
                    <a:lnTo>
                      <a:pt x="500" y="108"/>
                    </a:lnTo>
                    <a:lnTo>
                      <a:pt x="498" y="108"/>
                    </a:lnTo>
                    <a:lnTo>
                      <a:pt x="497" y="118"/>
                    </a:lnTo>
                    <a:lnTo>
                      <a:pt x="497" y="121"/>
                    </a:lnTo>
                    <a:lnTo>
                      <a:pt x="497" y="125"/>
                    </a:lnTo>
                    <a:lnTo>
                      <a:pt x="498" y="128"/>
                    </a:lnTo>
                    <a:lnTo>
                      <a:pt x="498" y="130"/>
                    </a:lnTo>
                    <a:lnTo>
                      <a:pt x="493" y="137"/>
                    </a:lnTo>
                    <a:lnTo>
                      <a:pt x="492" y="138"/>
                    </a:lnTo>
                    <a:lnTo>
                      <a:pt x="488" y="142"/>
                    </a:lnTo>
                    <a:lnTo>
                      <a:pt x="488" y="148"/>
                    </a:lnTo>
                    <a:lnTo>
                      <a:pt x="478" y="157"/>
                    </a:lnTo>
                    <a:lnTo>
                      <a:pt x="476" y="159"/>
                    </a:lnTo>
                    <a:lnTo>
                      <a:pt x="475" y="167"/>
                    </a:lnTo>
                    <a:lnTo>
                      <a:pt x="473" y="171"/>
                    </a:lnTo>
                    <a:lnTo>
                      <a:pt x="473" y="176"/>
                    </a:lnTo>
                    <a:lnTo>
                      <a:pt x="466" y="182"/>
                    </a:lnTo>
                    <a:lnTo>
                      <a:pt x="463" y="188"/>
                    </a:lnTo>
                    <a:lnTo>
                      <a:pt x="463" y="193"/>
                    </a:lnTo>
                    <a:lnTo>
                      <a:pt x="459" y="194"/>
                    </a:lnTo>
                    <a:lnTo>
                      <a:pt x="454" y="198"/>
                    </a:lnTo>
                    <a:lnTo>
                      <a:pt x="447" y="206"/>
                    </a:lnTo>
                    <a:lnTo>
                      <a:pt x="446" y="211"/>
                    </a:lnTo>
                    <a:lnTo>
                      <a:pt x="446" y="213"/>
                    </a:lnTo>
                    <a:lnTo>
                      <a:pt x="447" y="213"/>
                    </a:lnTo>
                    <a:lnTo>
                      <a:pt x="447" y="215"/>
                    </a:lnTo>
                    <a:lnTo>
                      <a:pt x="444" y="220"/>
                    </a:lnTo>
                    <a:lnTo>
                      <a:pt x="444" y="222"/>
                    </a:lnTo>
                    <a:lnTo>
                      <a:pt x="439" y="230"/>
                    </a:lnTo>
                    <a:lnTo>
                      <a:pt x="425" y="249"/>
                    </a:lnTo>
                    <a:lnTo>
                      <a:pt x="425" y="250"/>
                    </a:lnTo>
                    <a:lnTo>
                      <a:pt x="415" y="266"/>
                    </a:lnTo>
                    <a:lnTo>
                      <a:pt x="410" y="281"/>
                    </a:lnTo>
                    <a:lnTo>
                      <a:pt x="408" y="290"/>
                    </a:lnTo>
                    <a:lnTo>
                      <a:pt x="408" y="293"/>
                    </a:lnTo>
                    <a:lnTo>
                      <a:pt x="402" y="305"/>
                    </a:lnTo>
                    <a:lnTo>
                      <a:pt x="400" y="308"/>
                    </a:lnTo>
                    <a:lnTo>
                      <a:pt x="390" y="324"/>
                    </a:lnTo>
                    <a:lnTo>
                      <a:pt x="386" y="330"/>
                    </a:lnTo>
                    <a:lnTo>
                      <a:pt x="381" y="337"/>
                    </a:lnTo>
                    <a:lnTo>
                      <a:pt x="369" y="353"/>
                    </a:lnTo>
                    <a:lnTo>
                      <a:pt x="366" y="358"/>
                    </a:lnTo>
                    <a:lnTo>
                      <a:pt x="359" y="371"/>
                    </a:lnTo>
                    <a:lnTo>
                      <a:pt x="351" y="381"/>
                    </a:lnTo>
                    <a:lnTo>
                      <a:pt x="342" y="393"/>
                    </a:lnTo>
                    <a:lnTo>
                      <a:pt x="335" y="398"/>
                    </a:lnTo>
                    <a:lnTo>
                      <a:pt x="327" y="409"/>
                    </a:lnTo>
                    <a:lnTo>
                      <a:pt x="313" y="422"/>
                    </a:lnTo>
                    <a:lnTo>
                      <a:pt x="300" y="438"/>
                    </a:lnTo>
                    <a:lnTo>
                      <a:pt x="288" y="451"/>
                    </a:lnTo>
                    <a:lnTo>
                      <a:pt x="271" y="467"/>
                    </a:lnTo>
                    <a:lnTo>
                      <a:pt x="269" y="470"/>
                    </a:lnTo>
                    <a:lnTo>
                      <a:pt x="264" y="473"/>
                    </a:lnTo>
                    <a:lnTo>
                      <a:pt x="259" y="480"/>
                    </a:lnTo>
                    <a:lnTo>
                      <a:pt x="254" y="485"/>
                    </a:lnTo>
                    <a:lnTo>
                      <a:pt x="249" y="489"/>
                    </a:lnTo>
                    <a:lnTo>
                      <a:pt x="244" y="490"/>
                    </a:lnTo>
                    <a:lnTo>
                      <a:pt x="225" y="502"/>
                    </a:lnTo>
                    <a:lnTo>
                      <a:pt x="223" y="504"/>
                    </a:lnTo>
                    <a:lnTo>
                      <a:pt x="204" y="512"/>
                    </a:lnTo>
                    <a:lnTo>
                      <a:pt x="191" y="521"/>
                    </a:lnTo>
                    <a:lnTo>
                      <a:pt x="184" y="526"/>
                    </a:lnTo>
                    <a:lnTo>
                      <a:pt x="182" y="526"/>
                    </a:lnTo>
                    <a:lnTo>
                      <a:pt x="169" y="538"/>
                    </a:lnTo>
                    <a:lnTo>
                      <a:pt x="160" y="545"/>
                    </a:lnTo>
                    <a:lnTo>
                      <a:pt x="159" y="548"/>
                    </a:lnTo>
                    <a:lnTo>
                      <a:pt x="155" y="550"/>
                    </a:lnTo>
                    <a:lnTo>
                      <a:pt x="153" y="552"/>
                    </a:lnTo>
                    <a:lnTo>
                      <a:pt x="150" y="555"/>
                    </a:lnTo>
                    <a:lnTo>
                      <a:pt x="148" y="555"/>
                    </a:lnTo>
                    <a:lnTo>
                      <a:pt x="142" y="562"/>
                    </a:lnTo>
                    <a:lnTo>
                      <a:pt x="126" y="574"/>
                    </a:lnTo>
                    <a:lnTo>
                      <a:pt x="121" y="580"/>
                    </a:lnTo>
                    <a:lnTo>
                      <a:pt x="106" y="596"/>
                    </a:lnTo>
                    <a:lnTo>
                      <a:pt x="96" y="608"/>
                    </a:lnTo>
                    <a:lnTo>
                      <a:pt x="82" y="621"/>
                    </a:lnTo>
                    <a:lnTo>
                      <a:pt x="79" y="626"/>
                    </a:lnTo>
                    <a:lnTo>
                      <a:pt x="79" y="628"/>
                    </a:lnTo>
                    <a:lnTo>
                      <a:pt x="79" y="626"/>
                    </a:lnTo>
                    <a:lnTo>
                      <a:pt x="77" y="626"/>
                    </a:lnTo>
                    <a:lnTo>
                      <a:pt x="77" y="628"/>
                    </a:lnTo>
                    <a:lnTo>
                      <a:pt x="75" y="630"/>
                    </a:lnTo>
                    <a:lnTo>
                      <a:pt x="75" y="632"/>
                    </a:lnTo>
                    <a:lnTo>
                      <a:pt x="74" y="630"/>
                    </a:lnTo>
                    <a:lnTo>
                      <a:pt x="72" y="633"/>
                    </a:lnTo>
                    <a:lnTo>
                      <a:pt x="60" y="649"/>
                    </a:lnTo>
                    <a:lnTo>
                      <a:pt x="57" y="650"/>
                    </a:lnTo>
                    <a:lnTo>
                      <a:pt x="55" y="650"/>
                    </a:lnTo>
                    <a:lnTo>
                      <a:pt x="53" y="652"/>
                    </a:lnTo>
                    <a:lnTo>
                      <a:pt x="53" y="649"/>
                    </a:lnTo>
                    <a:lnTo>
                      <a:pt x="51" y="649"/>
                    </a:lnTo>
                    <a:lnTo>
                      <a:pt x="50" y="647"/>
                    </a:lnTo>
                    <a:lnTo>
                      <a:pt x="50" y="649"/>
                    </a:lnTo>
                    <a:lnTo>
                      <a:pt x="51" y="649"/>
                    </a:lnTo>
                    <a:lnTo>
                      <a:pt x="53" y="649"/>
                    </a:lnTo>
                    <a:lnTo>
                      <a:pt x="53" y="652"/>
                    </a:lnTo>
                    <a:lnTo>
                      <a:pt x="55" y="652"/>
                    </a:lnTo>
                    <a:lnTo>
                      <a:pt x="55" y="650"/>
                    </a:lnTo>
                    <a:lnTo>
                      <a:pt x="57" y="652"/>
                    </a:lnTo>
                    <a:lnTo>
                      <a:pt x="51" y="655"/>
                    </a:lnTo>
                    <a:lnTo>
                      <a:pt x="53" y="657"/>
                    </a:lnTo>
                    <a:lnTo>
                      <a:pt x="50" y="659"/>
                    </a:lnTo>
                    <a:lnTo>
                      <a:pt x="50" y="657"/>
                    </a:lnTo>
                    <a:lnTo>
                      <a:pt x="48" y="657"/>
                    </a:lnTo>
                    <a:lnTo>
                      <a:pt x="50" y="654"/>
                    </a:lnTo>
                    <a:lnTo>
                      <a:pt x="48" y="652"/>
                    </a:lnTo>
                    <a:lnTo>
                      <a:pt x="46" y="652"/>
                    </a:lnTo>
                    <a:lnTo>
                      <a:pt x="50" y="654"/>
                    </a:lnTo>
                    <a:lnTo>
                      <a:pt x="48" y="657"/>
                    </a:lnTo>
                    <a:lnTo>
                      <a:pt x="50" y="659"/>
                    </a:lnTo>
                    <a:lnTo>
                      <a:pt x="48" y="659"/>
                    </a:lnTo>
                    <a:lnTo>
                      <a:pt x="50" y="660"/>
                    </a:lnTo>
                    <a:lnTo>
                      <a:pt x="46" y="666"/>
                    </a:lnTo>
                    <a:lnTo>
                      <a:pt x="48" y="666"/>
                    </a:lnTo>
                    <a:lnTo>
                      <a:pt x="45" y="667"/>
                    </a:lnTo>
                    <a:lnTo>
                      <a:pt x="45" y="669"/>
                    </a:lnTo>
                    <a:lnTo>
                      <a:pt x="46" y="667"/>
                    </a:lnTo>
                    <a:lnTo>
                      <a:pt x="45" y="669"/>
                    </a:lnTo>
                    <a:lnTo>
                      <a:pt x="43" y="669"/>
                    </a:lnTo>
                    <a:lnTo>
                      <a:pt x="43" y="667"/>
                    </a:lnTo>
                    <a:lnTo>
                      <a:pt x="41" y="667"/>
                    </a:lnTo>
                    <a:lnTo>
                      <a:pt x="41" y="666"/>
                    </a:lnTo>
                    <a:lnTo>
                      <a:pt x="40" y="666"/>
                    </a:lnTo>
                    <a:lnTo>
                      <a:pt x="38" y="664"/>
                    </a:lnTo>
                    <a:lnTo>
                      <a:pt x="40" y="666"/>
                    </a:lnTo>
                    <a:lnTo>
                      <a:pt x="38" y="666"/>
                    </a:lnTo>
                    <a:lnTo>
                      <a:pt x="34" y="669"/>
                    </a:lnTo>
                    <a:lnTo>
                      <a:pt x="40" y="666"/>
                    </a:lnTo>
                    <a:lnTo>
                      <a:pt x="41" y="667"/>
                    </a:lnTo>
                    <a:lnTo>
                      <a:pt x="43" y="671"/>
                    </a:lnTo>
                    <a:lnTo>
                      <a:pt x="29" y="689"/>
                    </a:lnTo>
                    <a:lnTo>
                      <a:pt x="29" y="691"/>
                    </a:lnTo>
                    <a:lnTo>
                      <a:pt x="28" y="691"/>
                    </a:lnTo>
                    <a:close/>
                    <a:moveTo>
                      <a:pt x="125" y="28"/>
                    </a:moveTo>
                    <a:lnTo>
                      <a:pt x="125" y="29"/>
                    </a:lnTo>
                    <a:lnTo>
                      <a:pt x="125" y="28"/>
                    </a:lnTo>
                    <a:close/>
                    <a:moveTo>
                      <a:pt x="125" y="24"/>
                    </a:moveTo>
                    <a:lnTo>
                      <a:pt x="125" y="26"/>
                    </a:lnTo>
                    <a:lnTo>
                      <a:pt x="125" y="24"/>
                    </a:lnTo>
                    <a:close/>
                    <a:moveTo>
                      <a:pt x="315" y="38"/>
                    </a:moveTo>
                    <a:lnTo>
                      <a:pt x="317" y="38"/>
                    </a:lnTo>
                    <a:lnTo>
                      <a:pt x="317" y="40"/>
                    </a:lnTo>
                    <a:lnTo>
                      <a:pt x="315" y="40"/>
                    </a:lnTo>
                    <a:lnTo>
                      <a:pt x="315" y="38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2" name="Freeform 53">
                <a:extLst>
                  <a:ext uri="{FF2B5EF4-FFF2-40B4-BE49-F238E27FC236}">
                    <a16:creationId xmlns:a16="http://schemas.microsoft.com/office/drawing/2014/main" id="{AE705045-B7FF-4524-9935-53CF0D81AB0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900570" y="5233771"/>
                <a:ext cx="1319174" cy="1022308"/>
              </a:xfrm>
              <a:custGeom>
                <a:avLst/>
                <a:gdLst>
                  <a:gd name="T0" fmla="*/ 789 w 831"/>
                  <a:gd name="T1" fmla="*/ 153 h 644"/>
                  <a:gd name="T2" fmla="*/ 726 w 831"/>
                  <a:gd name="T3" fmla="*/ 219 h 644"/>
                  <a:gd name="T4" fmla="*/ 789 w 831"/>
                  <a:gd name="T5" fmla="*/ 238 h 644"/>
                  <a:gd name="T6" fmla="*/ 802 w 831"/>
                  <a:gd name="T7" fmla="*/ 330 h 644"/>
                  <a:gd name="T8" fmla="*/ 678 w 831"/>
                  <a:gd name="T9" fmla="*/ 471 h 644"/>
                  <a:gd name="T10" fmla="*/ 636 w 831"/>
                  <a:gd name="T11" fmla="*/ 507 h 644"/>
                  <a:gd name="T12" fmla="*/ 569 w 831"/>
                  <a:gd name="T13" fmla="*/ 558 h 644"/>
                  <a:gd name="T14" fmla="*/ 484 w 831"/>
                  <a:gd name="T15" fmla="*/ 587 h 644"/>
                  <a:gd name="T16" fmla="*/ 428 w 831"/>
                  <a:gd name="T17" fmla="*/ 605 h 644"/>
                  <a:gd name="T18" fmla="*/ 352 w 831"/>
                  <a:gd name="T19" fmla="*/ 602 h 644"/>
                  <a:gd name="T20" fmla="*/ 289 w 831"/>
                  <a:gd name="T21" fmla="*/ 610 h 644"/>
                  <a:gd name="T22" fmla="*/ 212 w 831"/>
                  <a:gd name="T23" fmla="*/ 624 h 644"/>
                  <a:gd name="T24" fmla="*/ 160 w 831"/>
                  <a:gd name="T25" fmla="*/ 639 h 644"/>
                  <a:gd name="T26" fmla="*/ 131 w 831"/>
                  <a:gd name="T27" fmla="*/ 619 h 644"/>
                  <a:gd name="T28" fmla="*/ 98 w 831"/>
                  <a:gd name="T29" fmla="*/ 610 h 644"/>
                  <a:gd name="T30" fmla="*/ 100 w 831"/>
                  <a:gd name="T31" fmla="*/ 597 h 644"/>
                  <a:gd name="T32" fmla="*/ 78 w 831"/>
                  <a:gd name="T33" fmla="*/ 559 h 644"/>
                  <a:gd name="T34" fmla="*/ 80 w 831"/>
                  <a:gd name="T35" fmla="*/ 553 h 644"/>
                  <a:gd name="T36" fmla="*/ 69 w 831"/>
                  <a:gd name="T37" fmla="*/ 542 h 644"/>
                  <a:gd name="T38" fmla="*/ 93 w 831"/>
                  <a:gd name="T39" fmla="*/ 507 h 644"/>
                  <a:gd name="T40" fmla="*/ 41 w 831"/>
                  <a:gd name="T41" fmla="*/ 416 h 644"/>
                  <a:gd name="T42" fmla="*/ 5 w 831"/>
                  <a:gd name="T43" fmla="*/ 337 h 644"/>
                  <a:gd name="T44" fmla="*/ 18 w 831"/>
                  <a:gd name="T45" fmla="*/ 309 h 644"/>
                  <a:gd name="T46" fmla="*/ 42 w 831"/>
                  <a:gd name="T47" fmla="*/ 309 h 644"/>
                  <a:gd name="T48" fmla="*/ 56 w 831"/>
                  <a:gd name="T49" fmla="*/ 331 h 644"/>
                  <a:gd name="T50" fmla="*/ 90 w 831"/>
                  <a:gd name="T51" fmla="*/ 343 h 644"/>
                  <a:gd name="T52" fmla="*/ 141 w 831"/>
                  <a:gd name="T53" fmla="*/ 343 h 644"/>
                  <a:gd name="T54" fmla="*/ 173 w 831"/>
                  <a:gd name="T55" fmla="*/ 320 h 644"/>
                  <a:gd name="T56" fmla="*/ 185 w 831"/>
                  <a:gd name="T57" fmla="*/ 139 h 644"/>
                  <a:gd name="T58" fmla="*/ 205 w 831"/>
                  <a:gd name="T59" fmla="*/ 160 h 644"/>
                  <a:gd name="T60" fmla="*/ 214 w 831"/>
                  <a:gd name="T61" fmla="*/ 178 h 644"/>
                  <a:gd name="T62" fmla="*/ 221 w 831"/>
                  <a:gd name="T63" fmla="*/ 206 h 644"/>
                  <a:gd name="T64" fmla="*/ 216 w 831"/>
                  <a:gd name="T65" fmla="*/ 240 h 644"/>
                  <a:gd name="T66" fmla="*/ 256 w 831"/>
                  <a:gd name="T67" fmla="*/ 240 h 644"/>
                  <a:gd name="T68" fmla="*/ 292 w 831"/>
                  <a:gd name="T69" fmla="*/ 214 h 644"/>
                  <a:gd name="T70" fmla="*/ 313 w 831"/>
                  <a:gd name="T71" fmla="*/ 200 h 644"/>
                  <a:gd name="T72" fmla="*/ 323 w 831"/>
                  <a:gd name="T73" fmla="*/ 177 h 644"/>
                  <a:gd name="T74" fmla="*/ 335 w 831"/>
                  <a:gd name="T75" fmla="*/ 163 h 644"/>
                  <a:gd name="T76" fmla="*/ 360 w 831"/>
                  <a:gd name="T77" fmla="*/ 165 h 644"/>
                  <a:gd name="T78" fmla="*/ 382 w 831"/>
                  <a:gd name="T79" fmla="*/ 177 h 644"/>
                  <a:gd name="T80" fmla="*/ 404 w 831"/>
                  <a:gd name="T81" fmla="*/ 183 h 644"/>
                  <a:gd name="T82" fmla="*/ 466 w 831"/>
                  <a:gd name="T83" fmla="*/ 166 h 644"/>
                  <a:gd name="T84" fmla="*/ 517 w 831"/>
                  <a:gd name="T85" fmla="*/ 112 h 644"/>
                  <a:gd name="T86" fmla="*/ 534 w 831"/>
                  <a:gd name="T87" fmla="*/ 78 h 644"/>
                  <a:gd name="T88" fmla="*/ 549 w 831"/>
                  <a:gd name="T89" fmla="*/ 68 h 644"/>
                  <a:gd name="T90" fmla="*/ 573 w 831"/>
                  <a:gd name="T91" fmla="*/ 52 h 644"/>
                  <a:gd name="T92" fmla="*/ 602 w 831"/>
                  <a:gd name="T93" fmla="*/ 22 h 644"/>
                  <a:gd name="T94" fmla="*/ 651 w 831"/>
                  <a:gd name="T95" fmla="*/ 3 h 644"/>
                  <a:gd name="T96" fmla="*/ 697 w 831"/>
                  <a:gd name="T97" fmla="*/ 8 h 644"/>
                  <a:gd name="T98" fmla="*/ 749 w 831"/>
                  <a:gd name="T99" fmla="*/ 12 h 644"/>
                  <a:gd name="T100" fmla="*/ 590 w 831"/>
                  <a:gd name="T101" fmla="*/ 335 h 644"/>
                  <a:gd name="T102" fmla="*/ 569 w 831"/>
                  <a:gd name="T103" fmla="*/ 348 h 644"/>
                  <a:gd name="T104" fmla="*/ 556 w 831"/>
                  <a:gd name="T105" fmla="*/ 364 h 644"/>
                  <a:gd name="T106" fmla="*/ 535 w 831"/>
                  <a:gd name="T107" fmla="*/ 381 h 644"/>
                  <a:gd name="T108" fmla="*/ 557 w 831"/>
                  <a:gd name="T109" fmla="*/ 415 h 644"/>
                  <a:gd name="T110" fmla="*/ 591 w 831"/>
                  <a:gd name="T111" fmla="*/ 427 h 644"/>
                  <a:gd name="T112" fmla="*/ 608 w 831"/>
                  <a:gd name="T113" fmla="*/ 406 h 644"/>
                  <a:gd name="T114" fmla="*/ 642 w 831"/>
                  <a:gd name="T115" fmla="*/ 386 h 644"/>
                  <a:gd name="T116" fmla="*/ 656 w 831"/>
                  <a:gd name="T117" fmla="*/ 362 h 644"/>
                  <a:gd name="T118" fmla="*/ 632 w 831"/>
                  <a:gd name="T119" fmla="*/ 342 h 644"/>
                  <a:gd name="T120" fmla="*/ 97 w 831"/>
                  <a:gd name="T121" fmla="*/ 59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31" h="644">
                    <a:moveTo>
                      <a:pt x="751" y="15"/>
                    </a:moveTo>
                    <a:lnTo>
                      <a:pt x="753" y="20"/>
                    </a:lnTo>
                    <a:lnTo>
                      <a:pt x="760" y="41"/>
                    </a:lnTo>
                    <a:lnTo>
                      <a:pt x="763" y="51"/>
                    </a:lnTo>
                    <a:lnTo>
                      <a:pt x="765" y="54"/>
                    </a:lnTo>
                    <a:lnTo>
                      <a:pt x="763" y="64"/>
                    </a:lnTo>
                    <a:lnTo>
                      <a:pt x="765" y="68"/>
                    </a:lnTo>
                    <a:lnTo>
                      <a:pt x="770" y="76"/>
                    </a:lnTo>
                    <a:lnTo>
                      <a:pt x="772" y="81"/>
                    </a:lnTo>
                    <a:lnTo>
                      <a:pt x="775" y="90"/>
                    </a:lnTo>
                    <a:lnTo>
                      <a:pt x="780" y="93"/>
                    </a:lnTo>
                    <a:lnTo>
                      <a:pt x="782" y="103"/>
                    </a:lnTo>
                    <a:lnTo>
                      <a:pt x="785" y="110"/>
                    </a:lnTo>
                    <a:lnTo>
                      <a:pt x="787" y="117"/>
                    </a:lnTo>
                    <a:lnTo>
                      <a:pt x="787" y="129"/>
                    </a:lnTo>
                    <a:lnTo>
                      <a:pt x="789" y="153"/>
                    </a:lnTo>
                    <a:lnTo>
                      <a:pt x="787" y="165"/>
                    </a:lnTo>
                    <a:lnTo>
                      <a:pt x="785" y="170"/>
                    </a:lnTo>
                    <a:lnTo>
                      <a:pt x="787" y="178"/>
                    </a:lnTo>
                    <a:lnTo>
                      <a:pt x="783" y="189"/>
                    </a:lnTo>
                    <a:lnTo>
                      <a:pt x="785" y="194"/>
                    </a:lnTo>
                    <a:lnTo>
                      <a:pt x="780" y="195"/>
                    </a:lnTo>
                    <a:lnTo>
                      <a:pt x="763" y="185"/>
                    </a:lnTo>
                    <a:lnTo>
                      <a:pt x="756" y="182"/>
                    </a:lnTo>
                    <a:lnTo>
                      <a:pt x="751" y="183"/>
                    </a:lnTo>
                    <a:lnTo>
                      <a:pt x="749" y="187"/>
                    </a:lnTo>
                    <a:lnTo>
                      <a:pt x="743" y="192"/>
                    </a:lnTo>
                    <a:lnTo>
                      <a:pt x="741" y="195"/>
                    </a:lnTo>
                    <a:lnTo>
                      <a:pt x="734" y="209"/>
                    </a:lnTo>
                    <a:lnTo>
                      <a:pt x="731" y="212"/>
                    </a:lnTo>
                    <a:lnTo>
                      <a:pt x="727" y="217"/>
                    </a:lnTo>
                    <a:lnTo>
                      <a:pt x="726" y="219"/>
                    </a:lnTo>
                    <a:lnTo>
                      <a:pt x="726" y="224"/>
                    </a:lnTo>
                    <a:lnTo>
                      <a:pt x="726" y="238"/>
                    </a:lnTo>
                    <a:lnTo>
                      <a:pt x="727" y="240"/>
                    </a:lnTo>
                    <a:lnTo>
                      <a:pt x="731" y="236"/>
                    </a:lnTo>
                    <a:lnTo>
                      <a:pt x="731" y="240"/>
                    </a:lnTo>
                    <a:lnTo>
                      <a:pt x="734" y="241"/>
                    </a:lnTo>
                    <a:lnTo>
                      <a:pt x="734" y="245"/>
                    </a:lnTo>
                    <a:lnTo>
                      <a:pt x="734" y="246"/>
                    </a:lnTo>
                    <a:lnTo>
                      <a:pt x="734" y="248"/>
                    </a:lnTo>
                    <a:lnTo>
                      <a:pt x="739" y="251"/>
                    </a:lnTo>
                    <a:lnTo>
                      <a:pt x="743" y="257"/>
                    </a:lnTo>
                    <a:lnTo>
                      <a:pt x="761" y="263"/>
                    </a:lnTo>
                    <a:lnTo>
                      <a:pt x="785" y="263"/>
                    </a:lnTo>
                    <a:lnTo>
                      <a:pt x="785" y="253"/>
                    </a:lnTo>
                    <a:lnTo>
                      <a:pt x="787" y="238"/>
                    </a:lnTo>
                    <a:lnTo>
                      <a:pt x="789" y="238"/>
                    </a:lnTo>
                    <a:lnTo>
                      <a:pt x="792" y="236"/>
                    </a:lnTo>
                    <a:lnTo>
                      <a:pt x="792" y="238"/>
                    </a:lnTo>
                    <a:lnTo>
                      <a:pt x="795" y="240"/>
                    </a:lnTo>
                    <a:lnTo>
                      <a:pt x="797" y="238"/>
                    </a:lnTo>
                    <a:lnTo>
                      <a:pt x="804" y="240"/>
                    </a:lnTo>
                    <a:lnTo>
                      <a:pt x="821" y="240"/>
                    </a:lnTo>
                    <a:lnTo>
                      <a:pt x="831" y="240"/>
                    </a:lnTo>
                    <a:lnTo>
                      <a:pt x="829" y="253"/>
                    </a:lnTo>
                    <a:lnTo>
                      <a:pt x="821" y="272"/>
                    </a:lnTo>
                    <a:lnTo>
                      <a:pt x="821" y="274"/>
                    </a:lnTo>
                    <a:lnTo>
                      <a:pt x="817" y="289"/>
                    </a:lnTo>
                    <a:lnTo>
                      <a:pt x="814" y="304"/>
                    </a:lnTo>
                    <a:lnTo>
                      <a:pt x="809" y="316"/>
                    </a:lnTo>
                    <a:lnTo>
                      <a:pt x="807" y="323"/>
                    </a:lnTo>
                    <a:lnTo>
                      <a:pt x="806" y="325"/>
                    </a:lnTo>
                    <a:lnTo>
                      <a:pt x="802" y="330"/>
                    </a:lnTo>
                    <a:lnTo>
                      <a:pt x="787" y="342"/>
                    </a:lnTo>
                    <a:lnTo>
                      <a:pt x="773" y="347"/>
                    </a:lnTo>
                    <a:lnTo>
                      <a:pt x="765" y="357"/>
                    </a:lnTo>
                    <a:lnTo>
                      <a:pt x="753" y="367"/>
                    </a:lnTo>
                    <a:lnTo>
                      <a:pt x="744" y="377"/>
                    </a:lnTo>
                    <a:lnTo>
                      <a:pt x="739" y="388"/>
                    </a:lnTo>
                    <a:lnTo>
                      <a:pt x="738" y="391"/>
                    </a:lnTo>
                    <a:lnTo>
                      <a:pt x="739" y="393"/>
                    </a:lnTo>
                    <a:lnTo>
                      <a:pt x="729" y="401"/>
                    </a:lnTo>
                    <a:lnTo>
                      <a:pt x="722" y="416"/>
                    </a:lnTo>
                    <a:lnTo>
                      <a:pt x="712" y="430"/>
                    </a:lnTo>
                    <a:lnTo>
                      <a:pt x="705" y="442"/>
                    </a:lnTo>
                    <a:lnTo>
                      <a:pt x="697" y="452"/>
                    </a:lnTo>
                    <a:lnTo>
                      <a:pt x="690" y="459"/>
                    </a:lnTo>
                    <a:lnTo>
                      <a:pt x="688" y="461"/>
                    </a:lnTo>
                    <a:lnTo>
                      <a:pt x="678" y="471"/>
                    </a:lnTo>
                    <a:lnTo>
                      <a:pt x="676" y="473"/>
                    </a:lnTo>
                    <a:lnTo>
                      <a:pt x="673" y="473"/>
                    </a:lnTo>
                    <a:lnTo>
                      <a:pt x="671" y="473"/>
                    </a:lnTo>
                    <a:lnTo>
                      <a:pt x="668" y="478"/>
                    </a:lnTo>
                    <a:lnTo>
                      <a:pt x="663" y="483"/>
                    </a:lnTo>
                    <a:lnTo>
                      <a:pt x="656" y="485"/>
                    </a:lnTo>
                    <a:lnTo>
                      <a:pt x="654" y="486"/>
                    </a:lnTo>
                    <a:lnTo>
                      <a:pt x="653" y="488"/>
                    </a:lnTo>
                    <a:lnTo>
                      <a:pt x="653" y="490"/>
                    </a:lnTo>
                    <a:lnTo>
                      <a:pt x="651" y="491"/>
                    </a:lnTo>
                    <a:lnTo>
                      <a:pt x="647" y="493"/>
                    </a:lnTo>
                    <a:lnTo>
                      <a:pt x="646" y="498"/>
                    </a:lnTo>
                    <a:lnTo>
                      <a:pt x="644" y="498"/>
                    </a:lnTo>
                    <a:lnTo>
                      <a:pt x="641" y="500"/>
                    </a:lnTo>
                    <a:lnTo>
                      <a:pt x="639" y="505"/>
                    </a:lnTo>
                    <a:lnTo>
                      <a:pt x="636" y="507"/>
                    </a:lnTo>
                    <a:lnTo>
                      <a:pt x="632" y="512"/>
                    </a:lnTo>
                    <a:lnTo>
                      <a:pt x="629" y="512"/>
                    </a:lnTo>
                    <a:lnTo>
                      <a:pt x="629" y="515"/>
                    </a:lnTo>
                    <a:lnTo>
                      <a:pt x="624" y="517"/>
                    </a:lnTo>
                    <a:lnTo>
                      <a:pt x="622" y="520"/>
                    </a:lnTo>
                    <a:lnTo>
                      <a:pt x="617" y="524"/>
                    </a:lnTo>
                    <a:lnTo>
                      <a:pt x="617" y="525"/>
                    </a:lnTo>
                    <a:lnTo>
                      <a:pt x="615" y="525"/>
                    </a:lnTo>
                    <a:lnTo>
                      <a:pt x="610" y="530"/>
                    </a:lnTo>
                    <a:lnTo>
                      <a:pt x="605" y="532"/>
                    </a:lnTo>
                    <a:lnTo>
                      <a:pt x="603" y="536"/>
                    </a:lnTo>
                    <a:lnTo>
                      <a:pt x="591" y="541"/>
                    </a:lnTo>
                    <a:lnTo>
                      <a:pt x="588" y="546"/>
                    </a:lnTo>
                    <a:lnTo>
                      <a:pt x="581" y="549"/>
                    </a:lnTo>
                    <a:lnTo>
                      <a:pt x="579" y="553"/>
                    </a:lnTo>
                    <a:lnTo>
                      <a:pt x="569" y="558"/>
                    </a:lnTo>
                    <a:lnTo>
                      <a:pt x="564" y="561"/>
                    </a:lnTo>
                    <a:lnTo>
                      <a:pt x="559" y="564"/>
                    </a:lnTo>
                    <a:lnTo>
                      <a:pt x="544" y="575"/>
                    </a:lnTo>
                    <a:lnTo>
                      <a:pt x="540" y="575"/>
                    </a:lnTo>
                    <a:lnTo>
                      <a:pt x="539" y="578"/>
                    </a:lnTo>
                    <a:lnTo>
                      <a:pt x="535" y="578"/>
                    </a:lnTo>
                    <a:lnTo>
                      <a:pt x="534" y="580"/>
                    </a:lnTo>
                    <a:lnTo>
                      <a:pt x="530" y="580"/>
                    </a:lnTo>
                    <a:lnTo>
                      <a:pt x="527" y="583"/>
                    </a:lnTo>
                    <a:lnTo>
                      <a:pt x="520" y="583"/>
                    </a:lnTo>
                    <a:lnTo>
                      <a:pt x="511" y="588"/>
                    </a:lnTo>
                    <a:lnTo>
                      <a:pt x="506" y="590"/>
                    </a:lnTo>
                    <a:lnTo>
                      <a:pt x="501" y="590"/>
                    </a:lnTo>
                    <a:lnTo>
                      <a:pt x="500" y="590"/>
                    </a:lnTo>
                    <a:lnTo>
                      <a:pt x="489" y="587"/>
                    </a:lnTo>
                    <a:lnTo>
                      <a:pt x="484" y="587"/>
                    </a:lnTo>
                    <a:lnTo>
                      <a:pt x="477" y="587"/>
                    </a:lnTo>
                    <a:lnTo>
                      <a:pt x="472" y="588"/>
                    </a:lnTo>
                    <a:lnTo>
                      <a:pt x="466" y="592"/>
                    </a:lnTo>
                    <a:lnTo>
                      <a:pt x="462" y="597"/>
                    </a:lnTo>
                    <a:lnTo>
                      <a:pt x="462" y="598"/>
                    </a:lnTo>
                    <a:lnTo>
                      <a:pt x="466" y="600"/>
                    </a:lnTo>
                    <a:lnTo>
                      <a:pt x="467" y="604"/>
                    </a:lnTo>
                    <a:lnTo>
                      <a:pt x="466" y="604"/>
                    </a:lnTo>
                    <a:lnTo>
                      <a:pt x="464" y="604"/>
                    </a:lnTo>
                    <a:lnTo>
                      <a:pt x="460" y="604"/>
                    </a:lnTo>
                    <a:lnTo>
                      <a:pt x="455" y="604"/>
                    </a:lnTo>
                    <a:lnTo>
                      <a:pt x="452" y="604"/>
                    </a:lnTo>
                    <a:lnTo>
                      <a:pt x="442" y="600"/>
                    </a:lnTo>
                    <a:lnTo>
                      <a:pt x="433" y="600"/>
                    </a:lnTo>
                    <a:lnTo>
                      <a:pt x="428" y="602"/>
                    </a:lnTo>
                    <a:lnTo>
                      <a:pt x="428" y="605"/>
                    </a:lnTo>
                    <a:lnTo>
                      <a:pt x="423" y="609"/>
                    </a:lnTo>
                    <a:lnTo>
                      <a:pt x="423" y="610"/>
                    </a:lnTo>
                    <a:lnTo>
                      <a:pt x="425" y="612"/>
                    </a:lnTo>
                    <a:lnTo>
                      <a:pt x="423" y="612"/>
                    </a:lnTo>
                    <a:lnTo>
                      <a:pt x="415" y="610"/>
                    </a:lnTo>
                    <a:lnTo>
                      <a:pt x="413" y="610"/>
                    </a:lnTo>
                    <a:lnTo>
                      <a:pt x="411" y="610"/>
                    </a:lnTo>
                    <a:lnTo>
                      <a:pt x="406" y="610"/>
                    </a:lnTo>
                    <a:lnTo>
                      <a:pt x="401" y="607"/>
                    </a:lnTo>
                    <a:lnTo>
                      <a:pt x="398" y="607"/>
                    </a:lnTo>
                    <a:lnTo>
                      <a:pt x="391" y="604"/>
                    </a:lnTo>
                    <a:lnTo>
                      <a:pt x="375" y="604"/>
                    </a:lnTo>
                    <a:lnTo>
                      <a:pt x="364" y="600"/>
                    </a:lnTo>
                    <a:lnTo>
                      <a:pt x="358" y="600"/>
                    </a:lnTo>
                    <a:lnTo>
                      <a:pt x="357" y="602"/>
                    </a:lnTo>
                    <a:lnTo>
                      <a:pt x="352" y="602"/>
                    </a:lnTo>
                    <a:lnTo>
                      <a:pt x="350" y="604"/>
                    </a:lnTo>
                    <a:lnTo>
                      <a:pt x="350" y="605"/>
                    </a:lnTo>
                    <a:lnTo>
                      <a:pt x="350" y="607"/>
                    </a:lnTo>
                    <a:lnTo>
                      <a:pt x="352" y="607"/>
                    </a:lnTo>
                    <a:lnTo>
                      <a:pt x="331" y="605"/>
                    </a:lnTo>
                    <a:lnTo>
                      <a:pt x="330" y="605"/>
                    </a:lnTo>
                    <a:lnTo>
                      <a:pt x="330" y="607"/>
                    </a:lnTo>
                    <a:lnTo>
                      <a:pt x="319" y="604"/>
                    </a:lnTo>
                    <a:lnTo>
                      <a:pt x="309" y="602"/>
                    </a:lnTo>
                    <a:lnTo>
                      <a:pt x="304" y="604"/>
                    </a:lnTo>
                    <a:lnTo>
                      <a:pt x="299" y="605"/>
                    </a:lnTo>
                    <a:lnTo>
                      <a:pt x="294" y="604"/>
                    </a:lnTo>
                    <a:lnTo>
                      <a:pt x="289" y="605"/>
                    </a:lnTo>
                    <a:lnTo>
                      <a:pt x="287" y="607"/>
                    </a:lnTo>
                    <a:lnTo>
                      <a:pt x="285" y="609"/>
                    </a:lnTo>
                    <a:lnTo>
                      <a:pt x="289" y="610"/>
                    </a:lnTo>
                    <a:lnTo>
                      <a:pt x="277" y="614"/>
                    </a:lnTo>
                    <a:lnTo>
                      <a:pt x="275" y="616"/>
                    </a:lnTo>
                    <a:lnTo>
                      <a:pt x="277" y="617"/>
                    </a:lnTo>
                    <a:lnTo>
                      <a:pt x="275" y="617"/>
                    </a:lnTo>
                    <a:lnTo>
                      <a:pt x="275" y="619"/>
                    </a:lnTo>
                    <a:lnTo>
                      <a:pt x="272" y="621"/>
                    </a:lnTo>
                    <a:lnTo>
                      <a:pt x="265" y="622"/>
                    </a:lnTo>
                    <a:lnTo>
                      <a:pt x="256" y="619"/>
                    </a:lnTo>
                    <a:lnTo>
                      <a:pt x="251" y="621"/>
                    </a:lnTo>
                    <a:lnTo>
                      <a:pt x="245" y="624"/>
                    </a:lnTo>
                    <a:lnTo>
                      <a:pt x="234" y="621"/>
                    </a:lnTo>
                    <a:lnTo>
                      <a:pt x="226" y="621"/>
                    </a:lnTo>
                    <a:lnTo>
                      <a:pt x="222" y="622"/>
                    </a:lnTo>
                    <a:lnTo>
                      <a:pt x="222" y="624"/>
                    </a:lnTo>
                    <a:lnTo>
                      <a:pt x="221" y="626"/>
                    </a:lnTo>
                    <a:lnTo>
                      <a:pt x="212" y="624"/>
                    </a:lnTo>
                    <a:lnTo>
                      <a:pt x="205" y="626"/>
                    </a:lnTo>
                    <a:lnTo>
                      <a:pt x="200" y="627"/>
                    </a:lnTo>
                    <a:lnTo>
                      <a:pt x="199" y="631"/>
                    </a:lnTo>
                    <a:lnTo>
                      <a:pt x="192" y="634"/>
                    </a:lnTo>
                    <a:lnTo>
                      <a:pt x="190" y="636"/>
                    </a:lnTo>
                    <a:lnTo>
                      <a:pt x="187" y="636"/>
                    </a:lnTo>
                    <a:lnTo>
                      <a:pt x="183" y="639"/>
                    </a:lnTo>
                    <a:lnTo>
                      <a:pt x="182" y="641"/>
                    </a:lnTo>
                    <a:lnTo>
                      <a:pt x="182" y="643"/>
                    </a:lnTo>
                    <a:lnTo>
                      <a:pt x="178" y="644"/>
                    </a:lnTo>
                    <a:lnTo>
                      <a:pt x="177" y="643"/>
                    </a:lnTo>
                    <a:lnTo>
                      <a:pt x="171" y="641"/>
                    </a:lnTo>
                    <a:lnTo>
                      <a:pt x="163" y="639"/>
                    </a:lnTo>
                    <a:lnTo>
                      <a:pt x="161" y="641"/>
                    </a:lnTo>
                    <a:lnTo>
                      <a:pt x="160" y="641"/>
                    </a:lnTo>
                    <a:lnTo>
                      <a:pt x="160" y="639"/>
                    </a:lnTo>
                    <a:lnTo>
                      <a:pt x="158" y="639"/>
                    </a:lnTo>
                    <a:lnTo>
                      <a:pt x="158" y="638"/>
                    </a:lnTo>
                    <a:lnTo>
                      <a:pt x="156" y="638"/>
                    </a:lnTo>
                    <a:lnTo>
                      <a:pt x="154" y="636"/>
                    </a:lnTo>
                    <a:lnTo>
                      <a:pt x="151" y="634"/>
                    </a:lnTo>
                    <a:lnTo>
                      <a:pt x="149" y="633"/>
                    </a:lnTo>
                    <a:lnTo>
                      <a:pt x="143" y="634"/>
                    </a:lnTo>
                    <a:lnTo>
                      <a:pt x="148" y="629"/>
                    </a:lnTo>
                    <a:lnTo>
                      <a:pt x="146" y="624"/>
                    </a:lnTo>
                    <a:lnTo>
                      <a:pt x="143" y="622"/>
                    </a:lnTo>
                    <a:lnTo>
                      <a:pt x="139" y="624"/>
                    </a:lnTo>
                    <a:lnTo>
                      <a:pt x="137" y="622"/>
                    </a:lnTo>
                    <a:lnTo>
                      <a:pt x="136" y="622"/>
                    </a:lnTo>
                    <a:lnTo>
                      <a:pt x="134" y="622"/>
                    </a:lnTo>
                    <a:lnTo>
                      <a:pt x="132" y="621"/>
                    </a:lnTo>
                    <a:lnTo>
                      <a:pt x="131" y="619"/>
                    </a:lnTo>
                    <a:lnTo>
                      <a:pt x="127" y="619"/>
                    </a:lnTo>
                    <a:lnTo>
                      <a:pt x="126" y="621"/>
                    </a:lnTo>
                    <a:lnTo>
                      <a:pt x="124" y="619"/>
                    </a:lnTo>
                    <a:lnTo>
                      <a:pt x="122" y="621"/>
                    </a:lnTo>
                    <a:lnTo>
                      <a:pt x="120" y="621"/>
                    </a:lnTo>
                    <a:lnTo>
                      <a:pt x="119" y="621"/>
                    </a:lnTo>
                    <a:lnTo>
                      <a:pt x="119" y="619"/>
                    </a:lnTo>
                    <a:lnTo>
                      <a:pt x="119" y="617"/>
                    </a:lnTo>
                    <a:lnTo>
                      <a:pt x="120" y="614"/>
                    </a:lnTo>
                    <a:lnTo>
                      <a:pt x="119" y="610"/>
                    </a:lnTo>
                    <a:lnTo>
                      <a:pt x="120" y="609"/>
                    </a:lnTo>
                    <a:lnTo>
                      <a:pt x="117" y="605"/>
                    </a:lnTo>
                    <a:lnTo>
                      <a:pt x="109" y="605"/>
                    </a:lnTo>
                    <a:lnTo>
                      <a:pt x="102" y="607"/>
                    </a:lnTo>
                    <a:lnTo>
                      <a:pt x="100" y="609"/>
                    </a:lnTo>
                    <a:lnTo>
                      <a:pt x="98" y="610"/>
                    </a:lnTo>
                    <a:lnTo>
                      <a:pt x="100" y="612"/>
                    </a:lnTo>
                    <a:lnTo>
                      <a:pt x="102" y="614"/>
                    </a:lnTo>
                    <a:lnTo>
                      <a:pt x="100" y="617"/>
                    </a:lnTo>
                    <a:lnTo>
                      <a:pt x="102" y="619"/>
                    </a:lnTo>
                    <a:lnTo>
                      <a:pt x="98" y="617"/>
                    </a:lnTo>
                    <a:lnTo>
                      <a:pt x="97" y="616"/>
                    </a:lnTo>
                    <a:lnTo>
                      <a:pt x="97" y="612"/>
                    </a:lnTo>
                    <a:lnTo>
                      <a:pt x="93" y="609"/>
                    </a:lnTo>
                    <a:lnTo>
                      <a:pt x="95" y="609"/>
                    </a:lnTo>
                    <a:lnTo>
                      <a:pt x="97" y="605"/>
                    </a:lnTo>
                    <a:lnTo>
                      <a:pt x="95" y="604"/>
                    </a:lnTo>
                    <a:lnTo>
                      <a:pt x="95" y="605"/>
                    </a:lnTo>
                    <a:lnTo>
                      <a:pt x="93" y="604"/>
                    </a:lnTo>
                    <a:lnTo>
                      <a:pt x="97" y="600"/>
                    </a:lnTo>
                    <a:lnTo>
                      <a:pt x="97" y="597"/>
                    </a:lnTo>
                    <a:lnTo>
                      <a:pt x="100" y="597"/>
                    </a:lnTo>
                    <a:lnTo>
                      <a:pt x="98" y="597"/>
                    </a:lnTo>
                    <a:lnTo>
                      <a:pt x="100" y="597"/>
                    </a:lnTo>
                    <a:lnTo>
                      <a:pt x="102" y="597"/>
                    </a:lnTo>
                    <a:lnTo>
                      <a:pt x="102" y="595"/>
                    </a:lnTo>
                    <a:lnTo>
                      <a:pt x="102" y="593"/>
                    </a:lnTo>
                    <a:lnTo>
                      <a:pt x="100" y="588"/>
                    </a:lnTo>
                    <a:lnTo>
                      <a:pt x="100" y="587"/>
                    </a:lnTo>
                    <a:lnTo>
                      <a:pt x="95" y="580"/>
                    </a:lnTo>
                    <a:lnTo>
                      <a:pt x="93" y="580"/>
                    </a:lnTo>
                    <a:lnTo>
                      <a:pt x="93" y="576"/>
                    </a:lnTo>
                    <a:lnTo>
                      <a:pt x="93" y="575"/>
                    </a:lnTo>
                    <a:lnTo>
                      <a:pt x="90" y="571"/>
                    </a:lnTo>
                    <a:lnTo>
                      <a:pt x="85" y="570"/>
                    </a:lnTo>
                    <a:lnTo>
                      <a:pt x="85" y="568"/>
                    </a:lnTo>
                    <a:lnTo>
                      <a:pt x="83" y="563"/>
                    </a:lnTo>
                    <a:lnTo>
                      <a:pt x="78" y="559"/>
                    </a:lnTo>
                    <a:lnTo>
                      <a:pt x="76" y="558"/>
                    </a:lnTo>
                    <a:lnTo>
                      <a:pt x="76" y="556"/>
                    </a:lnTo>
                    <a:lnTo>
                      <a:pt x="75" y="556"/>
                    </a:lnTo>
                    <a:lnTo>
                      <a:pt x="76" y="556"/>
                    </a:lnTo>
                    <a:lnTo>
                      <a:pt x="76" y="554"/>
                    </a:lnTo>
                    <a:lnTo>
                      <a:pt x="78" y="556"/>
                    </a:lnTo>
                    <a:lnTo>
                      <a:pt x="76" y="556"/>
                    </a:lnTo>
                    <a:lnTo>
                      <a:pt x="78" y="556"/>
                    </a:lnTo>
                    <a:lnTo>
                      <a:pt x="78" y="558"/>
                    </a:lnTo>
                    <a:lnTo>
                      <a:pt x="81" y="561"/>
                    </a:lnTo>
                    <a:lnTo>
                      <a:pt x="83" y="561"/>
                    </a:lnTo>
                    <a:lnTo>
                      <a:pt x="83" y="559"/>
                    </a:lnTo>
                    <a:lnTo>
                      <a:pt x="81" y="559"/>
                    </a:lnTo>
                    <a:lnTo>
                      <a:pt x="81" y="558"/>
                    </a:lnTo>
                    <a:lnTo>
                      <a:pt x="80" y="556"/>
                    </a:lnTo>
                    <a:lnTo>
                      <a:pt x="80" y="553"/>
                    </a:lnTo>
                    <a:lnTo>
                      <a:pt x="78" y="551"/>
                    </a:lnTo>
                    <a:lnTo>
                      <a:pt x="76" y="553"/>
                    </a:lnTo>
                    <a:lnTo>
                      <a:pt x="78" y="551"/>
                    </a:lnTo>
                    <a:lnTo>
                      <a:pt x="76" y="551"/>
                    </a:lnTo>
                    <a:lnTo>
                      <a:pt x="75" y="553"/>
                    </a:lnTo>
                    <a:lnTo>
                      <a:pt x="76" y="553"/>
                    </a:lnTo>
                    <a:lnTo>
                      <a:pt x="75" y="553"/>
                    </a:lnTo>
                    <a:lnTo>
                      <a:pt x="73" y="553"/>
                    </a:lnTo>
                    <a:lnTo>
                      <a:pt x="71" y="553"/>
                    </a:lnTo>
                    <a:lnTo>
                      <a:pt x="73" y="551"/>
                    </a:lnTo>
                    <a:lnTo>
                      <a:pt x="71" y="551"/>
                    </a:lnTo>
                    <a:lnTo>
                      <a:pt x="71" y="549"/>
                    </a:lnTo>
                    <a:lnTo>
                      <a:pt x="71" y="547"/>
                    </a:lnTo>
                    <a:lnTo>
                      <a:pt x="69" y="546"/>
                    </a:lnTo>
                    <a:lnTo>
                      <a:pt x="71" y="544"/>
                    </a:lnTo>
                    <a:lnTo>
                      <a:pt x="69" y="542"/>
                    </a:lnTo>
                    <a:lnTo>
                      <a:pt x="73" y="541"/>
                    </a:lnTo>
                    <a:lnTo>
                      <a:pt x="73" y="537"/>
                    </a:lnTo>
                    <a:lnTo>
                      <a:pt x="73" y="536"/>
                    </a:lnTo>
                    <a:lnTo>
                      <a:pt x="75" y="537"/>
                    </a:lnTo>
                    <a:lnTo>
                      <a:pt x="76" y="536"/>
                    </a:lnTo>
                    <a:lnTo>
                      <a:pt x="76" y="537"/>
                    </a:lnTo>
                    <a:lnTo>
                      <a:pt x="78" y="537"/>
                    </a:lnTo>
                    <a:lnTo>
                      <a:pt x="80" y="541"/>
                    </a:lnTo>
                    <a:lnTo>
                      <a:pt x="85" y="539"/>
                    </a:lnTo>
                    <a:lnTo>
                      <a:pt x="90" y="534"/>
                    </a:lnTo>
                    <a:lnTo>
                      <a:pt x="93" y="530"/>
                    </a:lnTo>
                    <a:lnTo>
                      <a:pt x="95" y="524"/>
                    </a:lnTo>
                    <a:lnTo>
                      <a:pt x="93" y="517"/>
                    </a:lnTo>
                    <a:lnTo>
                      <a:pt x="95" y="517"/>
                    </a:lnTo>
                    <a:lnTo>
                      <a:pt x="95" y="515"/>
                    </a:lnTo>
                    <a:lnTo>
                      <a:pt x="93" y="507"/>
                    </a:lnTo>
                    <a:lnTo>
                      <a:pt x="93" y="503"/>
                    </a:lnTo>
                    <a:lnTo>
                      <a:pt x="92" y="496"/>
                    </a:lnTo>
                    <a:lnTo>
                      <a:pt x="92" y="495"/>
                    </a:lnTo>
                    <a:lnTo>
                      <a:pt x="88" y="491"/>
                    </a:lnTo>
                    <a:lnTo>
                      <a:pt x="88" y="488"/>
                    </a:lnTo>
                    <a:lnTo>
                      <a:pt x="85" y="483"/>
                    </a:lnTo>
                    <a:lnTo>
                      <a:pt x="83" y="478"/>
                    </a:lnTo>
                    <a:lnTo>
                      <a:pt x="73" y="468"/>
                    </a:lnTo>
                    <a:lnTo>
                      <a:pt x="71" y="462"/>
                    </a:lnTo>
                    <a:lnTo>
                      <a:pt x="64" y="456"/>
                    </a:lnTo>
                    <a:lnTo>
                      <a:pt x="61" y="449"/>
                    </a:lnTo>
                    <a:lnTo>
                      <a:pt x="58" y="445"/>
                    </a:lnTo>
                    <a:lnTo>
                      <a:pt x="52" y="435"/>
                    </a:lnTo>
                    <a:lnTo>
                      <a:pt x="49" y="430"/>
                    </a:lnTo>
                    <a:lnTo>
                      <a:pt x="49" y="428"/>
                    </a:lnTo>
                    <a:lnTo>
                      <a:pt x="41" y="416"/>
                    </a:lnTo>
                    <a:lnTo>
                      <a:pt x="37" y="408"/>
                    </a:lnTo>
                    <a:lnTo>
                      <a:pt x="37" y="406"/>
                    </a:lnTo>
                    <a:lnTo>
                      <a:pt x="35" y="398"/>
                    </a:lnTo>
                    <a:lnTo>
                      <a:pt x="32" y="396"/>
                    </a:lnTo>
                    <a:lnTo>
                      <a:pt x="30" y="389"/>
                    </a:lnTo>
                    <a:lnTo>
                      <a:pt x="29" y="382"/>
                    </a:lnTo>
                    <a:lnTo>
                      <a:pt x="29" y="379"/>
                    </a:lnTo>
                    <a:lnTo>
                      <a:pt x="27" y="377"/>
                    </a:lnTo>
                    <a:lnTo>
                      <a:pt x="27" y="376"/>
                    </a:lnTo>
                    <a:lnTo>
                      <a:pt x="25" y="371"/>
                    </a:lnTo>
                    <a:lnTo>
                      <a:pt x="18" y="359"/>
                    </a:lnTo>
                    <a:lnTo>
                      <a:pt x="17" y="354"/>
                    </a:lnTo>
                    <a:lnTo>
                      <a:pt x="13" y="350"/>
                    </a:lnTo>
                    <a:lnTo>
                      <a:pt x="12" y="345"/>
                    </a:lnTo>
                    <a:lnTo>
                      <a:pt x="7" y="342"/>
                    </a:lnTo>
                    <a:lnTo>
                      <a:pt x="5" y="337"/>
                    </a:lnTo>
                    <a:lnTo>
                      <a:pt x="5" y="335"/>
                    </a:lnTo>
                    <a:lnTo>
                      <a:pt x="0" y="330"/>
                    </a:lnTo>
                    <a:lnTo>
                      <a:pt x="0" y="328"/>
                    </a:lnTo>
                    <a:lnTo>
                      <a:pt x="0" y="326"/>
                    </a:lnTo>
                    <a:lnTo>
                      <a:pt x="7" y="325"/>
                    </a:lnTo>
                    <a:lnTo>
                      <a:pt x="8" y="323"/>
                    </a:lnTo>
                    <a:lnTo>
                      <a:pt x="10" y="321"/>
                    </a:lnTo>
                    <a:lnTo>
                      <a:pt x="13" y="323"/>
                    </a:lnTo>
                    <a:lnTo>
                      <a:pt x="15" y="321"/>
                    </a:lnTo>
                    <a:lnTo>
                      <a:pt x="15" y="318"/>
                    </a:lnTo>
                    <a:lnTo>
                      <a:pt x="17" y="316"/>
                    </a:lnTo>
                    <a:lnTo>
                      <a:pt x="15" y="313"/>
                    </a:lnTo>
                    <a:lnTo>
                      <a:pt x="15" y="311"/>
                    </a:lnTo>
                    <a:lnTo>
                      <a:pt x="17" y="311"/>
                    </a:lnTo>
                    <a:lnTo>
                      <a:pt x="18" y="311"/>
                    </a:lnTo>
                    <a:lnTo>
                      <a:pt x="18" y="309"/>
                    </a:lnTo>
                    <a:lnTo>
                      <a:pt x="17" y="309"/>
                    </a:lnTo>
                    <a:lnTo>
                      <a:pt x="20" y="308"/>
                    </a:lnTo>
                    <a:lnTo>
                      <a:pt x="18" y="306"/>
                    </a:lnTo>
                    <a:lnTo>
                      <a:pt x="20" y="306"/>
                    </a:lnTo>
                    <a:lnTo>
                      <a:pt x="20" y="303"/>
                    </a:lnTo>
                    <a:lnTo>
                      <a:pt x="22" y="301"/>
                    </a:lnTo>
                    <a:lnTo>
                      <a:pt x="24" y="301"/>
                    </a:lnTo>
                    <a:lnTo>
                      <a:pt x="25" y="301"/>
                    </a:lnTo>
                    <a:lnTo>
                      <a:pt x="27" y="301"/>
                    </a:lnTo>
                    <a:lnTo>
                      <a:pt x="30" y="299"/>
                    </a:lnTo>
                    <a:lnTo>
                      <a:pt x="34" y="303"/>
                    </a:lnTo>
                    <a:lnTo>
                      <a:pt x="37" y="303"/>
                    </a:lnTo>
                    <a:lnTo>
                      <a:pt x="35" y="308"/>
                    </a:lnTo>
                    <a:lnTo>
                      <a:pt x="37" y="309"/>
                    </a:lnTo>
                    <a:lnTo>
                      <a:pt x="41" y="309"/>
                    </a:lnTo>
                    <a:lnTo>
                      <a:pt x="42" y="309"/>
                    </a:lnTo>
                    <a:lnTo>
                      <a:pt x="44" y="309"/>
                    </a:lnTo>
                    <a:lnTo>
                      <a:pt x="46" y="313"/>
                    </a:lnTo>
                    <a:lnTo>
                      <a:pt x="46" y="314"/>
                    </a:lnTo>
                    <a:lnTo>
                      <a:pt x="47" y="316"/>
                    </a:lnTo>
                    <a:lnTo>
                      <a:pt x="47" y="318"/>
                    </a:lnTo>
                    <a:lnTo>
                      <a:pt x="46" y="320"/>
                    </a:lnTo>
                    <a:lnTo>
                      <a:pt x="44" y="320"/>
                    </a:lnTo>
                    <a:lnTo>
                      <a:pt x="44" y="321"/>
                    </a:lnTo>
                    <a:lnTo>
                      <a:pt x="46" y="323"/>
                    </a:lnTo>
                    <a:lnTo>
                      <a:pt x="46" y="326"/>
                    </a:lnTo>
                    <a:lnTo>
                      <a:pt x="47" y="326"/>
                    </a:lnTo>
                    <a:lnTo>
                      <a:pt x="49" y="326"/>
                    </a:lnTo>
                    <a:lnTo>
                      <a:pt x="47" y="335"/>
                    </a:lnTo>
                    <a:lnTo>
                      <a:pt x="51" y="333"/>
                    </a:lnTo>
                    <a:lnTo>
                      <a:pt x="54" y="333"/>
                    </a:lnTo>
                    <a:lnTo>
                      <a:pt x="56" y="331"/>
                    </a:lnTo>
                    <a:lnTo>
                      <a:pt x="58" y="333"/>
                    </a:lnTo>
                    <a:lnTo>
                      <a:pt x="58" y="337"/>
                    </a:lnTo>
                    <a:lnTo>
                      <a:pt x="59" y="337"/>
                    </a:lnTo>
                    <a:lnTo>
                      <a:pt x="63" y="335"/>
                    </a:lnTo>
                    <a:lnTo>
                      <a:pt x="64" y="337"/>
                    </a:lnTo>
                    <a:lnTo>
                      <a:pt x="64" y="335"/>
                    </a:lnTo>
                    <a:lnTo>
                      <a:pt x="66" y="337"/>
                    </a:lnTo>
                    <a:lnTo>
                      <a:pt x="73" y="337"/>
                    </a:lnTo>
                    <a:lnTo>
                      <a:pt x="75" y="337"/>
                    </a:lnTo>
                    <a:lnTo>
                      <a:pt x="76" y="337"/>
                    </a:lnTo>
                    <a:lnTo>
                      <a:pt x="76" y="338"/>
                    </a:lnTo>
                    <a:lnTo>
                      <a:pt x="80" y="342"/>
                    </a:lnTo>
                    <a:lnTo>
                      <a:pt x="81" y="342"/>
                    </a:lnTo>
                    <a:lnTo>
                      <a:pt x="86" y="343"/>
                    </a:lnTo>
                    <a:lnTo>
                      <a:pt x="88" y="343"/>
                    </a:lnTo>
                    <a:lnTo>
                      <a:pt x="90" y="343"/>
                    </a:lnTo>
                    <a:lnTo>
                      <a:pt x="90" y="342"/>
                    </a:lnTo>
                    <a:lnTo>
                      <a:pt x="95" y="342"/>
                    </a:lnTo>
                    <a:lnTo>
                      <a:pt x="98" y="343"/>
                    </a:lnTo>
                    <a:lnTo>
                      <a:pt x="102" y="342"/>
                    </a:lnTo>
                    <a:lnTo>
                      <a:pt x="103" y="343"/>
                    </a:lnTo>
                    <a:lnTo>
                      <a:pt x="105" y="342"/>
                    </a:lnTo>
                    <a:lnTo>
                      <a:pt x="109" y="340"/>
                    </a:lnTo>
                    <a:lnTo>
                      <a:pt x="114" y="340"/>
                    </a:lnTo>
                    <a:lnTo>
                      <a:pt x="124" y="342"/>
                    </a:lnTo>
                    <a:lnTo>
                      <a:pt x="127" y="342"/>
                    </a:lnTo>
                    <a:lnTo>
                      <a:pt x="129" y="345"/>
                    </a:lnTo>
                    <a:lnTo>
                      <a:pt x="131" y="345"/>
                    </a:lnTo>
                    <a:lnTo>
                      <a:pt x="132" y="347"/>
                    </a:lnTo>
                    <a:lnTo>
                      <a:pt x="136" y="347"/>
                    </a:lnTo>
                    <a:lnTo>
                      <a:pt x="137" y="345"/>
                    </a:lnTo>
                    <a:lnTo>
                      <a:pt x="141" y="343"/>
                    </a:lnTo>
                    <a:lnTo>
                      <a:pt x="143" y="343"/>
                    </a:lnTo>
                    <a:lnTo>
                      <a:pt x="141" y="342"/>
                    </a:lnTo>
                    <a:lnTo>
                      <a:pt x="141" y="338"/>
                    </a:lnTo>
                    <a:lnTo>
                      <a:pt x="141" y="335"/>
                    </a:lnTo>
                    <a:lnTo>
                      <a:pt x="143" y="335"/>
                    </a:lnTo>
                    <a:lnTo>
                      <a:pt x="148" y="335"/>
                    </a:lnTo>
                    <a:lnTo>
                      <a:pt x="151" y="333"/>
                    </a:lnTo>
                    <a:lnTo>
                      <a:pt x="153" y="331"/>
                    </a:lnTo>
                    <a:lnTo>
                      <a:pt x="153" y="328"/>
                    </a:lnTo>
                    <a:lnTo>
                      <a:pt x="154" y="326"/>
                    </a:lnTo>
                    <a:lnTo>
                      <a:pt x="156" y="325"/>
                    </a:lnTo>
                    <a:lnTo>
                      <a:pt x="160" y="323"/>
                    </a:lnTo>
                    <a:lnTo>
                      <a:pt x="161" y="325"/>
                    </a:lnTo>
                    <a:lnTo>
                      <a:pt x="165" y="321"/>
                    </a:lnTo>
                    <a:lnTo>
                      <a:pt x="170" y="323"/>
                    </a:lnTo>
                    <a:lnTo>
                      <a:pt x="173" y="320"/>
                    </a:lnTo>
                    <a:lnTo>
                      <a:pt x="178" y="320"/>
                    </a:lnTo>
                    <a:lnTo>
                      <a:pt x="178" y="297"/>
                    </a:lnTo>
                    <a:lnTo>
                      <a:pt x="178" y="285"/>
                    </a:lnTo>
                    <a:lnTo>
                      <a:pt x="178" y="272"/>
                    </a:lnTo>
                    <a:lnTo>
                      <a:pt x="178" y="265"/>
                    </a:lnTo>
                    <a:lnTo>
                      <a:pt x="178" y="245"/>
                    </a:lnTo>
                    <a:lnTo>
                      <a:pt x="178" y="228"/>
                    </a:lnTo>
                    <a:lnTo>
                      <a:pt x="178" y="211"/>
                    </a:lnTo>
                    <a:lnTo>
                      <a:pt x="178" y="195"/>
                    </a:lnTo>
                    <a:lnTo>
                      <a:pt x="178" y="177"/>
                    </a:lnTo>
                    <a:lnTo>
                      <a:pt x="178" y="172"/>
                    </a:lnTo>
                    <a:lnTo>
                      <a:pt x="178" y="151"/>
                    </a:lnTo>
                    <a:lnTo>
                      <a:pt x="178" y="134"/>
                    </a:lnTo>
                    <a:lnTo>
                      <a:pt x="180" y="136"/>
                    </a:lnTo>
                    <a:lnTo>
                      <a:pt x="183" y="138"/>
                    </a:lnTo>
                    <a:lnTo>
                      <a:pt x="185" y="139"/>
                    </a:lnTo>
                    <a:lnTo>
                      <a:pt x="187" y="139"/>
                    </a:lnTo>
                    <a:lnTo>
                      <a:pt x="188" y="141"/>
                    </a:lnTo>
                    <a:lnTo>
                      <a:pt x="190" y="141"/>
                    </a:lnTo>
                    <a:lnTo>
                      <a:pt x="192" y="141"/>
                    </a:lnTo>
                    <a:lnTo>
                      <a:pt x="194" y="144"/>
                    </a:lnTo>
                    <a:lnTo>
                      <a:pt x="199" y="148"/>
                    </a:lnTo>
                    <a:lnTo>
                      <a:pt x="197" y="148"/>
                    </a:lnTo>
                    <a:lnTo>
                      <a:pt x="199" y="149"/>
                    </a:lnTo>
                    <a:lnTo>
                      <a:pt x="200" y="153"/>
                    </a:lnTo>
                    <a:lnTo>
                      <a:pt x="202" y="153"/>
                    </a:lnTo>
                    <a:lnTo>
                      <a:pt x="200" y="156"/>
                    </a:lnTo>
                    <a:lnTo>
                      <a:pt x="202" y="156"/>
                    </a:lnTo>
                    <a:lnTo>
                      <a:pt x="204" y="156"/>
                    </a:lnTo>
                    <a:lnTo>
                      <a:pt x="204" y="158"/>
                    </a:lnTo>
                    <a:lnTo>
                      <a:pt x="204" y="160"/>
                    </a:lnTo>
                    <a:lnTo>
                      <a:pt x="205" y="160"/>
                    </a:lnTo>
                    <a:lnTo>
                      <a:pt x="205" y="161"/>
                    </a:lnTo>
                    <a:lnTo>
                      <a:pt x="205" y="163"/>
                    </a:lnTo>
                    <a:lnTo>
                      <a:pt x="207" y="165"/>
                    </a:lnTo>
                    <a:lnTo>
                      <a:pt x="209" y="165"/>
                    </a:lnTo>
                    <a:lnTo>
                      <a:pt x="209" y="166"/>
                    </a:lnTo>
                    <a:lnTo>
                      <a:pt x="211" y="166"/>
                    </a:lnTo>
                    <a:lnTo>
                      <a:pt x="211" y="168"/>
                    </a:lnTo>
                    <a:lnTo>
                      <a:pt x="212" y="168"/>
                    </a:lnTo>
                    <a:lnTo>
                      <a:pt x="212" y="170"/>
                    </a:lnTo>
                    <a:lnTo>
                      <a:pt x="211" y="170"/>
                    </a:lnTo>
                    <a:lnTo>
                      <a:pt x="211" y="172"/>
                    </a:lnTo>
                    <a:lnTo>
                      <a:pt x="212" y="173"/>
                    </a:lnTo>
                    <a:lnTo>
                      <a:pt x="214" y="175"/>
                    </a:lnTo>
                    <a:lnTo>
                      <a:pt x="212" y="177"/>
                    </a:lnTo>
                    <a:lnTo>
                      <a:pt x="212" y="178"/>
                    </a:lnTo>
                    <a:lnTo>
                      <a:pt x="214" y="178"/>
                    </a:lnTo>
                    <a:lnTo>
                      <a:pt x="212" y="180"/>
                    </a:lnTo>
                    <a:lnTo>
                      <a:pt x="216" y="182"/>
                    </a:lnTo>
                    <a:lnTo>
                      <a:pt x="216" y="185"/>
                    </a:lnTo>
                    <a:lnTo>
                      <a:pt x="217" y="185"/>
                    </a:lnTo>
                    <a:lnTo>
                      <a:pt x="216" y="187"/>
                    </a:lnTo>
                    <a:lnTo>
                      <a:pt x="219" y="187"/>
                    </a:lnTo>
                    <a:lnTo>
                      <a:pt x="219" y="189"/>
                    </a:lnTo>
                    <a:lnTo>
                      <a:pt x="219" y="190"/>
                    </a:lnTo>
                    <a:lnTo>
                      <a:pt x="219" y="192"/>
                    </a:lnTo>
                    <a:lnTo>
                      <a:pt x="221" y="194"/>
                    </a:lnTo>
                    <a:lnTo>
                      <a:pt x="219" y="197"/>
                    </a:lnTo>
                    <a:lnTo>
                      <a:pt x="221" y="199"/>
                    </a:lnTo>
                    <a:lnTo>
                      <a:pt x="221" y="200"/>
                    </a:lnTo>
                    <a:lnTo>
                      <a:pt x="221" y="202"/>
                    </a:lnTo>
                    <a:lnTo>
                      <a:pt x="222" y="202"/>
                    </a:lnTo>
                    <a:lnTo>
                      <a:pt x="221" y="206"/>
                    </a:lnTo>
                    <a:lnTo>
                      <a:pt x="219" y="211"/>
                    </a:lnTo>
                    <a:lnTo>
                      <a:pt x="216" y="212"/>
                    </a:lnTo>
                    <a:lnTo>
                      <a:pt x="214" y="216"/>
                    </a:lnTo>
                    <a:lnTo>
                      <a:pt x="211" y="219"/>
                    </a:lnTo>
                    <a:lnTo>
                      <a:pt x="209" y="223"/>
                    </a:lnTo>
                    <a:lnTo>
                      <a:pt x="209" y="224"/>
                    </a:lnTo>
                    <a:lnTo>
                      <a:pt x="211" y="226"/>
                    </a:lnTo>
                    <a:lnTo>
                      <a:pt x="211" y="229"/>
                    </a:lnTo>
                    <a:lnTo>
                      <a:pt x="211" y="231"/>
                    </a:lnTo>
                    <a:lnTo>
                      <a:pt x="211" y="234"/>
                    </a:lnTo>
                    <a:lnTo>
                      <a:pt x="211" y="236"/>
                    </a:lnTo>
                    <a:lnTo>
                      <a:pt x="212" y="238"/>
                    </a:lnTo>
                    <a:lnTo>
                      <a:pt x="211" y="238"/>
                    </a:lnTo>
                    <a:lnTo>
                      <a:pt x="214" y="238"/>
                    </a:lnTo>
                    <a:lnTo>
                      <a:pt x="214" y="241"/>
                    </a:lnTo>
                    <a:lnTo>
                      <a:pt x="216" y="240"/>
                    </a:lnTo>
                    <a:lnTo>
                      <a:pt x="217" y="240"/>
                    </a:lnTo>
                    <a:lnTo>
                      <a:pt x="219" y="240"/>
                    </a:lnTo>
                    <a:lnTo>
                      <a:pt x="221" y="240"/>
                    </a:lnTo>
                    <a:lnTo>
                      <a:pt x="221" y="238"/>
                    </a:lnTo>
                    <a:lnTo>
                      <a:pt x="224" y="236"/>
                    </a:lnTo>
                    <a:lnTo>
                      <a:pt x="226" y="238"/>
                    </a:lnTo>
                    <a:lnTo>
                      <a:pt x="228" y="236"/>
                    </a:lnTo>
                    <a:lnTo>
                      <a:pt x="229" y="240"/>
                    </a:lnTo>
                    <a:lnTo>
                      <a:pt x="233" y="240"/>
                    </a:lnTo>
                    <a:lnTo>
                      <a:pt x="236" y="240"/>
                    </a:lnTo>
                    <a:lnTo>
                      <a:pt x="241" y="240"/>
                    </a:lnTo>
                    <a:lnTo>
                      <a:pt x="243" y="238"/>
                    </a:lnTo>
                    <a:lnTo>
                      <a:pt x="245" y="240"/>
                    </a:lnTo>
                    <a:lnTo>
                      <a:pt x="246" y="238"/>
                    </a:lnTo>
                    <a:lnTo>
                      <a:pt x="250" y="238"/>
                    </a:lnTo>
                    <a:lnTo>
                      <a:pt x="256" y="240"/>
                    </a:lnTo>
                    <a:lnTo>
                      <a:pt x="258" y="238"/>
                    </a:lnTo>
                    <a:lnTo>
                      <a:pt x="262" y="240"/>
                    </a:lnTo>
                    <a:lnTo>
                      <a:pt x="265" y="240"/>
                    </a:lnTo>
                    <a:lnTo>
                      <a:pt x="268" y="236"/>
                    </a:lnTo>
                    <a:lnTo>
                      <a:pt x="270" y="234"/>
                    </a:lnTo>
                    <a:lnTo>
                      <a:pt x="268" y="231"/>
                    </a:lnTo>
                    <a:lnTo>
                      <a:pt x="272" y="229"/>
                    </a:lnTo>
                    <a:lnTo>
                      <a:pt x="277" y="229"/>
                    </a:lnTo>
                    <a:lnTo>
                      <a:pt x="282" y="228"/>
                    </a:lnTo>
                    <a:lnTo>
                      <a:pt x="284" y="226"/>
                    </a:lnTo>
                    <a:lnTo>
                      <a:pt x="289" y="223"/>
                    </a:lnTo>
                    <a:lnTo>
                      <a:pt x="289" y="221"/>
                    </a:lnTo>
                    <a:lnTo>
                      <a:pt x="289" y="219"/>
                    </a:lnTo>
                    <a:lnTo>
                      <a:pt x="290" y="217"/>
                    </a:lnTo>
                    <a:lnTo>
                      <a:pt x="289" y="216"/>
                    </a:lnTo>
                    <a:lnTo>
                      <a:pt x="292" y="214"/>
                    </a:lnTo>
                    <a:lnTo>
                      <a:pt x="296" y="214"/>
                    </a:lnTo>
                    <a:lnTo>
                      <a:pt x="296" y="212"/>
                    </a:lnTo>
                    <a:lnTo>
                      <a:pt x="299" y="212"/>
                    </a:lnTo>
                    <a:lnTo>
                      <a:pt x="299" y="211"/>
                    </a:lnTo>
                    <a:lnTo>
                      <a:pt x="301" y="211"/>
                    </a:lnTo>
                    <a:lnTo>
                      <a:pt x="301" y="209"/>
                    </a:lnTo>
                    <a:lnTo>
                      <a:pt x="301" y="207"/>
                    </a:lnTo>
                    <a:lnTo>
                      <a:pt x="302" y="207"/>
                    </a:lnTo>
                    <a:lnTo>
                      <a:pt x="304" y="206"/>
                    </a:lnTo>
                    <a:lnTo>
                      <a:pt x="307" y="207"/>
                    </a:lnTo>
                    <a:lnTo>
                      <a:pt x="309" y="206"/>
                    </a:lnTo>
                    <a:lnTo>
                      <a:pt x="309" y="204"/>
                    </a:lnTo>
                    <a:lnTo>
                      <a:pt x="311" y="204"/>
                    </a:lnTo>
                    <a:lnTo>
                      <a:pt x="311" y="202"/>
                    </a:lnTo>
                    <a:lnTo>
                      <a:pt x="313" y="202"/>
                    </a:lnTo>
                    <a:lnTo>
                      <a:pt x="313" y="200"/>
                    </a:lnTo>
                    <a:lnTo>
                      <a:pt x="314" y="200"/>
                    </a:lnTo>
                    <a:lnTo>
                      <a:pt x="314" y="197"/>
                    </a:lnTo>
                    <a:lnTo>
                      <a:pt x="316" y="197"/>
                    </a:lnTo>
                    <a:lnTo>
                      <a:pt x="316" y="194"/>
                    </a:lnTo>
                    <a:lnTo>
                      <a:pt x="318" y="192"/>
                    </a:lnTo>
                    <a:lnTo>
                      <a:pt x="316" y="190"/>
                    </a:lnTo>
                    <a:lnTo>
                      <a:pt x="318" y="190"/>
                    </a:lnTo>
                    <a:lnTo>
                      <a:pt x="318" y="189"/>
                    </a:lnTo>
                    <a:lnTo>
                      <a:pt x="319" y="187"/>
                    </a:lnTo>
                    <a:lnTo>
                      <a:pt x="318" y="185"/>
                    </a:lnTo>
                    <a:lnTo>
                      <a:pt x="319" y="182"/>
                    </a:lnTo>
                    <a:lnTo>
                      <a:pt x="321" y="182"/>
                    </a:lnTo>
                    <a:lnTo>
                      <a:pt x="321" y="180"/>
                    </a:lnTo>
                    <a:lnTo>
                      <a:pt x="323" y="178"/>
                    </a:lnTo>
                    <a:lnTo>
                      <a:pt x="321" y="177"/>
                    </a:lnTo>
                    <a:lnTo>
                      <a:pt x="323" y="177"/>
                    </a:lnTo>
                    <a:lnTo>
                      <a:pt x="321" y="175"/>
                    </a:lnTo>
                    <a:lnTo>
                      <a:pt x="323" y="173"/>
                    </a:lnTo>
                    <a:lnTo>
                      <a:pt x="323" y="172"/>
                    </a:lnTo>
                    <a:lnTo>
                      <a:pt x="323" y="170"/>
                    </a:lnTo>
                    <a:lnTo>
                      <a:pt x="324" y="170"/>
                    </a:lnTo>
                    <a:lnTo>
                      <a:pt x="326" y="170"/>
                    </a:lnTo>
                    <a:lnTo>
                      <a:pt x="324" y="170"/>
                    </a:lnTo>
                    <a:lnTo>
                      <a:pt x="326" y="166"/>
                    </a:lnTo>
                    <a:lnTo>
                      <a:pt x="330" y="165"/>
                    </a:lnTo>
                    <a:lnTo>
                      <a:pt x="330" y="163"/>
                    </a:lnTo>
                    <a:lnTo>
                      <a:pt x="331" y="163"/>
                    </a:lnTo>
                    <a:lnTo>
                      <a:pt x="331" y="160"/>
                    </a:lnTo>
                    <a:lnTo>
                      <a:pt x="331" y="161"/>
                    </a:lnTo>
                    <a:lnTo>
                      <a:pt x="333" y="160"/>
                    </a:lnTo>
                    <a:lnTo>
                      <a:pt x="333" y="161"/>
                    </a:lnTo>
                    <a:lnTo>
                      <a:pt x="335" y="163"/>
                    </a:lnTo>
                    <a:lnTo>
                      <a:pt x="336" y="161"/>
                    </a:lnTo>
                    <a:lnTo>
                      <a:pt x="338" y="161"/>
                    </a:lnTo>
                    <a:lnTo>
                      <a:pt x="341" y="160"/>
                    </a:lnTo>
                    <a:lnTo>
                      <a:pt x="345" y="160"/>
                    </a:lnTo>
                    <a:lnTo>
                      <a:pt x="347" y="160"/>
                    </a:lnTo>
                    <a:lnTo>
                      <a:pt x="348" y="160"/>
                    </a:lnTo>
                    <a:lnTo>
                      <a:pt x="350" y="161"/>
                    </a:lnTo>
                    <a:lnTo>
                      <a:pt x="352" y="161"/>
                    </a:lnTo>
                    <a:lnTo>
                      <a:pt x="353" y="160"/>
                    </a:lnTo>
                    <a:lnTo>
                      <a:pt x="353" y="161"/>
                    </a:lnTo>
                    <a:lnTo>
                      <a:pt x="355" y="161"/>
                    </a:lnTo>
                    <a:lnTo>
                      <a:pt x="355" y="163"/>
                    </a:lnTo>
                    <a:lnTo>
                      <a:pt x="357" y="163"/>
                    </a:lnTo>
                    <a:lnTo>
                      <a:pt x="358" y="163"/>
                    </a:lnTo>
                    <a:lnTo>
                      <a:pt x="358" y="165"/>
                    </a:lnTo>
                    <a:lnTo>
                      <a:pt x="360" y="165"/>
                    </a:lnTo>
                    <a:lnTo>
                      <a:pt x="362" y="165"/>
                    </a:lnTo>
                    <a:lnTo>
                      <a:pt x="362" y="166"/>
                    </a:lnTo>
                    <a:lnTo>
                      <a:pt x="364" y="166"/>
                    </a:lnTo>
                    <a:lnTo>
                      <a:pt x="364" y="168"/>
                    </a:lnTo>
                    <a:lnTo>
                      <a:pt x="365" y="168"/>
                    </a:lnTo>
                    <a:lnTo>
                      <a:pt x="367" y="168"/>
                    </a:lnTo>
                    <a:lnTo>
                      <a:pt x="369" y="170"/>
                    </a:lnTo>
                    <a:lnTo>
                      <a:pt x="369" y="172"/>
                    </a:lnTo>
                    <a:lnTo>
                      <a:pt x="372" y="172"/>
                    </a:lnTo>
                    <a:lnTo>
                      <a:pt x="372" y="173"/>
                    </a:lnTo>
                    <a:lnTo>
                      <a:pt x="374" y="175"/>
                    </a:lnTo>
                    <a:lnTo>
                      <a:pt x="375" y="175"/>
                    </a:lnTo>
                    <a:lnTo>
                      <a:pt x="377" y="177"/>
                    </a:lnTo>
                    <a:lnTo>
                      <a:pt x="379" y="178"/>
                    </a:lnTo>
                    <a:lnTo>
                      <a:pt x="381" y="177"/>
                    </a:lnTo>
                    <a:lnTo>
                      <a:pt x="382" y="177"/>
                    </a:lnTo>
                    <a:lnTo>
                      <a:pt x="382" y="178"/>
                    </a:lnTo>
                    <a:lnTo>
                      <a:pt x="384" y="178"/>
                    </a:lnTo>
                    <a:lnTo>
                      <a:pt x="384" y="177"/>
                    </a:lnTo>
                    <a:lnTo>
                      <a:pt x="386" y="178"/>
                    </a:lnTo>
                    <a:lnTo>
                      <a:pt x="387" y="177"/>
                    </a:lnTo>
                    <a:lnTo>
                      <a:pt x="389" y="177"/>
                    </a:lnTo>
                    <a:lnTo>
                      <a:pt x="391" y="177"/>
                    </a:lnTo>
                    <a:lnTo>
                      <a:pt x="392" y="178"/>
                    </a:lnTo>
                    <a:lnTo>
                      <a:pt x="394" y="182"/>
                    </a:lnTo>
                    <a:lnTo>
                      <a:pt x="396" y="180"/>
                    </a:lnTo>
                    <a:lnTo>
                      <a:pt x="396" y="182"/>
                    </a:lnTo>
                    <a:lnTo>
                      <a:pt x="398" y="182"/>
                    </a:lnTo>
                    <a:lnTo>
                      <a:pt x="399" y="183"/>
                    </a:lnTo>
                    <a:lnTo>
                      <a:pt x="401" y="183"/>
                    </a:lnTo>
                    <a:lnTo>
                      <a:pt x="403" y="183"/>
                    </a:lnTo>
                    <a:lnTo>
                      <a:pt x="404" y="183"/>
                    </a:lnTo>
                    <a:lnTo>
                      <a:pt x="416" y="187"/>
                    </a:lnTo>
                    <a:lnTo>
                      <a:pt x="418" y="187"/>
                    </a:lnTo>
                    <a:lnTo>
                      <a:pt x="421" y="187"/>
                    </a:lnTo>
                    <a:lnTo>
                      <a:pt x="423" y="187"/>
                    </a:lnTo>
                    <a:lnTo>
                      <a:pt x="426" y="187"/>
                    </a:lnTo>
                    <a:lnTo>
                      <a:pt x="428" y="185"/>
                    </a:lnTo>
                    <a:lnTo>
                      <a:pt x="430" y="183"/>
                    </a:lnTo>
                    <a:lnTo>
                      <a:pt x="432" y="182"/>
                    </a:lnTo>
                    <a:lnTo>
                      <a:pt x="433" y="182"/>
                    </a:lnTo>
                    <a:lnTo>
                      <a:pt x="437" y="183"/>
                    </a:lnTo>
                    <a:lnTo>
                      <a:pt x="438" y="183"/>
                    </a:lnTo>
                    <a:lnTo>
                      <a:pt x="449" y="185"/>
                    </a:lnTo>
                    <a:lnTo>
                      <a:pt x="457" y="180"/>
                    </a:lnTo>
                    <a:lnTo>
                      <a:pt x="460" y="178"/>
                    </a:lnTo>
                    <a:lnTo>
                      <a:pt x="464" y="173"/>
                    </a:lnTo>
                    <a:lnTo>
                      <a:pt x="466" y="166"/>
                    </a:lnTo>
                    <a:lnTo>
                      <a:pt x="467" y="160"/>
                    </a:lnTo>
                    <a:lnTo>
                      <a:pt x="469" y="158"/>
                    </a:lnTo>
                    <a:lnTo>
                      <a:pt x="476" y="141"/>
                    </a:lnTo>
                    <a:lnTo>
                      <a:pt x="477" y="139"/>
                    </a:lnTo>
                    <a:lnTo>
                      <a:pt x="476" y="136"/>
                    </a:lnTo>
                    <a:lnTo>
                      <a:pt x="474" y="134"/>
                    </a:lnTo>
                    <a:lnTo>
                      <a:pt x="474" y="132"/>
                    </a:lnTo>
                    <a:lnTo>
                      <a:pt x="481" y="132"/>
                    </a:lnTo>
                    <a:lnTo>
                      <a:pt x="483" y="131"/>
                    </a:lnTo>
                    <a:lnTo>
                      <a:pt x="503" y="127"/>
                    </a:lnTo>
                    <a:lnTo>
                      <a:pt x="506" y="124"/>
                    </a:lnTo>
                    <a:lnTo>
                      <a:pt x="508" y="119"/>
                    </a:lnTo>
                    <a:lnTo>
                      <a:pt x="511" y="117"/>
                    </a:lnTo>
                    <a:lnTo>
                      <a:pt x="511" y="115"/>
                    </a:lnTo>
                    <a:lnTo>
                      <a:pt x="517" y="114"/>
                    </a:lnTo>
                    <a:lnTo>
                      <a:pt x="517" y="112"/>
                    </a:lnTo>
                    <a:lnTo>
                      <a:pt x="520" y="110"/>
                    </a:lnTo>
                    <a:lnTo>
                      <a:pt x="522" y="110"/>
                    </a:lnTo>
                    <a:lnTo>
                      <a:pt x="525" y="109"/>
                    </a:lnTo>
                    <a:lnTo>
                      <a:pt x="527" y="107"/>
                    </a:lnTo>
                    <a:lnTo>
                      <a:pt x="527" y="105"/>
                    </a:lnTo>
                    <a:lnTo>
                      <a:pt x="527" y="103"/>
                    </a:lnTo>
                    <a:lnTo>
                      <a:pt x="527" y="100"/>
                    </a:lnTo>
                    <a:lnTo>
                      <a:pt x="528" y="93"/>
                    </a:lnTo>
                    <a:lnTo>
                      <a:pt x="530" y="93"/>
                    </a:lnTo>
                    <a:lnTo>
                      <a:pt x="530" y="92"/>
                    </a:lnTo>
                    <a:lnTo>
                      <a:pt x="530" y="88"/>
                    </a:lnTo>
                    <a:lnTo>
                      <a:pt x="530" y="86"/>
                    </a:lnTo>
                    <a:lnTo>
                      <a:pt x="530" y="85"/>
                    </a:lnTo>
                    <a:lnTo>
                      <a:pt x="532" y="80"/>
                    </a:lnTo>
                    <a:lnTo>
                      <a:pt x="534" y="80"/>
                    </a:lnTo>
                    <a:lnTo>
                      <a:pt x="534" y="78"/>
                    </a:lnTo>
                    <a:lnTo>
                      <a:pt x="534" y="76"/>
                    </a:lnTo>
                    <a:lnTo>
                      <a:pt x="535" y="78"/>
                    </a:lnTo>
                    <a:lnTo>
                      <a:pt x="537" y="78"/>
                    </a:lnTo>
                    <a:lnTo>
                      <a:pt x="537" y="76"/>
                    </a:lnTo>
                    <a:lnTo>
                      <a:pt x="535" y="75"/>
                    </a:lnTo>
                    <a:lnTo>
                      <a:pt x="539" y="75"/>
                    </a:lnTo>
                    <a:lnTo>
                      <a:pt x="539" y="73"/>
                    </a:lnTo>
                    <a:lnTo>
                      <a:pt x="540" y="73"/>
                    </a:lnTo>
                    <a:lnTo>
                      <a:pt x="540" y="71"/>
                    </a:lnTo>
                    <a:lnTo>
                      <a:pt x="542" y="71"/>
                    </a:lnTo>
                    <a:lnTo>
                      <a:pt x="544" y="71"/>
                    </a:lnTo>
                    <a:lnTo>
                      <a:pt x="542" y="69"/>
                    </a:lnTo>
                    <a:lnTo>
                      <a:pt x="544" y="69"/>
                    </a:lnTo>
                    <a:lnTo>
                      <a:pt x="545" y="69"/>
                    </a:lnTo>
                    <a:lnTo>
                      <a:pt x="545" y="68"/>
                    </a:lnTo>
                    <a:lnTo>
                      <a:pt x="549" y="68"/>
                    </a:lnTo>
                    <a:lnTo>
                      <a:pt x="551" y="64"/>
                    </a:lnTo>
                    <a:lnTo>
                      <a:pt x="551" y="66"/>
                    </a:lnTo>
                    <a:lnTo>
                      <a:pt x="552" y="66"/>
                    </a:lnTo>
                    <a:lnTo>
                      <a:pt x="552" y="64"/>
                    </a:lnTo>
                    <a:lnTo>
                      <a:pt x="554" y="64"/>
                    </a:lnTo>
                    <a:lnTo>
                      <a:pt x="554" y="66"/>
                    </a:lnTo>
                    <a:lnTo>
                      <a:pt x="556" y="64"/>
                    </a:lnTo>
                    <a:lnTo>
                      <a:pt x="559" y="64"/>
                    </a:lnTo>
                    <a:lnTo>
                      <a:pt x="562" y="61"/>
                    </a:lnTo>
                    <a:lnTo>
                      <a:pt x="562" y="58"/>
                    </a:lnTo>
                    <a:lnTo>
                      <a:pt x="564" y="56"/>
                    </a:lnTo>
                    <a:lnTo>
                      <a:pt x="566" y="56"/>
                    </a:lnTo>
                    <a:lnTo>
                      <a:pt x="568" y="54"/>
                    </a:lnTo>
                    <a:lnTo>
                      <a:pt x="569" y="56"/>
                    </a:lnTo>
                    <a:lnTo>
                      <a:pt x="571" y="56"/>
                    </a:lnTo>
                    <a:lnTo>
                      <a:pt x="573" y="52"/>
                    </a:lnTo>
                    <a:lnTo>
                      <a:pt x="573" y="51"/>
                    </a:lnTo>
                    <a:lnTo>
                      <a:pt x="574" y="51"/>
                    </a:lnTo>
                    <a:lnTo>
                      <a:pt x="574" y="49"/>
                    </a:lnTo>
                    <a:lnTo>
                      <a:pt x="578" y="49"/>
                    </a:lnTo>
                    <a:lnTo>
                      <a:pt x="581" y="47"/>
                    </a:lnTo>
                    <a:lnTo>
                      <a:pt x="581" y="42"/>
                    </a:lnTo>
                    <a:lnTo>
                      <a:pt x="586" y="39"/>
                    </a:lnTo>
                    <a:lnTo>
                      <a:pt x="586" y="35"/>
                    </a:lnTo>
                    <a:lnTo>
                      <a:pt x="588" y="35"/>
                    </a:lnTo>
                    <a:lnTo>
                      <a:pt x="591" y="32"/>
                    </a:lnTo>
                    <a:lnTo>
                      <a:pt x="593" y="29"/>
                    </a:lnTo>
                    <a:lnTo>
                      <a:pt x="595" y="27"/>
                    </a:lnTo>
                    <a:lnTo>
                      <a:pt x="596" y="27"/>
                    </a:lnTo>
                    <a:lnTo>
                      <a:pt x="598" y="25"/>
                    </a:lnTo>
                    <a:lnTo>
                      <a:pt x="600" y="24"/>
                    </a:lnTo>
                    <a:lnTo>
                      <a:pt x="602" y="22"/>
                    </a:lnTo>
                    <a:lnTo>
                      <a:pt x="608" y="22"/>
                    </a:lnTo>
                    <a:lnTo>
                      <a:pt x="610" y="24"/>
                    </a:lnTo>
                    <a:lnTo>
                      <a:pt x="612" y="22"/>
                    </a:lnTo>
                    <a:lnTo>
                      <a:pt x="617" y="22"/>
                    </a:lnTo>
                    <a:lnTo>
                      <a:pt x="622" y="18"/>
                    </a:lnTo>
                    <a:lnTo>
                      <a:pt x="625" y="18"/>
                    </a:lnTo>
                    <a:lnTo>
                      <a:pt x="625" y="17"/>
                    </a:lnTo>
                    <a:lnTo>
                      <a:pt x="627" y="17"/>
                    </a:lnTo>
                    <a:lnTo>
                      <a:pt x="630" y="17"/>
                    </a:lnTo>
                    <a:lnTo>
                      <a:pt x="632" y="13"/>
                    </a:lnTo>
                    <a:lnTo>
                      <a:pt x="632" y="8"/>
                    </a:lnTo>
                    <a:lnTo>
                      <a:pt x="636" y="5"/>
                    </a:lnTo>
                    <a:lnTo>
                      <a:pt x="642" y="5"/>
                    </a:lnTo>
                    <a:lnTo>
                      <a:pt x="646" y="3"/>
                    </a:lnTo>
                    <a:lnTo>
                      <a:pt x="647" y="3"/>
                    </a:lnTo>
                    <a:lnTo>
                      <a:pt x="651" y="3"/>
                    </a:lnTo>
                    <a:lnTo>
                      <a:pt x="653" y="3"/>
                    </a:lnTo>
                    <a:lnTo>
                      <a:pt x="658" y="1"/>
                    </a:lnTo>
                    <a:lnTo>
                      <a:pt x="661" y="3"/>
                    </a:lnTo>
                    <a:lnTo>
                      <a:pt x="661" y="1"/>
                    </a:lnTo>
                    <a:lnTo>
                      <a:pt x="664" y="0"/>
                    </a:lnTo>
                    <a:lnTo>
                      <a:pt x="664" y="1"/>
                    </a:lnTo>
                    <a:lnTo>
                      <a:pt x="668" y="0"/>
                    </a:lnTo>
                    <a:lnTo>
                      <a:pt x="673" y="0"/>
                    </a:lnTo>
                    <a:lnTo>
                      <a:pt x="680" y="3"/>
                    </a:lnTo>
                    <a:lnTo>
                      <a:pt x="681" y="3"/>
                    </a:lnTo>
                    <a:lnTo>
                      <a:pt x="683" y="5"/>
                    </a:lnTo>
                    <a:lnTo>
                      <a:pt x="687" y="5"/>
                    </a:lnTo>
                    <a:lnTo>
                      <a:pt x="687" y="7"/>
                    </a:lnTo>
                    <a:lnTo>
                      <a:pt x="688" y="7"/>
                    </a:lnTo>
                    <a:lnTo>
                      <a:pt x="692" y="10"/>
                    </a:lnTo>
                    <a:lnTo>
                      <a:pt x="697" y="8"/>
                    </a:lnTo>
                    <a:lnTo>
                      <a:pt x="700" y="12"/>
                    </a:lnTo>
                    <a:lnTo>
                      <a:pt x="704" y="12"/>
                    </a:lnTo>
                    <a:lnTo>
                      <a:pt x="710" y="10"/>
                    </a:lnTo>
                    <a:lnTo>
                      <a:pt x="714" y="10"/>
                    </a:lnTo>
                    <a:lnTo>
                      <a:pt x="715" y="10"/>
                    </a:lnTo>
                    <a:lnTo>
                      <a:pt x="717" y="10"/>
                    </a:lnTo>
                    <a:lnTo>
                      <a:pt x="719" y="10"/>
                    </a:lnTo>
                    <a:lnTo>
                      <a:pt x="721" y="10"/>
                    </a:lnTo>
                    <a:lnTo>
                      <a:pt x="727" y="8"/>
                    </a:lnTo>
                    <a:lnTo>
                      <a:pt x="732" y="8"/>
                    </a:lnTo>
                    <a:lnTo>
                      <a:pt x="734" y="10"/>
                    </a:lnTo>
                    <a:lnTo>
                      <a:pt x="736" y="10"/>
                    </a:lnTo>
                    <a:lnTo>
                      <a:pt x="741" y="12"/>
                    </a:lnTo>
                    <a:lnTo>
                      <a:pt x="744" y="10"/>
                    </a:lnTo>
                    <a:lnTo>
                      <a:pt x="746" y="12"/>
                    </a:lnTo>
                    <a:lnTo>
                      <a:pt x="749" y="12"/>
                    </a:lnTo>
                    <a:lnTo>
                      <a:pt x="751" y="15"/>
                    </a:lnTo>
                    <a:close/>
                    <a:moveTo>
                      <a:pt x="617" y="326"/>
                    </a:moveTo>
                    <a:lnTo>
                      <a:pt x="613" y="328"/>
                    </a:lnTo>
                    <a:lnTo>
                      <a:pt x="610" y="328"/>
                    </a:lnTo>
                    <a:lnTo>
                      <a:pt x="608" y="328"/>
                    </a:lnTo>
                    <a:lnTo>
                      <a:pt x="603" y="330"/>
                    </a:lnTo>
                    <a:lnTo>
                      <a:pt x="605" y="330"/>
                    </a:lnTo>
                    <a:lnTo>
                      <a:pt x="602" y="331"/>
                    </a:lnTo>
                    <a:lnTo>
                      <a:pt x="603" y="331"/>
                    </a:lnTo>
                    <a:lnTo>
                      <a:pt x="602" y="333"/>
                    </a:lnTo>
                    <a:lnTo>
                      <a:pt x="600" y="333"/>
                    </a:lnTo>
                    <a:lnTo>
                      <a:pt x="598" y="333"/>
                    </a:lnTo>
                    <a:lnTo>
                      <a:pt x="595" y="333"/>
                    </a:lnTo>
                    <a:lnTo>
                      <a:pt x="593" y="333"/>
                    </a:lnTo>
                    <a:lnTo>
                      <a:pt x="591" y="335"/>
                    </a:lnTo>
                    <a:lnTo>
                      <a:pt x="590" y="335"/>
                    </a:lnTo>
                    <a:lnTo>
                      <a:pt x="588" y="338"/>
                    </a:lnTo>
                    <a:lnTo>
                      <a:pt x="586" y="338"/>
                    </a:lnTo>
                    <a:lnTo>
                      <a:pt x="586" y="340"/>
                    </a:lnTo>
                    <a:lnTo>
                      <a:pt x="585" y="342"/>
                    </a:lnTo>
                    <a:lnTo>
                      <a:pt x="583" y="342"/>
                    </a:lnTo>
                    <a:lnTo>
                      <a:pt x="581" y="340"/>
                    </a:lnTo>
                    <a:lnTo>
                      <a:pt x="579" y="342"/>
                    </a:lnTo>
                    <a:lnTo>
                      <a:pt x="578" y="342"/>
                    </a:lnTo>
                    <a:lnTo>
                      <a:pt x="578" y="343"/>
                    </a:lnTo>
                    <a:lnTo>
                      <a:pt x="576" y="343"/>
                    </a:lnTo>
                    <a:lnTo>
                      <a:pt x="574" y="343"/>
                    </a:lnTo>
                    <a:lnTo>
                      <a:pt x="571" y="343"/>
                    </a:lnTo>
                    <a:lnTo>
                      <a:pt x="571" y="345"/>
                    </a:lnTo>
                    <a:lnTo>
                      <a:pt x="569" y="345"/>
                    </a:lnTo>
                    <a:lnTo>
                      <a:pt x="569" y="347"/>
                    </a:lnTo>
                    <a:lnTo>
                      <a:pt x="569" y="348"/>
                    </a:lnTo>
                    <a:lnTo>
                      <a:pt x="568" y="348"/>
                    </a:lnTo>
                    <a:lnTo>
                      <a:pt x="568" y="350"/>
                    </a:lnTo>
                    <a:lnTo>
                      <a:pt x="566" y="350"/>
                    </a:lnTo>
                    <a:lnTo>
                      <a:pt x="568" y="352"/>
                    </a:lnTo>
                    <a:lnTo>
                      <a:pt x="566" y="352"/>
                    </a:lnTo>
                    <a:lnTo>
                      <a:pt x="566" y="354"/>
                    </a:lnTo>
                    <a:lnTo>
                      <a:pt x="564" y="355"/>
                    </a:lnTo>
                    <a:lnTo>
                      <a:pt x="564" y="357"/>
                    </a:lnTo>
                    <a:lnTo>
                      <a:pt x="562" y="357"/>
                    </a:lnTo>
                    <a:lnTo>
                      <a:pt x="559" y="359"/>
                    </a:lnTo>
                    <a:lnTo>
                      <a:pt x="559" y="360"/>
                    </a:lnTo>
                    <a:lnTo>
                      <a:pt x="561" y="360"/>
                    </a:lnTo>
                    <a:lnTo>
                      <a:pt x="561" y="362"/>
                    </a:lnTo>
                    <a:lnTo>
                      <a:pt x="557" y="362"/>
                    </a:lnTo>
                    <a:lnTo>
                      <a:pt x="557" y="364"/>
                    </a:lnTo>
                    <a:lnTo>
                      <a:pt x="556" y="364"/>
                    </a:lnTo>
                    <a:lnTo>
                      <a:pt x="557" y="364"/>
                    </a:lnTo>
                    <a:lnTo>
                      <a:pt x="556" y="365"/>
                    </a:lnTo>
                    <a:lnTo>
                      <a:pt x="556" y="367"/>
                    </a:lnTo>
                    <a:lnTo>
                      <a:pt x="554" y="367"/>
                    </a:lnTo>
                    <a:lnTo>
                      <a:pt x="554" y="369"/>
                    </a:lnTo>
                    <a:lnTo>
                      <a:pt x="551" y="371"/>
                    </a:lnTo>
                    <a:lnTo>
                      <a:pt x="551" y="372"/>
                    </a:lnTo>
                    <a:lnTo>
                      <a:pt x="549" y="374"/>
                    </a:lnTo>
                    <a:lnTo>
                      <a:pt x="549" y="376"/>
                    </a:lnTo>
                    <a:lnTo>
                      <a:pt x="547" y="374"/>
                    </a:lnTo>
                    <a:lnTo>
                      <a:pt x="545" y="376"/>
                    </a:lnTo>
                    <a:lnTo>
                      <a:pt x="544" y="376"/>
                    </a:lnTo>
                    <a:lnTo>
                      <a:pt x="544" y="377"/>
                    </a:lnTo>
                    <a:lnTo>
                      <a:pt x="540" y="377"/>
                    </a:lnTo>
                    <a:lnTo>
                      <a:pt x="537" y="379"/>
                    </a:lnTo>
                    <a:lnTo>
                      <a:pt x="535" y="381"/>
                    </a:lnTo>
                    <a:lnTo>
                      <a:pt x="535" y="379"/>
                    </a:lnTo>
                    <a:lnTo>
                      <a:pt x="534" y="379"/>
                    </a:lnTo>
                    <a:lnTo>
                      <a:pt x="535" y="381"/>
                    </a:lnTo>
                    <a:lnTo>
                      <a:pt x="534" y="381"/>
                    </a:lnTo>
                    <a:lnTo>
                      <a:pt x="539" y="386"/>
                    </a:lnTo>
                    <a:lnTo>
                      <a:pt x="544" y="399"/>
                    </a:lnTo>
                    <a:lnTo>
                      <a:pt x="547" y="399"/>
                    </a:lnTo>
                    <a:lnTo>
                      <a:pt x="547" y="401"/>
                    </a:lnTo>
                    <a:lnTo>
                      <a:pt x="549" y="401"/>
                    </a:lnTo>
                    <a:lnTo>
                      <a:pt x="549" y="406"/>
                    </a:lnTo>
                    <a:lnTo>
                      <a:pt x="554" y="406"/>
                    </a:lnTo>
                    <a:lnTo>
                      <a:pt x="552" y="408"/>
                    </a:lnTo>
                    <a:lnTo>
                      <a:pt x="552" y="413"/>
                    </a:lnTo>
                    <a:lnTo>
                      <a:pt x="552" y="415"/>
                    </a:lnTo>
                    <a:lnTo>
                      <a:pt x="552" y="416"/>
                    </a:lnTo>
                    <a:lnTo>
                      <a:pt x="557" y="415"/>
                    </a:lnTo>
                    <a:lnTo>
                      <a:pt x="557" y="418"/>
                    </a:lnTo>
                    <a:lnTo>
                      <a:pt x="561" y="420"/>
                    </a:lnTo>
                    <a:lnTo>
                      <a:pt x="562" y="422"/>
                    </a:lnTo>
                    <a:lnTo>
                      <a:pt x="564" y="422"/>
                    </a:lnTo>
                    <a:lnTo>
                      <a:pt x="564" y="423"/>
                    </a:lnTo>
                    <a:lnTo>
                      <a:pt x="568" y="427"/>
                    </a:lnTo>
                    <a:lnTo>
                      <a:pt x="571" y="430"/>
                    </a:lnTo>
                    <a:lnTo>
                      <a:pt x="573" y="430"/>
                    </a:lnTo>
                    <a:lnTo>
                      <a:pt x="579" y="428"/>
                    </a:lnTo>
                    <a:lnTo>
                      <a:pt x="581" y="432"/>
                    </a:lnTo>
                    <a:lnTo>
                      <a:pt x="585" y="432"/>
                    </a:lnTo>
                    <a:lnTo>
                      <a:pt x="588" y="432"/>
                    </a:lnTo>
                    <a:lnTo>
                      <a:pt x="590" y="433"/>
                    </a:lnTo>
                    <a:lnTo>
                      <a:pt x="590" y="428"/>
                    </a:lnTo>
                    <a:lnTo>
                      <a:pt x="591" y="428"/>
                    </a:lnTo>
                    <a:lnTo>
                      <a:pt x="591" y="427"/>
                    </a:lnTo>
                    <a:lnTo>
                      <a:pt x="593" y="425"/>
                    </a:lnTo>
                    <a:lnTo>
                      <a:pt x="593" y="423"/>
                    </a:lnTo>
                    <a:lnTo>
                      <a:pt x="591" y="422"/>
                    </a:lnTo>
                    <a:lnTo>
                      <a:pt x="593" y="422"/>
                    </a:lnTo>
                    <a:lnTo>
                      <a:pt x="595" y="420"/>
                    </a:lnTo>
                    <a:lnTo>
                      <a:pt x="596" y="420"/>
                    </a:lnTo>
                    <a:lnTo>
                      <a:pt x="598" y="418"/>
                    </a:lnTo>
                    <a:lnTo>
                      <a:pt x="596" y="415"/>
                    </a:lnTo>
                    <a:lnTo>
                      <a:pt x="595" y="413"/>
                    </a:lnTo>
                    <a:lnTo>
                      <a:pt x="596" y="411"/>
                    </a:lnTo>
                    <a:lnTo>
                      <a:pt x="600" y="411"/>
                    </a:lnTo>
                    <a:lnTo>
                      <a:pt x="600" y="410"/>
                    </a:lnTo>
                    <a:lnTo>
                      <a:pt x="602" y="410"/>
                    </a:lnTo>
                    <a:lnTo>
                      <a:pt x="602" y="408"/>
                    </a:lnTo>
                    <a:lnTo>
                      <a:pt x="603" y="406"/>
                    </a:lnTo>
                    <a:lnTo>
                      <a:pt x="608" y="406"/>
                    </a:lnTo>
                    <a:lnTo>
                      <a:pt x="612" y="405"/>
                    </a:lnTo>
                    <a:lnTo>
                      <a:pt x="617" y="406"/>
                    </a:lnTo>
                    <a:lnTo>
                      <a:pt x="622" y="405"/>
                    </a:lnTo>
                    <a:lnTo>
                      <a:pt x="624" y="405"/>
                    </a:lnTo>
                    <a:lnTo>
                      <a:pt x="627" y="403"/>
                    </a:lnTo>
                    <a:lnTo>
                      <a:pt x="632" y="401"/>
                    </a:lnTo>
                    <a:lnTo>
                      <a:pt x="634" y="399"/>
                    </a:lnTo>
                    <a:lnTo>
                      <a:pt x="639" y="396"/>
                    </a:lnTo>
                    <a:lnTo>
                      <a:pt x="639" y="398"/>
                    </a:lnTo>
                    <a:lnTo>
                      <a:pt x="641" y="396"/>
                    </a:lnTo>
                    <a:lnTo>
                      <a:pt x="642" y="394"/>
                    </a:lnTo>
                    <a:lnTo>
                      <a:pt x="642" y="393"/>
                    </a:lnTo>
                    <a:lnTo>
                      <a:pt x="639" y="391"/>
                    </a:lnTo>
                    <a:lnTo>
                      <a:pt x="641" y="389"/>
                    </a:lnTo>
                    <a:lnTo>
                      <a:pt x="641" y="388"/>
                    </a:lnTo>
                    <a:lnTo>
                      <a:pt x="642" y="386"/>
                    </a:lnTo>
                    <a:lnTo>
                      <a:pt x="642" y="382"/>
                    </a:lnTo>
                    <a:lnTo>
                      <a:pt x="646" y="381"/>
                    </a:lnTo>
                    <a:lnTo>
                      <a:pt x="649" y="381"/>
                    </a:lnTo>
                    <a:lnTo>
                      <a:pt x="649" y="377"/>
                    </a:lnTo>
                    <a:lnTo>
                      <a:pt x="651" y="377"/>
                    </a:lnTo>
                    <a:lnTo>
                      <a:pt x="649" y="376"/>
                    </a:lnTo>
                    <a:lnTo>
                      <a:pt x="651" y="376"/>
                    </a:lnTo>
                    <a:lnTo>
                      <a:pt x="649" y="374"/>
                    </a:lnTo>
                    <a:lnTo>
                      <a:pt x="649" y="372"/>
                    </a:lnTo>
                    <a:lnTo>
                      <a:pt x="654" y="371"/>
                    </a:lnTo>
                    <a:lnTo>
                      <a:pt x="656" y="369"/>
                    </a:lnTo>
                    <a:lnTo>
                      <a:pt x="658" y="367"/>
                    </a:lnTo>
                    <a:lnTo>
                      <a:pt x="656" y="365"/>
                    </a:lnTo>
                    <a:lnTo>
                      <a:pt x="658" y="365"/>
                    </a:lnTo>
                    <a:lnTo>
                      <a:pt x="656" y="364"/>
                    </a:lnTo>
                    <a:lnTo>
                      <a:pt x="656" y="362"/>
                    </a:lnTo>
                    <a:lnTo>
                      <a:pt x="656" y="360"/>
                    </a:lnTo>
                    <a:lnTo>
                      <a:pt x="654" y="359"/>
                    </a:lnTo>
                    <a:lnTo>
                      <a:pt x="653" y="359"/>
                    </a:lnTo>
                    <a:lnTo>
                      <a:pt x="653" y="357"/>
                    </a:lnTo>
                    <a:lnTo>
                      <a:pt x="653" y="355"/>
                    </a:lnTo>
                    <a:lnTo>
                      <a:pt x="651" y="352"/>
                    </a:lnTo>
                    <a:lnTo>
                      <a:pt x="649" y="352"/>
                    </a:lnTo>
                    <a:lnTo>
                      <a:pt x="647" y="352"/>
                    </a:lnTo>
                    <a:lnTo>
                      <a:pt x="646" y="350"/>
                    </a:lnTo>
                    <a:lnTo>
                      <a:pt x="641" y="347"/>
                    </a:lnTo>
                    <a:lnTo>
                      <a:pt x="639" y="345"/>
                    </a:lnTo>
                    <a:lnTo>
                      <a:pt x="639" y="343"/>
                    </a:lnTo>
                    <a:lnTo>
                      <a:pt x="637" y="343"/>
                    </a:lnTo>
                    <a:lnTo>
                      <a:pt x="636" y="342"/>
                    </a:lnTo>
                    <a:lnTo>
                      <a:pt x="634" y="343"/>
                    </a:lnTo>
                    <a:lnTo>
                      <a:pt x="632" y="342"/>
                    </a:lnTo>
                    <a:lnTo>
                      <a:pt x="630" y="342"/>
                    </a:lnTo>
                    <a:lnTo>
                      <a:pt x="632" y="340"/>
                    </a:lnTo>
                    <a:lnTo>
                      <a:pt x="630" y="338"/>
                    </a:lnTo>
                    <a:lnTo>
                      <a:pt x="632" y="338"/>
                    </a:lnTo>
                    <a:lnTo>
                      <a:pt x="630" y="338"/>
                    </a:lnTo>
                    <a:lnTo>
                      <a:pt x="632" y="337"/>
                    </a:lnTo>
                    <a:lnTo>
                      <a:pt x="630" y="337"/>
                    </a:lnTo>
                    <a:lnTo>
                      <a:pt x="629" y="337"/>
                    </a:lnTo>
                    <a:lnTo>
                      <a:pt x="627" y="337"/>
                    </a:lnTo>
                    <a:lnTo>
                      <a:pt x="625" y="337"/>
                    </a:lnTo>
                    <a:lnTo>
                      <a:pt x="625" y="333"/>
                    </a:lnTo>
                    <a:lnTo>
                      <a:pt x="620" y="331"/>
                    </a:lnTo>
                    <a:lnTo>
                      <a:pt x="619" y="328"/>
                    </a:lnTo>
                    <a:lnTo>
                      <a:pt x="617" y="326"/>
                    </a:lnTo>
                    <a:close/>
                    <a:moveTo>
                      <a:pt x="95" y="590"/>
                    </a:moveTo>
                    <a:lnTo>
                      <a:pt x="97" y="590"/>
                    </a:lnTo>
                    <a:lnTo>
                      <a:pt x="97" y="592"/>
                    </a:lnTo>
                    <a:lnTo>
                      <a:pt x="95" y="592"/>
                    </a:lnTo>
                    <a:lnTo>
                      <a:pt x="95" y="590"/>
                    </a:lnTo>
                    <a:close/>
                    <a:moveTo>
                      <a:pt x="81" y="571"/>
                    </a:moveTo>
                    <a:lnTo>
                      <a:pt x="83" y="571"/>
                    </a:lnTo>
                    <a:lnTo>
                      <a:pt x="83" y="573"/>
                    </a:lnTo>
                    <a:lnTo>
                      <a:pt x="81" y="573"/>
                    </a:lnTo>
                    <a:lnTo>
                      <a:pt x="81" y="571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3" name="Freeform 54">
                <a:extLst>
                  <a:ext uri="{FF2B5EF4-FFF2-40B4-BE49-F238E27FC236}">
                    <a16:creationId xmlns:a16="http://schemas.microsoft.com/office/drawing/2014/main" id="{46962838-A7C8-42F8-87D1-D59250CF3F8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518089" y="2471636"/>
                <a:ext cx="895325" cy="701647"/>
              </a:xfrm>
              <a:custGeom>
                <a:avLst/>
                <a:gdLst>
                  <a:gd name="T0" fmla="*/ 493 w 564"/>
                  <a:gd name="T1" fmla="*/ 188 h 442"/>
                  <a:gd name="T2" fmla="*/ 476 w 564"/>
                  <a:gd name="T3" fmla="*/ 188 h 442"/>
                  <a:gd name="T4" fmla="*/ 461 w 564"/>
                  <a:gd name="T5" fmla="*/ 190 h 442"/>
                  <a:gd name="T6" fmla="*/ 459 w 564"/>
                  <a:gd name="T7" fmla="*/ 202 h 442"/>
                  <a:gd name="T8" fmla="*/ 452 w 564"/>
                  <a:gd name="T9" fmla="*/ 212 h 442"/>
                  <a:gd name="T10" fmla="*/ 454 w 564"/>
                  <a:gd name="T11" fmla="*/ 224 h 442"/>
                  <a:gd name="T12" fmla="*/ 468 w 564"/>
                  <a:gd name="T13" fmla="*/ 226 h 442"/>
                  <a:gd name="T14" fmla="*/ 478 w 564"/>
                  <a:gd name="T15" fmla="*/ 227 h 442"/>
                  <a:gd name="T16" fmla="*/ 496 w 564"/>
                  <a:gd name="T17" fmla="*/ 238 h 442"/>
                  <a:gd name="T18" fmla="*/ 503 w 564"/>
                  <a:gd name="T19" fmla="*/ 255 h 442"/>
                  <a:gd name="T20" fmla="*/ 519 w 564"/>
                  <a:gd name="T21" fmla="*/ 268 h 442"/>
                  <a:gd name="T22" fmla="*/ 530 w 564"/>
                  <a:gd name="T23" fmla="*/ 277 h 442"/>
                  <a:gd name="T24" fmla="*/ 546 w 564"/>
                  <a:gd name="T25" fmla="*/ 285 h 442"/>
                  <a:gd name="T26" fmla="*/ 547 w 564"/>
                  <a:gd name="T27" fmla="*/ 301 h 442"/>
                  <a:gd name="T28" fmla="*/ 563 w 564"/>
                  <a:gd name="T29" fmla="*/ 341 h 442"/>
                  <a:gd name="T30" fmla="*/ 474 w 564"/>
                  <a:gd name="T31" fmla="*/ 428 h 442"/>
                  <a:gd name="T32" fmla="*/ 401 w 564"/>
                  <a:gd name="T33" fmla="*/ 440 h 442"/>
                  <a:gd name="T34" fmla="*/ 372 w 564"/>
                  <a:gd name="T35" fmla="*/ 435 h 442"/>
                  <a:gd name="T36" fmla="*/ 340 w 564"/>
                  <a:gd name="T37" fmla="*/ 438 h 442"/>
                  <a:gd name="T38" fmla="*/ 330 w 564"/>
                  <a:gd name="T39" fmla="*/ 433 h 442"/>
                  <a:gd name="T40" fmla="*/ 309 w 564"/>
                  <a:gd name="T41" fmla="*/ 418 h 442"/>
                  <a:gd name="T42" fmla="*/ 294 w 564"/>
                  <a:gd name="T43" fmla="*/ 399 h 442"/>
                  <a:gd name="T44" fmla="*/ 275 w 564"/>
                  <a:gd name="T45" fmla="*/ 384 h 442"/>
                  <a:gd name="T46" fmla="*/ 253 w 564"/>
                  <a:gd name="T47" fmla="*/ 398 h 442"/>
                  <a:gd name="T48" fmla="*/ 228 w 564"/>
                  <a:gd name="T49" fmla="*/ 396 h 442"/>
                  <a:gd name="T50" fmla="*/ 204 w 564"/>
                  <a:gd name="T51" fmla="*/ 398 h 442"/>
                  <a:gd name="T52" fmla="*/ 182 w 564"/>
                  <a:gd name="T53" fmla="*/ 384 h 442"/>
                  <a:gd name="T54" fmla="*/ 167 w 564"/>
                  <a:gd name="T55" fmla="*/ 365 h 442"/>
                  <a:gd name="T56" fmla="*/ 156 w 564"/>
                  <a:gd name="T57" fmla="*/ 343 h 442"/>
                  <a:gd name="T58" fmla="*/ 150 w 564"/>
                  <a:gd name="T59" fmla="*/ 324 h 442"/>
                  <a:gd name="T60" fmla="*/ 122 w 564"/>
                  <a:gd name="T61" fmla="*/ 314 h 442"/>
                  <a:gd name="T62" fmla="*/ 117 w 564"/>
                  <a:gd name="T63" fmla="*/ 301 h 442"/>
                  <a:gd name="T64" fmla="*/ 114 w 564"/>
                  <a:gd name="T65" fmla="*/ 282 h 442"/>
                  <a:gd name="T66" fmla="*/ 95 w 564"/>
                  <a:gd name="T67" fmla="*/ 268 h 442"/>
                  <a:gd name="T68" fmla="*/ 83 w 564"/>
                  <a:gd name="T69" fmla="*/ 256 h 442"/>
                  <a:gd name="T70" fmla="*/ 70 w 564"/>
                  <a:gd name="T71" fmla="*/ 250 h 442"/>
                  <a:gd name="T72" fmla="*/ 51 w 564"/>
                  <a:gd name="T73" fmla="*/ 234 h 442"/>
                  <a:gd name="T74" fmla="*/ 51 w 564"/>
                  <a:gd name="T75" fmla="*/ 219 h 442"/>
                  <a:gd name="T76" fmla="*/ 26 w 564"/>
                  <a:gd name="T77" fmla="*/ 202 h 442"/>
                  <a:gd name="T78" fmla="*/ 2 w 564"/>
                  <a:gd name="T79" fmla="*/ 188 h 442"/>
                  <a:gd name="T80" fmla="*/ 22 w 564"/>
                  <a:gd name="T81" fmla="*/ 153 h 442"/>
                  <a:gd name="T82" fmla="*/ 37 w 564"/>
                  <a:gd name="T83" fmla="*/ 120 h 442"/>
                  <a:gd name="T84" fmla="*/ 44 w 564"/>
                  <a:gd name="T85" fmla="*/ 113 h 442"/>
                  <a:gd name="T86" fmla="*/ 46 w 564"/>
                  <a:gd name="T87" fmla="*/ 103 h 442"/>
                  <a:gd name="T88" fmla="*/ 53 w 564"/>
                  <a:gd name="T89" fmla="*/ 96 h 442"/>
                  <a:gd name="T90" fmla="*/ 63 w 564"/>
                  <a:gd name="T91" fmla="*/ 91 h 442"/>
                  <a:gd name="T92" fmla="*/ 70 w 564"/>
                  <a:gd name="T93" fmla="*/ 93 h 442"/>
                  <a:gd name="T94" fmla="*/ 82 w 564"/>
                  <a:gd name="T95" fmla="*/ 90 h 442"/>
                  <a:gd name="T96" fmla="*/ 90 w 564"/>
                  <a:gd name="T97" fmla="*/ 103 h 442"/>
                  <a:gd name="T98" fmla="*/ 145 w 564"/>
                  <a:gd name="T99" fmla="*/ 132 h 442"/>
                  <a:gd name="T100" fmla="*/ 230 w 564"/>
                  <a:gd name="T101" fmla="*/ 144 h 442"/>
                  <a:gd name="T102" fmla="*/ 274 w 564"/>
                  <a:gd name="T103" fmla="*/ 108 h 442"/>
                  <a:gd name="T104" fmla="*/ 362 w 564"/>
                  <a:gd name="T105" fmla="*/ 124 h 442"/>
                  <a:gd name="T106" fmla="*/ 417 w 564"/>
                  <a:gd name="T107" fmla="*/ 27 h 442"/>
                  <a:gd name="T108" fmla="*/ 437 w 564"/>
                  <a:gd name="T109" fmla="*/ 0 h 442"/>
                  <a:gd name="T110" fmla="*/ 462 w 564"/>
                  <a:gd name="T111" fmla="*/ 71 h 442"/>
                  <a:gd name="T112" fmla="*/ 498 w 564"/>
                  <a:gd name="T113" fmla="*/ 110 h 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64" h="442">
                    <a:moveTo>
                      <a:pt x="505" y="137"/>
                    </a:moveTo>
                    <a:lnTo>
                      <a:pt x="507" y="161"/>
                    </a:lnTo>
                    <a:lnTo>
                      <a:pt x="505" y="183"/>
                    </a:lnTo>
                    <a:lnTo>
                      <a:pt x="503" y="185"/>
                    </a:lnTo>
                    <a:lnTo>
                      <a:pt x="502" y="187"/>
                    </a:lnTo>
                    <a:lnTo>
                      <a:pt x="500" y="188"/>
                    </a:lnTo>
                    <a:lnTo>
                      <a:pt x="498" y="188"/>
                    </a:lnTo>
                    <a:lnTo>
                      <a:pt x="496" y="188"/>
                    </a:lnTo>
                    <a:lnTo>
                      <a:pt x="493" y="188"/>
                    </a:lnTo>
                    <a:lnTo>
                      <a:pt x="493" y="192"/>
                    </a:lnTo>
                    <a:lnTo>
                      <a:pt x="490" y="192"/>
                    </a:lnTo>
                    <a:lnTo>
                      <a:pt x="486" y="195"/>
                    </a:lnTo>
                    <a:lnTo>
                      <a:pt x="483" y="193"/>
                    </a:lnTo>
                    <a:lnTo>
                      <a:pt x="483" y="190"/>
                    </a:lnTo>
                    <a:lnTo>
                      <a:pt x="479" y="190"/>
                    </a:lnTo>
                    <a:lnTo>
                      <a:pt x="478" y="190"/>
                    </a:lnTo>
                    <a:lnTo>
                      <a:pt x="476" y="190"/>
                    </a:lnTo>
                    <a:lnTo>
                      <a:pt x="476" y="188"/>
                    </a:lnTo>
                    <a:lnTo>
                      <a:pt x="474" y="190"/>
                    </a:lnTo>
                    <a:lnTo>
                      <a:pt x="473" y="188"/>
                    </a:lnTo>
                    <a:lnTo>
                      <a:pt x="473" y="190"/>
                    </a:lnTo>
                    <a:lnTo>
                      <a:pt x="471" y="190"/>
                    </a:lnTo>
                    <a:lnTo>
                      <a:pt x="469" y="190"/>
                    </a:lnTo>
                    <a:lnTo>
                      <a:pt x="468" y="192"/>
                    </a:lnTo>
                    <a:lnTo>
                      <a:pt x="464" y="190"/>
                    </a:lnTo>
                    <a:lnTo>
                      <a:pt x="462" y="190"/>
                    </a:lnTo>
                    <a:lnTo>
                      <a:pt x="461" y="190"/>
                    </a:lnTo>
                    <a:lnTo>
                      <a:pt x="459" y="192"/>
                    </a:lnTo>
                    <a:lnTo>
                      <a:pt x="457" y="192"/>
                    </a:lnTo>
                    <a:lnTo>
                      <a:pt x="457" y="193"/>
                    </a:lnTo>
                    <a:lnTo>
                      <a:pt x="457" y="195"/>
                    </a:lnTo>
                    <a:lnTo>
                      <a:pt x="459" y="195"/>
                    </a:lnTo>
                    <a:lnTo>
                      <a:pt x="457" y="197"/>
                    </a:lnTo>
                    <a:lnTo>
                      <a:pt x="457" y="199"/>
                    </a:lnTo>
                    <a:lnTo>
                      <a:pt x="457" y="200"/>
                    </a:lnTo>
                    <a:lnTo>
                      <a:pt x="459" y="202"/>
                    </a:lnTo>
                    <a:lnTo>
                      <a:pt x="457" y="202"/>
                    </a:lnTo>
                    <a:lnTo>
                      <a:pt x="456" y="204"/>
                    </a:lnTo>
                    <a:lnTo>
                      <a:pt x="457" y="205"/>
                    </a:lnTo>
                    <a:lnTo>
                      <a:pt x="457" y="207"/>
                    </a:lnTo>
                    <a:lnTo>
                      <a:pt x="454" y="207"/>
                    </a:lnTo>
                    <a:lnTo>
                      <a:pt x="454" y="210"/>
                    </a:lnTo>
                    <a:lnTo>
                      <a:pt x="454" y="209"/>
                    </a:lnTo>
                    <a:lnTo>
                      <a:pt x="452" y="209"/>
                    </a:lnTo>
                    <a:lnTo>
                      <a:pt x="452" y="212"/>
                    </a:lnTo>
                    <a:lnTo>
                      <a:pt x="451" y="212"/>
                    </a:lnTo>
                    <a:lnTo>
                      <a:pt x="451" y="216"/>
                    </a:lnTo>
                    <a:lnTo>
                      <a:pt x="447" y="216"/>
                    </a:lnTo>
                    <a:lnTo>
                      <a:pt x="449" y="219"/>
                    </a:lnTo>
                    <a:lnTo>
                      <a:pt x="447" y="219"/>
                    </a:lnTo>
                    <a:lnTo>
                      <a:pt x="451" y="222"/>
                    </a:lnTo>
                    <a:lnTo>
                      <a:pt x="451" y="224"/>
                    </a:lnTo>
                    <a:lnTo>
                      <a:pt x="452" y="222"/>
                    </a:lnTo>
                    <a:lnTo>
                      <a:pt x="454" y="224"/>
                    </a:lnTo>
                    <a:lnTo>
                      <a:pt x="456" y="224"/>
                    </a:lnTo>
                    <a:lnTo>
                      <a:pt x="456" y="222"/>
                    </a:lnTo>
                    <a:lnTo>
                      <a:pt x="459" y="224"/>
                    </a:lnTo>
                    <a:lnTo>
                      <a:pt x="461" y="224"/>
                    </a:lnTo>
                    <a:lnTo>
                      <a:pt x="462" y="226"/>
                    </a:lnTo>
                    <a:lnTo>
                      <a:pt x="462" y="227"/>
                    </a:lnTo>
                    <a:lnTo>
                      <a:pt x="464" y="227"/>
                    </a:lnTo>
                    <a:lnTo>
                      <a:pt x="466" y="227"/>
                    </a:lnTo>
                    <a:lnTo>
                      <a:pt x="468" y="226"/>
                    </a:lnTo>
                    <a:lnTo>
                      <a:pt x="468" y="227"/>
                    </a:lnTo>
                    <a:lnTo>
                      <a:pt x="469" y="226"/>
                    </a:lnTo>
                    <a:lnTo>
                      <a:pt x="471" y="226"/>
                    </a:lnTo>
                    <a:lnTo>
                      <a:pt x="473" y="226"/>
                    </a:lnTo>
                    <a:lnTo>
                      <a:pt x="473" y="227"/>
                    </a:lnTo>
                    <a:lnTo>
                      <a:pt x="474" y="226"/>
                    </a:lnTo>
                    <a:lnTo>
                      <a:pt x="474" y="227"/>
                    </a:lnTo>
                    <a:lnTo>
                      <a:pt x="478" y="229"/>
                    </a:lnTo>
                    <a:lnTo>
                      <a:pt x="478" y="227"/>
                    </a:lnTo>
                    <a:lnTo>
                      <a:pt x="479" y="227"/>
                    </a:lnTo>
                    <a:lnTo>
                      <a:pt x="479" y="229"/>
                    </a:lnTo>
                    <a:lnTo>
                      <a:pt x="483" y="229"/>
                    </a:lnTo>
                    <a:lnTo>
                      <a:pt x="486" y="233"/>
                    </a:lnTo>
                    <a:lnTo>
                      <a:pt x="488" y="233"/>
                    </a:lnTo>
                    <a:lnTo>
                      <a:pt x="488" y="234"/>
                    </a:lnTo>
                    <a:lnTo>
                      <a:pt x="491" y="234"/>
                    </a:lnTo>
                    <a:lnTo>
                      <a:pt x="491" y="238"/>
                    </a:lnTo>
                    <a:lnTo>
                      <a:pt x="496" y="238"/>
                    </a:lnTo>
                    <a:lnTo>
                      <a:pt x="496" y="239"/>
                    </a:lnTo>
                    <a:lnTo>
                      <a:pt x="498" y="243"/>
                    </a:lnTo>
                    <a:lnTo>
                      <a:pt x="498" y="244"/>
                    </a:lnTo>
                    <a:lnTo>
                      <a:pt x="500" y="246"/>
                    </a:lnTo>
                    <a:lnTo>
                      <a:pt x="500" y="250"/>
                    </a:lnTo>
                    <a:lnTo>
                      <a:pt x="500" y="251"/>
                    </a:lnTo>
                    <a:lnTo>
                      <a:pt x="500" y="253"/>
                    </a:lnTo>
                    <a:lnTo>
                      <a:pt x="502" y="253"/>
                    </a:lnTo>
                    <a:lnTo>
                      <a:pt x="503" y="255"/>
                    </a:lnTo>
                    <a:lnTo>
                      <a:pt x="508" y="258"/>
                    </a:lnTo>
                    <a:lnTo>
                      <a:pt x="508" y="263"/>
                    </a:lnTo>
                    <a:lnTo>
                      <a:pt x="510" y="265"/>
                    </a:lnTo>
                    <a:lnTo>
                      <a:pt x="512" y="263"/>
                    </a:lnTo>
                    <a:lnTo>
                      <a:pt x="513" y="265"/>
                    </a:lnTo>
                    <a:lnTo>
                      <a:pt x="513" y="267"/>
                    </a:lnTo>
                    <a:lnTo>
                      <a:pt x="515" y="267"/>
                    </a:lnTo>
                    <a:lnTo>
                      <a:pt x="515" y="268"/>
                    </a:lnTo>
                    <a:lnTo>
                      <a:pt x="519" y="268"/>
                    </a:lnTo>
                    <a:lnTo>
                      <a:pt x="520" y="268"/>
                    </a:lnTo>
                    <a:lnTo>
                      <a:pt x="522" y="268"/>
                    </a:lnTo>
                    <a:lnTo>
                      <a:pt x="524" y="270"/>
                    </a:lnTo>
                    <a:lnTo>
                      <a:pt x="524" y="272"/>
                    </a:lnTo>
                    <a:lnTo>
                      <a:pt x="525" y="272"/>
                    </a:lnTo>
                    <a:lnTo>
                      <a:pt x="525" y="273"/>
                    </a:lnTo>
                    <a:lnTo>
                      <a:pt x="525" y="277"/>
                    </a:lnTo>
                    <a:lnTo>
                      <a:pt x="530" y="278"/>
                    </a:lnTo>
                    <a:lnTo>
                      <a:pt x="530" y="277"/>
                    </a:lnTo>
                    <a:lnTo>
                      <a:pt x="534" y="280"/>
                    </a:lnTo>
                    <a:lnTo>
                      <a:pt x="536" y="282"/>
                    </a:lnTo>
                    <a:lnTo>
                      <a:pt x="537" y="284"/>
                    </a:lnTo>
                    <a:lnTo>
                      <a:pt x="539" y="285"/>
                    </a:lnTo>
                    <a:lnTo>
                      <a:pt x="541" y="284"/>
                    </a:lnTo>
                    <a:lnTo>
                      <a:pt x="542" y="284"/>
                    </a:lnTo>
                    <a:lnTo>
                      <a:pt x="544" y="284"/>
                    </a:lnTo>
                    <a:lnTo>
                      <a:pt x="544" y="285"/>
                    </a:lnTo>
                    <a:lnTo>
                      <a:pt x="546" y="285"/>
                    </a:lnTo>
                    <a:lnTo>
                      <a:pt x="546" y="287"/>
                    </a:lnTo>
                    <a:lnTo>
                      <a:pt x="547" y="289"/>
                    </a:lnTo>
                    <a:lnTo>
                      <a:pt x="549" y="290"/>
                    </a:lnTo>
                    <a:lnTo>
                      <a:pt x="551" y="292"/>
                    </a:lnTo>
                    <a:lnTo>
                      <a:pt x="549" y="294"/>
                    </a:lnTo>
                    <a:lnTo>
                      <a:pt x="549" y="296"/>
                    </a:lnTo>
                    <a:lnTo>
                      <a:pt x="549" y="297"/>
                    </a:lnTo>
                    <a:lnTo>
                      <a:pt x="549" y="299"/>
                    </a:lnTo>
                    <a:lnTo>
                      <a:pt x="547" y="301"/>
                    </a:lnTo>
                    <a:lnTo>
                      <a:pt x="547" y="302"/>
                    </a:lnTo>
                    <a:lnTo>
                      <a:pt x="547" y="306"/>
                    </a:lnTo>
                    <a:lnTo>
                      <a:pt x="547" y="309"/>
                    </a:lnTo>
                    <a:lnTo>
                      <a:pt x="549" y="311"/>
                    </a:lnTo>
                    <a:lnTo>
                      <a:pt x="549" y="319"/>
                    </a:lnTo>
                    <a:lnTo>
                      <a:pt x="556" y="330"/>
                    </a:lnTo>
                    <a:lnTo>
                      <a:pt x="556" y="333"/>
                    </a:lnTo>
                    <a:lnTo>
                      <a:pt x="564" y="340"/>
                    </a:lnTo>
                    <a:lnTo>
                      <a:pt x="563" y="341"/>
                    </a:lnTo>
                    <a:lnTo>
                      <a:pt x="556" y="352"/>
                    </a:lnTo>
                    <a:lnTo>
                      <a:pt x="553" y="355"/>
                    </a:lnTo>
                    <a:lnTo>
                      <a:pt x="544" y="362"/>
                    </a:lnTo>
                    <a:lnTo>
                      <a:pt x="529" y="375"/>
                    </a:lnTo>
                    <a:lnTo>
                      <a:pt x="520" y="382"/>
                    </a:lnTo>
                    <a:lnTo>
                      <a:pt x="505" y="398"/>
                    </a:lnTo>
                    <a:lnTo>
                      <a:pt x="498" y="404"/>
                    </a:lnTo>
                    <a:lnTo>
                      <a:pt x="490" y="413"/>
                    </a:lnTo>
                    <a:lnTo>
                      <a:pt x="474" y="428"/>
                    </a:lnTo>
                    <a:lnTo>
                      <a:pt x="457" y="426"/>
                    </a:lnTo>
                    <a:lnTo>
                      <a:pt x="449" y="421"/>
                    </a:lnTo>
                    <a:lnTo>
                      <a:pt x="444" y="425"/>
                    </a:lnTo>
                    <a:lnTo>
                      <a:pt x="434" y="428"/>
                    </a:lnTo>
                    <a:lnTo>
                      <a:pt x="418" y="430"/>
                    </a:lnTo>
                    <a:lnTo>
                      <a:pt x="408" y="437"/>
                    </a:lnTo>
                    <a:lnTo>
                      <a:pt x="408" y="438"/>
                    </a:lnTo>
                    <a:lnTo>
                      <a:pt x="408" y="442"/>
                    </a:lnTo>
                    <a:lnTo>
                      <a:pt x="401" y="440"/>
                    </a:lnTo>
                    <a:lnTo>
                      <a:pt x="400" y="437"/>
                    </a:lnTo>
                    <a:lnTo>
                      <a:pt x="394" y="437"/>
                    </a:lnTo>
                    <a:lnTo>
                      <a:pt x="394" y="433"/>
                    </a:lnTo>
                    <a:lnTo>
                      <a:pt x="391" y="426"/>
                    </a:lnTo>
                    <a:lnTo>
                      <a:pt x="388" y="425"/>
                    </a:lnTo>
                    <a:lnTo>
                      <a:pt x="388" y="426"/>
                    </a:lnTo>
                    <a:lnTo>
                      <a:pt x="383" y="430"/>
                    </a:lnTo>
                    <a:lnTo>
                      <a:pt x="376" y="432"/>
                    </a:lnTo>
                    <a:lnTo>
                      <a:pt x="372" y="435"/>
                    </a:lnTo>
                    <a:lnTo>
                      <a:pt x="372" y="433"/>
                    </a:lnTo>
                    <a:lnTo>
                      <a:pt x="362" y="426"/>
                    </a:lnTo>
                    <a:lnTo>
                      <a:pt x="355" y="426"/>
                    </a:lnTo>
                    <a:lnTo>
                      <a:pt x="352" y="430"/>
                    </a:lnTo>
                    <a:lnTo>
                      <a:pt x="350" y="430"/>
                    </a:lnTo>
                    <a:lnTo>
                      <a:pt x="349" y="432"/>
                    </a:lnTo>
                    <a:lnTo>
                      <a:pt x="347" y="430"/>
                    </a:lnTo>
                    <a:lnTo>
                      <a:pt x="345" y="432"/>
                    </a:lnTo>
                    <a:lnTo>
                      <a:pt x="340" y="438"/>
                    </a:lnTo>
                    <a:lnTo>
                      <a:pt x="340" y="442"/>
                    </a:lnTo>
                    <a:lnTo>
                      <a:pt x="338" y="440"/>
                    </a:lnTo>
                    <a:lnTo>
                      <a:pt x="340" y="437"/>
                    </a:lnTo>
                    <a:lnTo>
                      <a:pt x="337" y="437"/>
                    </a:lnTo>
                    <a:lnTo>
                      <a:pt x="337" y="432"/>
                    </a:lnTo>
                    <a:lnTo>
                      <a:pt x="335" y="432"/>
                    </a:lnTo>
                    <a:lnTo>
                      <a:pt x="333" y="432"/>
                    </a:lnTo>
                    <a:lnTo>
                      <a:pt x="333" y="433"/>
                    </a:lnTo>
                    <a:lnTo>
                      <a:pt x="330" y="433"/>
                    </a:lnTo>
                    <a:lnTo>
                      <a:pt x="326" y="437"/>
                    </a:lnTo>
                    <a:lnTo>
                      <a:pt x="323" y="435"/>
                    </a:lnTo>
                    <a:lnTo>
                      <a:pt x="325" y="433"/>
                    </a:lnTo>
                    <a:lnTo>
                      <a:pt x="325" y="428"/>
                    </a:lnTo>
                    <a:lnTo>
                      <a:pt x="325" y="425"/>
                    </a:lnTo>
                    <a:lnTo>
                      <a:pt x="323" y="423"/>
                    </a:lnTo>
                    <a:lnTo>
                      <a:pt x="320" y="423"/>
                    </a:lnTo>
                    <a:lnTo>
                      <a:pt x="318" y="421"/>
                    </a:lnTo>
                    <a:lnTo>
                      <a:pt x="309" y="418"/>
                    </a:lnTo>
                    <a:lnTo>
                      <a:pt x="306" y="420"/>
                    </a:lnTo>
                    <a:lnTo>
                      <a:pt x="306" y="415"/>
                    </a:lnTo>
                    <a:lnTo>
                      <a:pt x="304" y="415"/>
                    </a:lnTo>
                    <a:lnTo>
                      <a:pt x="304" y="409"/>
                    </a:lnTo>
                    <a:lnTo>
                      <a:pt x="298" y="408"/>
                    </a:lnTo>
                    <a:lnTo>
                      <a:pt x="296" y="404"/>
                    </a:lnTo>
                    <a:lnTo>
                      <a:pt x="294" y="404"/>
                    </a:lnTo>
                    <a:lnTo>
                      <a:pt x="294" y="401"/>
                    </a:lnTo>
                    <a:lnTo>
                      <a:pt x="294" y="399"/>
                    </a:lnTo>
                    <a:lnTo>
                      <a:pt x="291" y="398"/>
                    </a:lnTo>
                    <a:lnTo>
                      <a:pt x="289" y="398"/>
                    </a:lnTo>
                    <a:lnTo>
                      <a:pt x="286" y="396"/>
                    </a:lnTo>
                    <a:lnTo>
                      <a:pt x="286" y="391"/>
                    </a:lnTo>
                    <a:lnTo>
                      <a:pt x="287" y="389"/>
                    </a:lnTo>
                    <a:lnTo>
                      <a:pt x="284" y="386"/>
                    </a:lnTo>
                    <a:lnTo>
                      <a:pt x="281" y="386"/>
                    </a:lnTo>
                    <a:lnTo>
                      <a:pt x="277" y="382"/>
                    </a:lnTo>
                    <a:lnTo>
                      <a:pt x="275" y="384"/>
                    </a:lnTo>
                    <a:lnTo>
                      <a:pt x="274" y="382"/>
                    </a:lnTo>
                    <a:lnTo>
                      <a:pt x="270" y="381"/>
                    </a:lnTo>
                    <a:lnTo>
                      <a:pt x="269" y="389"/>
                    </a:lnTo>
                    <a:lnTo>
                      <a:pt x="267" y="389"/>
                    </a:lnTo>
                    <a:lnTo>
                      <a:pt x="265" y="392"/>
                    </a:lnTo>
                    <a:lnTo>
                      <a:pt x="264" y="392"/>
                    </a:lnTo>
                    <a:lnTo>
                      <a:pt x="260" y="398"/>
                    </a:lnTo>
                    <a:lnTo>
                      <a:pt x="257" y="398"/>
                    </a:lnTo>
                    <a:lnTo>
                      <a:pt x="253" y="398"/>
                    </a:lnTo>
                    <a:lnTo>
                      <a:pt x="252" y="396"/>
                    </a:lnTo>
                    <a:lnTo>
                      <a:pt x="247" y="391"/>
                    </a:lnTo>
                    <a:lnTo>
                      <a:pt x="245" y="391"/>
                    </a:lnTo>
                    <a:lnTo>
                      <a:pt x="243" y="392"/>
                    </a:lnTo>
                    <a:lnTo>
                      <a:pt x="236" y="392"/>
                    </a:lnTo>
                    <a:lnTo>
                      <a:pt x="236" y="387"/>
                    </a:lnTo>
                    <a:lnTo>
                      <a:pt x="235" y="387"/>
                    </a:lnTo>
                    <a:lnTo>
                      <a:pt x="231" y="389"/>
                    </a:lnTo>
                    <a:lnTo>
                      <a:pt x="228" y="396"/>
                    </a:lnTo>
                    <a:lnTo>
                      <a:pt x="224" y="396"/>
                    </a:lnTo>
                    <a:lnTo>
                      <a:pt x="223" y="398"/>
                    </a:lnTo>
                    <a:lnTo>
                      <a:pt x="221" y="398"/>
                    </a:lnTo>
                    <a:lnTo>
                      <a:pt x="219" y="401"/>
                    </a:lnTo>
                    <a:lnTo>
                      <a:pt x="216" y="403"/>
                    </a:lnTo>
                    <a:lnTo>
                      <a:pt x="214" y="401"/>
                    </a:lnTo>
                    <a:lnTo>
                      <a:pt x="213" y="399"/>
                    </a:lnTo>
                    <a:lnTo>
                      <a:pt x="206" y="399"/>
                    </a:lnTo>
                    <a:lnTo>
                      <a:pt x="204" y="398"/>
                    </a:lnTo>
                    <a:lnTo>
                      <a:pt x="202" y="394"/>
                    </a:lnTo>
                    <a:lnTo>
                      <a:pt x="199" y="394"/>
                    </a:lnTo>
                    <a:lnTo>
                      <a:pt x="197" y="392"/>
                    </a:lnTo>
                    <a:lnTo>
                      <a:pt x="196" y="389"/>
                    </a:lnTo>
                    <a:lnTo>
                      <a:pt x="190" y="387"/>
                    </a:lnTo>
                    <a:lnTo>
                      <a:pt x="189" y="389"/>
                    </a:lnTo>
                    <a:lnTo>
                      <a:pt x="187" y="387"/>
                    </a:lnTo>
                    <a:lnTo>
                      <a:pt x="184" y="387"/>
                    </a:lnTo>
                    <a:lnTo>
                      <a:pt x="182" y="384"/>
                    </a:lnTo>
                    <a:lnTo>
                      <a:pt x="184" y="382"/>
                    </a:lnTo>
                    <a:lnTo>
                      <a:pt x="184" y="377"/>
                    </a:lnTo>
                    <a:lnTo>
                      <a:pt x="182" y="377"/>
                    </a:lnTo>
                    <a:lnTo>
                      <a:pt x="180" y="377"/>
                    </a:lnTo>
                    <a:lnTo>
                      <a:pt x="179" y="374"/>
                    </a:lnTo>
                    <a:lnTo>
                      <a:pt x="179" y="372"/>
                    </a:lnTo>
                    <a:lnTo>
                      <a:pt x="173" y="372"/>
                    </a:lnTo>
                    <a:lnTo>
                      <a:pt x="172" y="370"/>
                    </a:lnTo>
                    <a:lnTo>
                      <a:pt x="167" y="365"/>
                    </a:lnTo>
                    <a:lnTo>
                      <a:pt x="167" y="362"/>
                    </a:lnTo>
                    <a:lnTo>
                      <a:pt x="167" y="360"/>
                    </a:lnTo>
                    <a:lnTo>
                      <a:pt x="165" y="360"/>
                    </a:lnTo>
                    <a:lnTo>
                      <a:pt x="165" y="357"/>
                    </a:lnTo>
                    <a:lnTo>
                      <a:pt x="160" y="353"/>
                    </a:lnTo>
                    <a:lnTo>
                      <a:pt x="160" y="352"/>
                    </a:lnTo>
                    <a:lnTo>
                      <a:pt x="156" y="348"/>
                    </a:lnTo>
                    <a:lnTo>
                      <a:pt x="156" y="347"/>
                    </a:lnTo>
                    <a:lnTo>
                      <a:pt x="156" y="343"/>
                    </a:lnTo>
                    <a:lnTo>
                      <a:pt x="158" y="338"/>
                    </a:lnTo>
                    <a:lnTo>
                      <a:pt x="158" y="335"/>
                    </a:lnTo>
                    <a:lnTo>
                      <a:pt x="156" y="335"/>
                    </a:lnTo>
                    <a:lnTo>
                      <a:pt x="156" y="333"/>
                    </a:lnTo>
                    <a:lnTo>
                      <a:pt x="155" y="331"/>
                    </a:lnTo>
                    <a:lnTo>
                      <a:pt x="155" y="328"/>
                    </a:lnTo>
                    <a:lnTo>
                      <a:pt x="151" y="328"/>
                    </a:lnTo>
                    <a:lnTo>
                      <a:pt x="153" y="326"/>
                    </a:lnTo>
                    <a:lnTo>
                      <a:pt x="150" y="324"/>
                    </a:lnTo>
                    <a:lnTo>
                      <a:pt x="146" y="324"/>
                    </a:lnTo>
                    <a:lnTo>
                      <a:pt x="145" y="323"/>
                    </a:lnTo>
                    <a:lnTo>
                      <a:pt x="143" y="323"/>
                    </a:lnTo>
                    <a:lnTo>
                      <a:pt x="139" y="319"/>
                    </a:lnTo>
                    <a:lnTo>
                      <a:pt x="136" y="319"/>
                    </a:lnTo>
                    <a:lnTo>
                      <a:pt x="134" y="316"/>
                    </a:lnTo>
                    <a:lnTo>
                      <a:pt x="131" y="314"/>
                    </a:lnTo>
                    <a:lnTo>
                      <a:pt x="128" y="314"/>
                    </a:lnTo>
                    <a:lnTo>
                      <a:pt x="122" y="314"/>
                    </a:lnTo>
                    <a:lnTo>
                      <a:pt x="121" y="311"/>
                    </a:lnTo>
                    <a:lnTo>
                      <a:pt x="119" y="309"/>
                    </a:lnTo>
                    <a:lnTo>
                      <a:pt x="116" y="311"/>
                    </a:lnTo>
                    <a:lnTo>
                      <a:pt x="117" y="309"/>
                    </a:lnTo>
                    <a:lnTo>
                      <a:pt x="119" y="306"/>
                    </a:lnTo>
                    <a:lnTo>
                      <a:pt x="121" y="302"/>
                    </a:lnTo>
                    <a:lnTo>
                      <a:pt x="119" y="302"/>
                    </a:lnTo>
                    <a:lnTo>
                      <a:pt x="117" y="304"/>
                    </a:lnTo>
                    <a:lnTo>
                      <a:pt x="117" y="301"/>
                    </a:lnTo>
                    <a:lnTo>
                      <a:pt x="114" y="299"/>
                    </a:lnTo>
                    <a:lnTo>
                      <a:pt x="109" y="294"/>
                    </a:lnTo>
                    <a:lnTo>
                      <a:pt x="109" y="290"/>
                    </a:lnTo>
                    <a:lnTo>
                      <a:pt x="107" y="290"/>
                    </a:lnTo>
                    <a:lnTo>
                      <a:pt x="109" y="289"/>
                    </a:lnTo>
                    <a:lnTo>
                      <a:pt x="111" y="289"/>
                    </a:lnTo>
                    <a:lnTo>
                      <a:pt x="111" y="287"/>
                    </a:lnTo>
                    <a:lnTo>
                      <a:pt x="114" y="284"/>
                    </a:lnTo>
                    <a:lnTo>
                      <a:pt x="114" y="282"/>
                    </a:lnTo>
                    <a:lnTo>
                      <a:pt x="112" y="280"/>
                    </a:lnTo>
                    <a:lnTo>
                      <a:pt x="107" y="278"/>
                    </a:lnTo>
                    <a:lnTo>
                      <a:pt x="105" y="277"/>
                    </a:lnTo>
                    <a:lnTo>
                      <a:pt x="104" y="277"/>
                    </a:lnTo>
                    <a:lnTo>
                      <a:pt x="102" y="273"/>
                    </a:lnTo>
                    <a:lnTo>
                      <a:pt x="99" y="272"/>
                    </a:lnTo>
                    <a:lnTo>
                      <a:pt x="99" y="268"/>
                    </a:lnTo>
                    <a:lnTo>
                      <a:pt x="97" y="268"/>
                    </a:lnTo>
                    <a:lnTo>
                      <a:pt x="95" y="268"/>
                    </a:lnTo>
                    <a:lnTo>
                      <a:pt x="97" y="267"/>
                    </a:lnTo>
                    <a:lnTo>
                      <a:pt x="95" y="263"/>
                    </a:lnTo>
                    <a:lnTo>
                      <a:pt x="94" y="263"/>
                    </a:lnTo>
                    <a:lnTo>
                      <a:pt x="92" y="261"/>
                    </a:lnTo>
                    <a:lnTo>
                      <a:pt x="90" y="261"/>
                    </a:lnTo>
                    <a:lnTo>
                      <a:pt x="88" y="260"/>
                    </a:lnTo>
                    <a:lnTo>
                      <a:pt x="88" y="258"/>
                    </a:lnTo>
                    <a:lnTo>
                      <a:pt x="83" y="258"/>
                    </a:lnTo>
                    <a:lnTo>
                      <a:pt x="83" y="256"/>
                    </a:lnTo>
                    <a:lnTo>
                      <a:pt x="80" y="256"/>
                    </a:lnTo>
                    <a:lnTo>
                      <a:pt x="80" y="255"/>
                    </a:lnTo>
                    <a:lnTo>
                      <a:pt x="78" y="255"/>
                    </a:lnTo>
                    <a:lnTo>
                      <a:pt x="73" y="253"/>
                    </a:lnTo>
                    <a:lnTo>
                      <a:pt x="73" y="251"/>
                    </a:lnTo>
                    <a:lnTo>
                      <a:pt x="71" y="253"/>
                    </a:lnTo>
                    <a:lnTo>
                      <a:pt x="71" y="251"/>
                    </a:lnTo>
                    <a:lnTo>
                      <a:pt x="70" y="251"/>
                    </a:lnTo>
                    <a:lnTo>
                      <a:pt x="70" y="250"/>
                    </a:lnTo>
                    <a:lnTo>
                      <a:pt x="66" y="250"/>
                    </a:lnTo>
                    <a:lnTo>
                      <a:pt x="66" y="248"/>
                    </a:lnTo>
                    <a:lnTo>
                      <a:pt x="63" y="246"/>
                    </a:lnTo>
                    <a:lnTo>
                      <a:pt x="63" y="248"/>
                    </a:lnTo>
                    <a:lnTo>
                      <a:pt x="61" y="246"/>
                    </a:lnTo>
                    <a:lnTo>
                      <a:pt x="60" y="243"/>
                    </a:lnTo>
                    <a:lnTo>
                      <a:pt x="53" y="239"/>
                    </a:lnTo>
                    <a:lnTo>
                      <a:pt x="53" y="236"/>
                    </a:lnTo>
                    <a:lnTo>
                      <a:pt x="51" y="234"/>
                    </a:lnTo>
                    <a:lnTo>
                      <a:pt x="54" y="233"/>
                    </a:lnTo>
                    <a:lnTo>
                      <a:pt x="58" y="231"/>
                    </a:lnTo>
                    <a:lnTo>
                      <a:pt x="58" y="229"/>
                    </a:lnTo>
                    <a:lnTo>
                      <a:pt x="58" y="227"/>
                    </a:lnTo>
                    <a:lnTo>
                      <a:pt x="58" y="226"/>
                    </a:lnTo>
                    <a:lnTo>
                      <a:pt x="58" y="224"/>
                    </a:lnTo>
                    <a:lnTo>
                      <a:pt x="56" y="224"/>
                    </a:lnTo>
                    <a:lnTo>
                      <a:pt x="54" y="221"/>
                    </a:lnTo>
                    <a:lnTo>
                      <a:pt x="51" y="219"/>
                    </a:lnTo>
                    <a:lnTo>
                      <a:pt x="48" y="219"/>
                    </a:lnTo>
                    <a:lnTo>
                      <a:pt x="41" y="214"/>
                    </a:lnTo>
                    <a:lnTo>
                      <a:pt x="37" y="210"/>
                    </a:lnTo>
                    <a:lnTo>
                      <a:pt x="37" y="207"/>
                    </a:lnTo>
                    <a:lnTo>
                      <a:pt x="36" y="204"/>
                    </a:lnTo>
                    <a:lnTo>
                      <a:pt x="32" y="204"/>
                    </a:lnTo>
                    <a:lnTo>
                      <a:pt x="31" y="204"/>
                    </a:lnTo>
                    <a:lnTo>
                      <a:pt x="29" y="202"/>
                    </a:lnTo>
                    <a:lnTo>
                      <a:pt x="26" y="202"/>
                    </a:lnTo>
                    <a:lnTo>
                      <a:pt x="19" y="202"/>
                    </a:lnTo>
                    <a:lnTo>
                      <a:pt x="15" y="199"/>
                    </a:lnTo>
                    <a:lnTo>
                      <a:pt x="14" y="199"/>
                    </a:lnTo>
                    <a:lnTo>
                      <a:pt x="10" y="200"/>
                    </a:lnTo>
                    <a:lnTo>
                      <a:pt x="3" y="199"/>
                    </a:lnTo>
                    <a:lnTo>
                      <a:pt x="2" y="197"/>
                    </a:lnTo>
                    <a:lnTo>
                      <a:pt x="0" y="193"/>
                    </a:lnTo>
                    <a:lnTo>
                      <a:pt x="0" y="192"/>
                    </a:lnTo>
                    <a:lnTo>
                      <a:pt x="2" y="188"/>
                    </a:lnTo>
                    <a:lnTo>
                      <a:pt x="5" y="183"/>
                    </a:lnTo>
                    <a:lnTo>
                      <a:pt x="3" y="182"/>
                    </a:lnTo>
                    <a:lnTo>
                      <a:pt x="5" y="178"/>
                    </a:lnTo>
                    <a:lnTo>
                      <a:pt x="9" y="176"/>
                    </a:lnTo>
                    <a:lnTo>
                      <a:pt x="12" y="173"/>
                    </a:lnTo>
                    <a:lnTo>
                      <a:pt x="19" y="171"/>
                    </a:lnTo>
                    <a:lnTo>
                      <a:pt x="22" y="166"/>
                    </a:lnTo>
                    <a:lnTo>
                      <a:pt x="20" y="159"/>
                    </a:lnTo>
                    <a:lnTo>
                      <a:pt x="22" y="153"/>
                    </a:lnTo>
                    <a:lnTo>
                      <a:pt x="26" y="146"/>
                    </a:lnTo>
                    <a:lnTo>
                      <a:pt x="24" y="144"/>
                    </a:lnTo>
                    <a:lnTo>
                      <a:pt x="31" y="137"/>
                    </a:lnTo>
                    <a:lnTo>
                      <a:pt x="31" y="134"/>
                    </a:lnTo>
                    <a:lnTo>
                      <a:pt x="31" y="130"/>
                    </a:lnTo>
                    <a:lnTo>
                      <a:pt x="31" y="125"/>
                    </a:lnTo>
                    <a:lnTo>
                      <a:pt x="32" y="124"/>
                    </a:lnTo>
                    <a:lnTo>
                      <a:pt x="36" y="120"/>
                    </a:lnTo>
                    <a:lnTo>
                      <a:pt x="37" y="120"/>
                    </a:lnTo>
                    <a:lnTo>
                      <a:pt x="37" y="119"/>
                    </a:lnTo>
                    <a:lnTo>
                      <a:pt x="39" y="119"/>
                    </a:lnTo>
                    <a:lnTo>
                      <a:pt x="37" y="119"/>
                    </a:lnTo>
                    <a:lnTo>
                      <a:pt x="39" y="119"/>
                    </a:lnTo>
                    <a:lnTo>
                      <a:pt x="41" y="117"/>
                    </a:lnTo>
                    <a:lnTo>
                      <a:pt x="43" y="117"/>
                    </a:lnTo>
                    <a:lnTo>
                      <a:pt x="41" y="117"/>
                    </a:lnTo>
                    <a:lnTo>
                      <a:pt x="43" y="113"/>
                    </a:lnTo>
                    <a:lnTo>
                      <a:pt x="44" y="113"/>
                    </a:lnTo>
                    <a:lnTo>
                      <a:pt x="44" y="112"/>
                    </a:lnTo>
                    <a:lnTo>
                      <a:pt x="46" y="110"/>
                    </a:lnTo>
                    <a:lnTo>
                      <a:pt x="44" y="110"/>
                    </a:lnTo>
                    <a:lnTo>
                      <a:pt x="44" y="108"/>
                    </a:lnTo>
                    <a:lnTo>
                      <a:pt x="46" y="108"/>
                    </a:lnTo>
                    <a:lnTo>
                      <a:pt x="48" y="107"/>
                    </a:lnTo>
                    <a:lnTo>
                      <a:pt x="46" y="105"/>
                    </a:lnTo>
                    <a:lnTo>
                      <a:pt x="44" y="103"/>
                    </a:lnTo>
                    <a:lnTo>
                      <a:pt x="46" y="103"/>
                    </a:lnTo>
                    <a:lnTo>
                      <a:pt x="44" y="102"/>
                    </a:lnTo>
                    <a:lnTo>
                      <a:pt x="46" y="102"/>
                    </a:lnTo>
                    <a:lnTo>
                      <a:pt x="46" y="100"/>
                    </a:lnTo>
                    <a:lnTo>
                      <a:pt x="46" y="98"/>
                    </a:lnTo>
                    <a:lnTo>
                      <a:pt x="48" y="98"/>
                    </a:lnTo>
                    <a:lnTo>
                      <a:pt x="48" y="96"/>
                    </a:lnTo>
                    <a:lnTo>
                      <a:pt x="49" y="96"/>
                    </a:lnTo>
                    <a:lnTo>
                      <a:pt x="49" y="95"/>
                    </a:lnTo>
                    <a:lnTo>
                      <a:pt x="53" y="96"/>
                    </a:lnTo>
                    <a:lnTo>
                      <a:pt x="51" y="95"/>
                    </a:lnTo>
                    <a:lnTo>
                      <a:pt x="53" y="95"/>
                    </a:lnTo>
                    <a:lnTo>
                      <a:pt x="54" y="93"/>
                    </a:lnTo>
                    <a:lnTo>
                      <a:pt x="56" y="95"/>
                    </a:lnTo>
                    <a:lnTo>
                      <a:pt x="56" y="93"/>
                    </a:lnTo>
                    <a:lnTo>
                      <a:pt x="60" y="95"/>
                    </a:lnTo>
                    <a:lnTo>
                      <a:pt x="60" y="93"/>
                    </a:lnTo>
                    <a:lnTo>
                      <a:pt x="61" y="93"/>
                    </a:lnTo>
                    <a:lnTo>
                      <a:pt x="63" y="91"/>
                    </a:lnTo>
                    <a:lnTo>
                      <a:pt x="63" y="93"/>
                    </a:lnTo>
                    <a:lnTo>
                      <a:pt x="63" y="91"/>
                    </a:lnTo>
                    <a:lnTo>
                      <a:pt x="65" y="93"/>
                    </a:lnTo>
                    <a:lnTo>
                      <a:pt x="65" y="91"/>
                    </a:lnTo>
                    <a:lnTo>
                      <a:pt x="66" y="93"/>
                    </a:lnTo>
                    <a:lnTo>
                      <a:pt x="66" y="91"/>
                    </a:lnTo>
                    <a:lnTo>
                      <a:pt x="68" y="93"/>
                    </a:lnTo>
                    <a:lnTo>
                      <a:pt x="68" y="91"/>
                    </a:lnTo>
                    <a:lnTo>
                      <a:pt x="70" y="93"/>
                    </a:lnTo>
                    <a:lnTo>
                      <a:pt x="71" y="91"/>
                    </a:lnTo>
                    <a:lnTo>
                      <a:pt x="75" y="91"/>
                    </a:lnTo>
                    <a:lnTo>
                      <a:pt x="77" y="90"/>
                    </a:lnTo>
                    <a:lnTo>
                      <a:pt x="77" y="91"/>
                    </a:lnTo>
                    <a:lnTo>
                      <a:pt x="78" y="91"/>
                    </a:lnTo>
                    <a:lnTo>
                      <a:pt x="80" y="91"/>
                    </a:lnTo>
                    <a:lnTo>
                      <a:pt x="82" y="90"/>
                    </a:lnTo>
                    <a:lnTo>
                      <a:pt x="82" y="91"/>
                    </a:lnTo>
                    <a:lnTo>
                      <a:pt x="82" y="90"/>
                    </a:lnTo>
                    <a:lnTo>
                      <a:pt x="83" y="91"/>
                    </a:lnTo>
                    <a:lnTo>
                      <a:pt x="83" y="90"/>
                    </a:lnTo>
                    <a:lnTo>
                      <a:pt x="85" y="91"/>
                    </a:lnTo>
                    <a:lnTo>
                      <a:pt x="85" y="90"/>
                    </a:lnTo>
                    <a:lnTo>
                      <a:pt x="87" y="91"/>
                    </a:lnTo>
                    <a:lnTo>
                      <a:pt x="88" y="91"/>
                    </a:lnTo>
                    <a:lnTo>
                      <a:pt x="88" y="93"/>
                    </a:lnTo>
                    <a:lnTo>
                      <a:pt x="90" y="93"/>
                    </a:lnTo>
                    <a:lnTo>
                      <a:pt x="90" y="103"/>
                    </a:lnTo>
                    <a:lnTo>
                      <a:pt x="97" y="105"/>
                    </a:lnTo>
                    <a:lnTo>
                      <a:pt x="100" y="112"/>
                    </a:lnTo>
                    <a:lnTo>
                      <a:pt x="105" y="117"/>
                    </a:lnTo>
                    <a:lnTo>
                      <a:pt x="107" y="124"/>
                    </a:lnTo>
                    <a:lnTo>
                      <a:pt x="111" y="130"/>
                    </a:lnTo>
                    <a:lnTo>
                      <a:pt x="112" y="132"/>
                    </a:lnTo>
                    <a:lnTo>
                      <a:pt x="116" y="136"/>
                    </a:lnTo>
                    <a:lnTo>
                      <a:pt x="131" y="137"/>
                    </a:lnTo>
                    <a:lnTo>
                      <a:pt x="145" y="132"/>
                    </a:lnTo>
                    <a:lnTo>
                      <a:pt x="151" y="130"/>
                    </a:lnTo>
                    <a:lnTo>
                      <a:pt x="162" y="130"/>
                    </a:lnTo>
                    <a:lnTo>
                      <a:pt x="179" y="132"/>
                    </a:lnTo>
                    <a:lnTo>
                      <a:pt x="187" y="132"/>
                    </a:lnTo>
                    <a:lnTo>
                      <a:pt x="190" y="132"/>
                    </a:lnTo>
                    <a:lnTo>
                      <a:pt x="197" y="146"/>
                    </a:lnTo>
                    <a:lnTo>
                      <a:pt x="201" y="146"/>
                    </a:lnTo>
                    <a:lnTo>
                      <a:pt x="228" y="146"/>
                    </a:lnTo>
                    <a:lnTo>
                      <a:pt x="230" y="144"/>
                    </a:lnTo>
                    <a:lnTo>
                      <a:pt x="233" y="144"/>
                    </a:lnTo>
                    <a:lnTo>
                      <a:pt x="235" y="144"/>
                    </a:lnTo>
                    <a:lnTo>
                      <a:pt x="235" y="142"/>
                    </a:lnTo>
                    <a:lnTo>
                      <a:pt x="236" y="142"/>
                    </a:lnTo>
                    <a:lnTo>
                      <a:pt x="238" y="139"/>
                    </a:lnTo>
                    <a:lnTo>
                      <a:pt x="241" y="134"/>
                    </a:lnTo>
                    <a:lnTo>
                      <a:pt x="250" y="125"/>
                    </a:lnTo>
                    <a:lnTo>
                      <a:pt x="274" y="125"/>
                    </a:lnTo>
                    <a:lnTo>
                      <a:pt x="274" y="108"/>
                    </a:lnTo>
                    <a:lnTo>
                      <a:pt x="292" y="98"/>
                    </a:lnTo>
                    <a:lnTo>
                      <a:pt x="296" y="98"/>
                    </a:lnTo>
                    <a:lnTo>
                      <a:pt x="298" y="98"/>
                    </a:lnTo>
                    <a:lnTo>
                      <a:pt x="304" y="103"/>
                    </a:lnTo>
                    <a:lnTo>
                      <a:pt x="323" y="113"/>
                    </a:lnTo>
                    <a:lnTo>
                      <a:pt x="338" y="125"/>
                    </a:lnTo>
                    <a:lnTo>
                      <a:pt x="342" y="125"/>
                    </a:lnTo>
                    <a:lnTo>
                      <a:pt x="355" y="125"/>
                    </a:lnTo>
                    <a:lnTo>
                      <a:pt x="362" y="124"/>
                    </a:lnTo>
                    <a:lnTo>
                      <a:pt x="366" y="122"/>
                    </a:lnTo>
                    <a:lnTo>
                      <a:pt x="372" y="113"/>
                    </a:lnTo>
                    <a:lnTo>
                      <a:pt x="388" y="96"/>
                    </a:lnTo>
                    <a:lnTo>
                      <a:pt x="398" y="79"/>
                    </a:lnTo>
                    <a:lnTo>
                      <a:pt x="405" y="74"/>
                    </a:lnTo>
                    <a:lnTo>
                      <a:pt x="422" y="59"/>
                    </a:lnTo>
                    <a:lnTo>
                      <a:pt x="418" y="52"/>
                    </a:lnTo>
                    <a:lnTo>
                      <a:pt x="418" y="32"/>
                    </a:lnTo>
                    <a:lnTo>
                      <a:pt x="417" y="27"/>
                    </a:lnTo>
                    <a:lnTo>
                      <a:pt x="417" y="25"/>
                    </a:lnTo>
                    <a:lnTo>
                      <a:pt x="403" y="13"/>
                    </a:lnTo>
                    <a:lnTo>
                      <a:pt x="432" y="13"/>
                    </a:lnTo>
                    <a:lnTo>
                      <a:pt x="435" y="15"/>
                    </a:lnTo>
                    <a:lnTo>
                      <a:pt x="435" y="10"/>
                    </a:lnTo>
                    <a:lnTo>
                      <a:pt x="435" y="3"/>
                    </a:lnTo>
                    <a:lnTo>
                      <a:pt x="435" y="1"/>
                    </a:lnTo>
                    <a:lnTo>
                      <a:pt x="434" y="0"/>
                    </a:lnTo>
                    <a:lnTo>
                      <a:pt x="437" y="0"/>
                    </a:lnTo>
                    <a:lnTo>
                      <a:pt x="461" y="1"/>
                    </a:lnTo>
                    <a:lnTo>
                      <a:pt x="461" y="0"/>
                    </a:lnTo>
                    <a:lnTo>
                      <a:pt x="462" y="1"/>
                    </a:lnTo>
                    <a:lnTo>
                      <a:pt x="461" y="3"/>
                    </a:lnTo>
                    <a:lnTo>
                      <a:pt x="457" y="23"/>
                    </a:lnTo>
                    <a:lnTo>
                      <a:pt x="456" y="30"/>
                    </a:lnTo>
                    <a:lnTo>
                      <a:pt x="459" y="49"/>
                    </a:lnTo>
                    <a:lnTo>
                      <a:pt x="461" y="57"/>
                    </a:lnTo>
                    <a:lnTo>
                      <a:pt x="462" y="71"/>
                    </a:lnTo>
                    <a:lnTo>
                      <a:pt x="459" y="74"/>
                    </a:lnTo>
                    <a:lnTo>
                      <a:pt x="461" y="76"/>
                    </a:lnTo>
                    <a:lnTo>
                      <a:pt x="473" y="79"/>
                    </a:lnTo>
                    <a:lnTo>
                      <a:pt x="481" y="90"/>
                    </a:lnTo>
                    <a:lnTo>
                      <a:pt x="488" y="95"/>
                    </a:lnTo>
                    <a:lnTo>
                      <a:pt x="493" y="103"/>
                    </a:lnTo>
                    <a:lnTo>
                      <a:pt x="496" y="105"/>
                    </a:lnTo>
                    <a:lnTo>
                      <a:pt x="498" y="108"/>
                    </a:lnTo>
                    <a:lnTo>
                      <a:pt x="498" y="110"/>
                    </a:lnTo>
                    <a:lnTo>
                      <a:pt x="498" y="117"/>
                    </a:lnTo>
                    <a:lnTo>
                      <a:pt x="496" y="122"/>
                    </a:lnTo>
                    <a:lnTo>
                      <a:pt x="495" y="125"/>
                    </a:lnTo>
                    <a:lnTo>
                      <a:pt x="493" y="129"/>
                    </a:lnTo>
                    <a:lnTo>
                      <a:pt x="493" y="132"/>
                    </a:lnTo>
                    <a:lnTo>
                      <a:pt x="493" y="137"/>
                    </a:lnTo>
                    <a:lnTo>
                      <a:pt x="505" y="137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4" name="Freeform 55">
                <a:extLst>
                  <a:ext uri="{FF2B5EF4-FFF2-40B4-BE49-F238E27FC236}">
                    <a16:creationId xmlns:a16="http://schemas.microsoft.com/office/drawing/2014/main" id="{F1E921E6-9237-4A8A-AB96-FFF9225F041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329182" y="1682680"/>
                <a:ext cx="1354098" cy="1071519"/>
              </a:xfrm>
              <a:custGeom>
                <a:avLst/>
                <a:gdLst>
                  <a:gd name="T0" fmla="*/ 782 w 853"/>
                  <a:gd name="T1" fmla="*/ 42 h 675"/>
                  <a:gd name="T2" fmla="*/ 779 w 853"/>
                  <a:gd name="T3" fmla="*/ 44 h 675"/>
                  <a:gd name="T4" fmla="*/ 775 w 853"/>
                  <a:gd name="T5" fmla="*/ 47 h 675"/>
                  <a:gd name="T6" fmla="*/ 779 w 853"/>
                  <a:gd name="T7" fmla="*/ 80 h 675"/>
                  <a:gd name="T8" fmla="*/ 779 w 853"/>
                  <a:gd name="T9" fmla="*/ 100 h 675"/>
                  <a:gd name="T10" fmla="*/ 780 w 853"/>
                  <a:gd name="T11" fmla="*/ 122 h 675"/>
                  <a:gd name="T12" fmla="*/ 787 w 853"/>
                  <a:gd name="T13" fmla="*/ 146 h 675"/>
                  <a:gd name="T14" fmla="*/ 794 w 853"/>
                  <a:gd name="T15" fmla="*/ 165 h 675"/>
                  <a:gd name="T16" fmla="*/ 821 w 853"/>
                  <a:gd name="T17" fmla="*/ 178 h 675"/>
                  <a:gd name="T18" fmla="*/ 833 w 853"/>
                  <a:gd name="T19" fmla="*/ 189 h 675"/>
                  <a:gd name="T20" fmla="*/ 840 w 853"/>
                  <a:gd name="T21" fmla="*/ 197 h 675"/>
                  <a:gd name="T22" fmla="*/ 848 w 853"/>
                  <a:gd name="T23" fmla="*/ 199 h 675"/>
                  <a:gd name="T24" fmla="*/ 830 w 853"/>
                  <a:gd name="T25" fmla="*/ 226 h 675"/>
                  <a:gd name="T26" fmla="*/ 818 w 853"/>
                  <a:gd name="T27" fmla="*/ 229 h 675"/>
                  <a:gd name="T28" fmla="*/ 796 w 853"/>
                  <a:gd name="T29" fmla="*/ 245 h 675"/>
                  <a:gd name="T30" fmla="*/ 768 w 853"/>
                  <a:gd name="T31" fmla="*/ 250 h 675"/>
                  <a:gd name="T32" fmla="*/ 763 w 853"/>
                  <a:gd name="T33" fmla="*/ 272 h 675"/>
                  <a:gd name="T34" fmla="*/ 750 w 853"/>
                  <a:gd name="T35" fmla="*/ 332 h 675"/>
                  <a:gd name="T36" fmla="*/ 745 w 853"/>
                  <a:gd name="T37" fmla="*/ 415 h 675"/>
                  <a:gd name="T38" fmla="*/ 724 w 853"/>
                  <a:gd name="T39" fmla="*/ 473 h 675"/>
                  <a:gd name="T40" fmla="*/ 690 w 853"/>
                  <a:gd name="T41" fmla="*/ 495 h 675"/>
                  <a:gd name="T42" fmla="*/ 673 w 853"/>
                  <a:gd name="T43" fmla="*/ 525 h 675"/>
                  <a:gd name="T44" fmla="*/ 661 w 853"/>
                  <a:gd name="T45" fmla="*/ 571 h 675"/>
                  <a:gd name="T46" fmla="*/ 632 w 853"/>
                  <a:gd name="T47" fmla="*/ 583 h 675"/>
                  <a:gd name="T48" fmla="*/ 612 w 853"/>
                  <a:gd name="T49" fmla="*/ 634 h 675"/>
                  <a:gd name="T50" fmla="*/ 607 w 853"/>
                  <a:gd name="T51" fmla="*/ 592 h 675"/>
                  <a:gd name="T52" fmla="*/ 580 w 853"/>
                  <a:gd name="T53" fmla="*/ 500 h 675"/>
                  <a:gd name="T54" fmla="*/ 551 w 853"/>
                  <a:gd name="T55" fmla="*/ 510 h 675"/>
                  <a:gd name="T56" fmla="*/ 491 w 853"/>
                  <a:gd name="T57" fmla="*/ 610 h 675"/>
                  <a:gd name="T58" fmla="*/ 411 w 853"/>
                  <a:gd name="T59" fmla="*/ 595 h 675"/>
                  <a:gd name="T60" fmla="*/ 349 w 853"/>
                  <a:gd name="T61" fmla="*/ 641 h 675"/>
                  <a:gd name="T62" fmla="*/ 250 w 853"/>
                  <a:gd name="T63" fmla="*/ 634 h 675"/>
                  <a:gd name="T64" fmla="*/ 207 w 853"/>
                  <a:gd name="T65" fmla="*/ 590 h 675"/>
                  <a:gd name="T66" fmla="*/ 199 w 853"/>
                  <a:gd name="T67" fmla="*/ 588 h 675"/>
                  <a:gd name="T68" fmla="*/ 185 w 853"/>
                  <a:gd name="T69" fmla="*/ 590 h 675"/>
                  <a:gd name="T70" fmla="*/ 175 w 853"/>
                  <a:gd name="T71" fmla="*/ 592 h 675"/>
                  <a:gd name="T72" fmla="*/ 165 w 853"/>
                  <a:gd name="T73" fmla="*/ 597 h 675"/>
                  <a:gd name="T74" fmla="*/ 165 w 853"/>
                  <a:gd name="T75" fmla="*/ 607 h 675"/>
                  <a:gd name="T76" fmla="*/ 156 w 853"/>
                  <a:gd name="T77" fmla="*/ 616 h 675"/>
                  <a:gd name="T78" fmla="*/ 141 w 853"/>
                  <a:gd name="T79" fmla="*/ 650 h 675"/>
                  <a:gd name="T80" fmla="*/ 117 w 853"/>
                  <a:gd name="T81" fmla="*/ 675 h 675"/>
                  <a:gd name="T82" fmla="*/ 90 w 853"/>
                  <a:gd name="T83" fmla="*/ 672 h 675"/>
                  <a:gd name="T84" fmla="*/ 83 w 853"/>
                  <a:gd name="T85" fmla="*/ 660 h 675"/>
                  <a:gd name="T86" fmla="*/ 92 w 853"/>
                  <a:gd name="T87" fmla="*/ 643 h 675"/>
                  <a:gd name="T88" fmla="*/ 83 w 853"/>
                  <a:gd name="T89" fmla="*/ 597 h 675"/>
                  <a:gd name="T90" fmla="*/ 60 w 853"/>
                  <a:gd name="T91" fmla="*/ 542 h 675"/>
                  <a:gd name="T92" fmla="*/ 37 w 853"/>
                  <a:gd name="T93" fmla="*/ 505 h 675"/>
                  <a:gd name="T94" fmla="*/ 32 w 853"/>
                  <a:gd name="T95" fmla="*/ 476 h 675"/>
                  <a:gd name="T96" fmla="*/ 2 w 853"/>
                  <a:gd name="T97" fmla="*/ 466 h 675"/>
                  <a:gd name="T98" fmla="*/ 24 w 853"/>
                  <a:gd name="T99" fmla="*/ 437 h 675"/>
                  <a:gd name="T100" fmla="*/ 32 w 853"/>
                  <a:gd name="T101" fmla="*/ 403 h 675"/>
                  <a:gd name="T102" fmla="*/ 32 w 853"/>
                  <a:gd name="T103" fmla="*/ 381 h 675"/>
                  <a:gd name="T104" fmla="*/ 53 w 853"/>
                  <a:gd name="T105" fmla="*/ 354 h 675"/>
                  <a:gd name="T106" fmla="*/ 58 w 853"/>
                  <a:gd name="T107" fmla="*/ 326 h 675"/>
                  <a:gd name="T108" fmla="*/ 111 w 853"/>
                  <a:gd name="T109" fmla="*/ 294 h 675"/>
                  <a:gd name="T110" fmla="*/ 162 w 853"/>
                  <a:gd name="T111" fmla="*/ 47 h 675"/>
                  <a:gd name="T112" fmla="*/ 622 w 853"/>
                  <a:gd name="T113" fmla="*/ 0 h 675"/>
                  <a:gd name="T114" fmla="*/ 843 w 853"/>
                  <a:gd name="T115" fmla="*/ 194 h 675"/>
                  <a:gd name="T116" fmla="*/ 819 w 853"/>
                  <a:gd name="T117" fmla="*/ 165 h 675"/>
                  <a:gd name="T118" fmla="*/ 835 w 853"/>
                  <a:gd name="T119" fmla="*/ 189 h 675"/>
                  <a:gd name="T120" fmla="*/ 853 w 853"/>
                  <a:gd name="T121" fmla="*/ 175 h 675"/>
                  <a:gd name="T122" fmla="*/ 845 w 853"/>
                  <a:gd name="T123" fmla="*/ 167 h 6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53" h="675">
                    <a:moveTo>
                      <a:pt x="763" y="2"/>
                    </a:moveTo>
                    <a:lnTo>
                      <a:pt x="762" y="2"/>
                    </a:lnTo>
                    <a:lnTo>
                      <a:pt x="763" y="5"/>
                    </a:lnTo>
                    <a:lnTo>
                      <a:pt x="763" y="8"/>
                    </a:lnTo>
                    <a:lnTo>
                      <a:pt x="763" y="10"/>
                    </a:lnTo>
                    <a:lnTo>
                      <a:pt x="763" y="12"/>
                    </a:lnTo>
                    <a:lnTo>
                      <a:pt x="765" y="22"/>
                    </a:lnTo>
                    <a:lnTo>
                      <a:pt x="772" y="34"/>
                    </a:lnTo>
                    <a:lnTo>
                      <a:pt x="777" y="37"/>
                    </a:lnTo>
                    <a:lnTo>
                      <a:pt x="782" y="42"/>
                    </a:lnTo>
                    <a:lnTo>
                      <a:pt x="784" y="47"/>
                    </a:lnTo>
                    <a:lnTo>
                      <a:pt x="785" y="47"/>
                    </a:lnTo>
                    <a:lnTo>
                      <a:pt x="785" y="51"/>
                    </a:lnTo>
                    <a:lnTo>
                      <a:pt x="782" y="51"/>
                    </a:lnTo>
                    <a:lnTo>
                      <a:pt x="779" y="46"/>
                    </a:lnTo>
                    <a:lnTo>
                      <a:pt x="782" y="47"/>
                    </a:lnTo>
                    <a:lnTo>
                      <a:pt x="784" y="49"/>
                    </a:lnTo>
                    <a:lnTo>
                      <a:pt x="782" y="47"/>
                    </a:lnTo>
                    <a:lnTo>
                      <a:pt x="782" y="44"/>
                    </a:lnTo>
                    <a:lnTo>
                      <a:pt x="779" y="44"/>
                    </a:lnTo>
                    <a:lnTo>
                      <a:pt x="780" y="44"/>
                    </a:lnTo>
                    <a:lnTo>
                      <a:pt x="779" y="44"/>
                    </a:lnTo>
                    <a:lnTo>
                      <a:pt x="779" y="41"/>
                    </a:lnTo>
                    <a:lnTo>
                      <a:pt x="777" y="41"/>
                    </a:lnTo>
                    <a:lnTo>
                      <a:pt x="774" y="42"/>
                    </a:lnTo>
                    <a:lnTo>
                      <a:pt x="775" y="44"/>
                    </a:lnTo>
                    <a:lnTo>
                      <a:pt x="777" y="44"/>
                    </a:lnTo>
                    <a:lnTo>
                      <a:pt x="775" y="46"/>
                    </a:lnTo>
                    <a:lnTo>
                      <a:pt x="777" y="47"/>
                    </a:lnTo>
                    <a:lnTo>
                      <a:pt x="775" y="47"/>
                    </a:lnTo>
                    <a:lnTo>
                      <a:pt x="774" y="49"/>
                    </a:lnTo>
                    <a:lnTo>
                      <a:pt x="777" y="56"/>
                    </a:lnTo>
                    <a:lnTo>
                      <a:pt x="779" y="68"/>
                    </a:lnTo>
                    <a:lnTo>
                      <a:pt x="780" y="70"/>
                    </a:lnTo>
                    <a:lnTo>
                      <a:pt x="780" y="71"/>
                    </a:lnTo>
                    <a:lnTo>
                      <a:pt x="782" y="75"/>
                    </a:lnTo>
                    <a:lnTo>
                      <a:pt x="782" y="78"/>
                    </a:lnTo>
                    <a:lnTo>
                      <a:pt x="780" y="80"/>
                    </a:lnTo>
                    <a:lnTo>
                      <a:pt x="780" y="78"/>
                    </a:lnTo>
                    <a:lnTo>
                      <a:pt x="779" y="80"/>
                    </a:lnTo>
                    <a:lnTo>
                      <a:pt x="780" y="81"/>
                    </a:lnTo>
                    <a:lnTo>
                      <a:pt x="779" y="83"/>
                    </a:lnTo>
                    <a:lnTo>
                      <a:pt x="780" y="88"/>
                    </a:lnTo>
                    <a:lnTo>
                      <a:pt x="779" y="92"/>
                    </a:lnTo>
                    <a:lnTo>
                      <a:pt x="780" y="90"/>
                    </a:lnTo>
                    <a:lnTo>
                      <a:pt x="780" y="93"/>
                    </a:lnTo>
                    <a:lnTo>
                      <a:pt x="780" y="98"/>
                    </a:lnTo>
                    <a:lnTo>
                      <a:pt x="780" y="100"/>
                    </a:lnTo>
                    <a:lnTo>
                      <a:pt x="780" y="98"/>
                    </a:lnTo>
                    <a:lnTo>
                      <a:pt x="779" y="100"/>
                    </a:lnTo>
                    <a:lnTo>
                      <a:pt x="779" y="102"/>
                    </a:lnTo>
                    <a:lnTo>
                      <a:pt x="780" y="105"/>
                    </a:lnTo>
                    <a:lnTo>
                      <a:pt x="780" y="107"/>
                    </a:lnTo>
                    <a:lnTo>
                      <a:pt x="782" y="109"/>
                    </a:lnTo>
                    <a:lnTo>
                      <a:pt x="782" y="110"/>
                    </a:lnTo>
                    <a:lnTo>
                      <a:pt x="784" y="110"/>
                    </a:lnTo>
                    <a:lnTo>
                      <a:pt x="784" y="114"/>
                    </a:lnTo>
                    <a:lnTo>
                      <a:pt x="782" y="119"/>
                    </a:lnTo>
                    <a:lnTo>
                      <a:pt x="782" y="122"/>
                    </a:lnTo>
                    <a:lnTo>
                      <a:pt x="780" y="122"/>
                    </a:lnTo>
                    <a:lnTo>
                      <a:pt x="780" y="121"/>
                    </a:lnTo>
                    <a:lnTo>
                      <a:pt x="780" y="122"/>
                    </a:lnTo>
                    <a:lnTo>
                      <a:pt x="782" y="122"/>
                    </a:lnTo>
                    <a:lnTo>
                      <a:pt x="782" y="124"/>
                    </a:lnTo>
                    <a:lnTo>
                      <a:pt x="784" y="127"/>
                    </a:lnTo>
                    <a:lnTo>
                      <a:pt x="784" y="129"/>
                    </a:lnTo>
                    <a:lnTo>
                      <a:pt x="785" y="134"/>
                    </a:lnTo>
                    <a:lnTo>
                      <a:pt x="785" y="136"/>
                    </a:lnTo>
                    <a:lnTo>
                      <a:pt x="785" y="138"/>
                    </a:lnTo>
                    <a:lnTo>
                      <a:pt x="787" y="146"/>
                    </a:lnTo>
                    <a:lnTo>
                      <a:pt x="785" y="148"/>
                    </a:lnTo>
                    <a:lnTo>
                      <a:pt x="787" y="148"/>
                    </a:lnTo>
                    <a:lnTo>
                      <a:pt x="787" y="146"/>
                    </a:lnTo>
                    <a:lnTo>
                      <a:pt x="789" y="149"/>
                    </a:lnTo>
                    <a:lnTo>
                      <a:pt x="789" y="153"/>
                    </a:lnTo>
                    <a:lnTo>
                      <a:pt x="791" y="153"/>
                    </a:lnTo>
                    <a:lnTo>
                      <a:pt x="789" y="155"/>
                    </a:lnTo>
                    <a:lnTo>
                      <a:pt x="791" y="156"/>
                    </a:lnTo>
                    <a:lnTo>
                      <a:pt x="791" y="160"/>
                    </a:lnTo>
                    <a:lnTo>
                      <a:pt x="794" y="165"/>
                    </a:lnTo>
                    <a:lnTo>
                      <a:pt x="797" y="167"/>
                    </a:lnTo>
                    <a:lnTo>
                      <a:pt x="799" y="168"/>
                    </a:lnTo>
                    <a:lnTo>
                      <a:pt x="802" y="167"/>
                    </a:lnTo>
                    <a:lnTo>
                      <a:pt x="804" y="167"/>
                    </a:lnTo>
                    <a:lnTo>
                      <a:pt x="804" y="168"/>
                    </a:lnTo>
                    <a:lnTo>
                      <a:pt x="808" y="168"/>
                    </a:lnTo>
                    <a:lnTo>
                      <a:pt x="809" y="170"/>
                    </a:lnTo>
                    <a:lnTo>
                      <a:pt x="809" y="172"/>
                    </a:lnTo>
                    <a:lnTo>
                      <a:pt x="818" y="175"/>
                    </a:lnTo>
                    <a:lnTo>
                      <a:pt x="821" y="178"/>
                    </a:lnTo>
                    <a:lnTo>
                      <a:pt x="826" y="182"/>
                    </a:lnTo>
                    <a:lnTo>
                      <a:pt x="825" y="184"/>
                    </a:lnTo>
                    <a:lnTo>
                      <a:pt x="825" y="187"/>
                    </a:lnTo>
                    <a:lnTo>
                      <a:pt x="825" y="189"/>
                    </a:lnTo>
                    <a:lnTo>
                      <a:pt x="826" y="190"/>
                    </a:lnTo>
                    <a:lnTo>
                      <a:pt x="828" y="190"/>
                    </a:lnTo>
                    <a:lnTo>
                      <a:pt x="828" y="192"/>
                    </a:lnTo>
                    <a:lnTo>
                      <a:pt x="831" y="192"/>
                    </a:lnTo>
                    <a:lnTo>
                      <a:pt x="833" y="192"/>
                    </a:lnTo>
                    <a:lnTo>
                      <a:pt x="833" y="189"/>
                    </a:lnTo>
                    <a:lnTo>
                      <a:pt x="835" y="190"/>
                    </a:lnTo>
                    <a:lnTo>
                      <a:pt x="833" y="190"/>
                    </a:lnTo>
                    <a:lnTo>
                      <a:pt x="835" y="190"/>
                    </a:lnTo>
                    <a:lnTo>
                      <a:pt x="833" y="194"/>
                    </a:lnTo>
                    <a:lnTo>
                      <a:pt x="838" y="195"/>
                    </a:lnTo>
                    <a:lnTo>
                      <a:pt x="838" y="194"/>
                    </a:lnTo>
                    <a:lnTo>
                      <a:pt x="840" y="194"/>
                    </a:lnTo>
                    <a:lnTo>
                      <a:pt x="842" y="195"/>
                    </a:lnTo>
                    <a:lnTo>
                      <a:pt x="840" y="195"/>
                    </a:lnTo>
                    <a:lnTo>
                      <a:pt x="840" y="197"/>
                    </a:lnTo>
                    <a:lnTo>
                      <a:pt x="842" y="199"/>
                    </a:lnTo>
                    <a:lnTo>
                      <a:pt x="843" y="197"/>
                    </a:lnTo>
                    <a:lnTo>
                      <a:pt x="845" y="199"/>
                    </a:lnTo>
                    <a:lnTo>
                      <a:pt x="843" y="199"/>
                    </a:lnTo>
                    <a:lnTo>
                      <a:pt x="845" y="199"/>
                    </a:lnTo>
                    <a:lnTo>
                      <a:pt x="845" y="201"/>
                    </a:lnTo>
                    <a:lnTo>
                      <a:pt x="847" y="199"/>
                    </a:lnTo>
                    <a:lnTo>
                      <a:pt x="845" y="199"/>
                    </a:lnTo>
                    <a:lnTo>
                      <a:pt x="847" y="197"/>
                    </a:lnTo>
                    <a:lnTo>
                      <a:pt x="848" y="199"/>
                    </a:lnTo>
                    <a:lnTo>
                      <a:pt x="848" y="202"/>
                    </a:lnTo>
                    <a:lnTo>
                      <a:pt x="850" y="202"/>
                    </a:lnTo>
                    <a:lnTo>
                      <a:pt x="848" y="204"/>
                    </a:lnTo>
                    <a:lnTo>
                      <a:pt x="843" y="209"/>
                    </a:lnTo>
                    <a:lnTo>
                      <a:pt x="838" y="218"/>
                    </a:lnTo>
                    <a:lnTo>
                      <a:pt x="838" y="221"/>
                    </a:lnTo>
                    <a:lnTo>
                      <a:pt x="835" y="223"/>
                    </a:lnTo>
                    <a:lnTo>
                      <a:pt x="833" y="226"/>
                    </a:lnTo>
                    <a:lnTo>
                      <a:pt x="831" y="226"/>
                    </a:lnTo>
                    <a:lnTo>
                      <a:pt x="830" y="226"/>
                    </a:lnTo>
                    <a:lnTo>
                      <a:pt x="828" y="224"/>
                    </a:lnTo>
                    <a:lnTo>
                      <a:pt x="826" y="226"/>
                    </a:lnTo>
                    <a:lnTo>
                      <a:pt x="826" y="224"/>
                    </a:lnTo>
                    <a:lnTo>
                      <a:pt x="825" y="226"/>
                    </a:lnTo>
                    <a:lnTo>
                      <a:pt x="825" y="228"/>
                    </a:lnTo>
                    <a:lnTo>
                      <a:pt x="823" y="228"/>
                    </a:lnTo>
                    <a:lnTo>
                      <a:pt x="823" y="226"/>
                    </a:lnTo>
                    <a:lnTo>
                      <a:pt x="821" y="226"/>
                    </a:lnTo>
                    <a:lnTo>
                      <a:pt x="819" y="226"/>
                    </a:lnTo>
                    <a:lnTo>
                      <a:pt x="818" y="229"/>
                    </a:lnTo>
                    <a:lnTo>
                      <a:pt x="818" y="231"/>
                    </a:lnTo>
                    <a:lnTo>
                      <a:pt x="814" y="231"/>
                    </a:lnTo>
                    <a:lnTo>
                      <a:pt x="813" y="229"/>
                    </a:lnTo>
                    <a:lnTo>
                      <a:pt x="809" y="229"/>
                    </a:lnTo>
                    <a:lnTo>
                      <a:pt x="808" y="235"/>
                    </a:lnTo>
                    <a:lnTo>
                      <a:pt x="801" y="236"/>
                    </a:lnTo>
                    <a:lnTo>
                      <a:pt x="794" y="238"/>
                    </a:lnTo>
                    <a:lnTo>
                      <a:pt x="796" y="241"/>
                    </a:lnTo>
                    <a:lnTo>
                      <a:pt x="794" y="241"/>
                    </a:lnTo>
                    <a:lnTo>
                      <a:pt x="796" y="245"/>
                    </a:lnTo>
                    <a:lnTo>
                      <a:pt x="794" y="245"/>
                    </a:lnTo>
                    <a:lnTo>
                      <a:pt x="792" y="248"/>
                    </a:lnTo>
                    <a:lnTo>
                      <a:pt x="791" y="250"/>
                    </a:lnTo>
                    <a:lnTo>
                      <a:pt x="789" y="252"/>
                    </a:lnTo>
                    <a:lnTo>
                      <a:pt x="784" y="250"/>
                    </a:lnTo>
                    <a:lnTo>
                      <a:pt x="777" y="252"/>
                    </a:lnTo>
                    <a:lnTo>
                      <a:pt x="774" y="250"/>
                    </a:lnTo>
                    <a:lnTo>
                      <a:pt x="772" y="250"/>
                    </a:lnTo>
                    <a:lnTo>
                      <a:pt x="770" y="250"/>
                    </a:lnTo>
                    <a:lnTo>
                      <a:pt x="768" y="250"/>
                    </a:lnTo>
                    <a:lnTo>
                      <a:pt x="770" y="253"/>
                    </a:lnTo>
                    <a:lnTo>
                      <a:pt x="767" y="257"/>
                    </a:lnTo>
                    <a:lnTo>
                      <a:pt x="770" y="260"/>
                    </a:lnTo>
                    <a:lnTo>
                      <a:pt x="768" y="262"/>
                    </a:lnTo>
                    <a:lnTo>
                      <a:pt x="770" y="263"/>
                    </a:lnTo>
                    <a:lnTo>
                      <a:pt x="768" y="267"/>
                    </a:lnTo>
                    <a:lnTo>
                      <a:pt x="768" y="269"/>
                    </a:lnTo>
                    <a:lnTo>
                      <a:pt x="767" y="270"/>
                    </a:lnTo>
                    <a:lnTo>
                      <a:pt x="767" y="272"/>
                    </a:lnTo>
                    <a:lnTo>
                      <a:pt x="763" y="272"/>
                    </a:lnTo>
                    <a:lnTo>
                      <a:pt x="763" y="275"/>
                    </a:lnTo>
                    <a:lnTo>
                      <a:pt x="763" y="279"/>
                    </a:lnTo>
                    <a:lnTo>
                      <a:pt x="765" y="282"/>
                    </a:lnTo>
                    <a:lnTo>
                      <a:pt x="767" y="284"/>
                    </a:lnTo>
                    <a:lnTo>
                      <a:pt x="765" y="289"/>
                    </a:lnTo>
                    <a:lnTo>
                      <a:pt x="767" y="291"/>
                    </a:lnTo>
                    <a:lnTo>
                      <a:pt x="763" y="294"/>
                    </a:lnTo>
                    <a:lnTo>
                      <a:pt x="757" y="313"/>
                    </a:lnTo>
                    <a:lnTo>
                      <a:pt x="753" y="318"/>
                    </a:lnTo>
                    <a:lnTo>
                      <a:pt x="750" y="332"/>
                    </a:lnTo>
                    <a:lnTo>
                      <a:pt x="751" y="332"/>
                    </a:lnTo>
                    <a:lnTo>
                      <a:pt x="746" y="343"/>
                    </a:lnTo>
                    <a:lnTo>
                      <a:pt x="741" y="347"/>
                    </a:lnTo>
                    <a:lnTo>
                      <a:pt x="743" y="367"/>
                    </a:lnTo>
                    <a:lnTo>
                      <a:pt x="745" y="379"/>
                    </a:lnTo>
                    <a:lnTo>
                      <a:pt x="745" y="389"/>
                    </a:lnTo>
                    <a:lnTo>
                      <a:pt x="746" y="393"/>
                    </a:lnTo>
                    <a:lnTo>
                      <a:pt x="745" y="403"/>
                    </a:lnTo>
                    <a:lnTo>
                      <a:pt x="741" y="408"/>
                    </a:lnTo>
                    <a:lnTo>
                      <a:pt x="745" y="415"/>
                    </a:lnTo>
                    <a:lnTo>
                      <a:pt x="740" y="420"/>
                    </a:lnTo>
                    <a:lnTo>
                      <a:pt x="738" y="427"/>
                    </a:lnTo>
                    <a:lnTo>
                      <a:pt x="738" y="430"/>
                    </a:lnTo>
                    <a:lnTo>
                      <a:pt x="733" y="440"/>
                    </a:lnTo>
                    <a:lnTo>
                      <a:pt x="731" y="442"/>
                    </a:lnTo>
                    <a:lnTo>
                      <a:pt x="726" y="459"/>
                    </a:lnTo>
                    <a:lnTo>
                      <a:pt x="728" y="462"/>
                    </a:lnTo>
                    <a:lnTo>
                      <a:pt x="728" y="469"/>
                    </a:lnTo>
                    <a:lnTo>
                      <a:pt x="728" y="473"/>
                    </a:lnTo>
                    <a:lnTo>
                      <a:pt x="724" y="473"/>
                    </a:lnTo>
                    <a:lnTo>
                      <a:pt x="724" y="471"/>
                    </a:lnTo>
                    <a:lnTo>
                      <a:pt x="719" y="471"/>
                    </a:lnTo>
                    <a:lnTo>
                      <a:pt x="707" y="474"/>
                    </a:lnTo>
                    <a:lnTo>
                      <a:pt x="707" y="473"/>
                    </a:lnTo>
                    <a:lnTo>
                      <a:pt x="706" y="474"/>
                    </a:lnTo>
                    <a:lnTo>
                      <a:pt x="704" y="473"/>
                    </a:lnTo>
                    <a:lnTo>
                      <a:pt x="704" y="474"/>
                    </a:lnTo>
                    <a:lnTo>
                      <a:pt x="704" y="476"/>
                    </a:lnTo>
                    <a:lnTo>
                      <a:pt x="700" y="476"/>
                    </a:lnTo>
                    <a:lnTo>
                      <a:pt x="690" y="495"/>
                    </a:lnTo>
                    <a:lnTo>
                      <a:pt x="690" y="497"/>
                    </a:lnTo>
                    <a:lnTo>
                      <a:pt x="689" y="498"/>
                    </a:lnTo>
                    <a:lnTo>
                      <a:pt x="687" y="502"/>
                    </a:lnTo>
                    <a:lnTo>
                      <a:pt x="685" y="503"/>
                    </a:lnTo>
                    <a:lnTo>
                      <a:pt x="685" y="505"/>
                    </a:lnTo>
                    <a:lnTo>
                      <a:pt x="683" y="507"/>
                    </a:lnTo>
                    <a:lnTo>
                      <a:pt x="682" y="510"/>
                    </a:lnTo>
                    <a:lnTo>
                      <a:pt x="673" y="517"/>
                    </a:lnTo>
                    <a:lnTo>
                      <a:pt x="672" y="520"/>
                    </a:lnTo>
                    <a:lnTo>
                      <a:pt x="673" y="525"/>
                    </a:lnTo>
                    <a:lnTo>
                      <a:pt x="673" y="531"/>
                    </a:lnTo>
                    <a:lnTo>
                      <a:pt x="672" y="534"/>
                    </a:lnTo>
                    <a:lnTo>
                      <a:pt x="672" y="536"/>
                    </a:lnTo>
                    <a:lnTo>
                      <a:pt x="668" y="541"/>
                    </a:lnTo>
                    <a:lnTo>
                      <a:pt x="668" y="542"/>
                    </a:lnTo>
                    <a:lnTo>
                      <a:pt x="666" y="546"/>
                    </a:lnTo>
                    <a:lnTo>
                      <a:pt x="668" y="549"/>
                    </a:lnTo>
                    <a:lnTo>
                      <a:pt x="666" y="559"/>
                    </a:lnTo>
                    <a:lnTo>
                      <a:pt x="666" y="563"/>
                    </a:lnTo>
                    <a:lnTo>
                      <a:pt x="661" y="571"/>
                    </a:lnTo>
                    <a:lnTo>
                      <a:pt x="660" y="571"/>
                    </a:lnTo>
                    <a:lnTo>
                      <a:pt x="658" y="573"/>
                    </a:lnTo>
                    <a:lnTo>
                      <a:pt x="656" y="573"/>
                    </a:lnTo>
                    <a:lnTo>
                      <a:pt x="656" y="570"/>
                    </a:lnTo>
                    <a:lnTo>
                      <a:pt x="653" y="566"/>
                    </a:lnTo>
                    <a:lnTo>
                      <a:pt x="648" y="563"/>
                    </a:lnTo>
                    <a:lnTo>
                      <a:pt x="641" y="568"/>
                    </a:lnTo>
                    <a:lnTo>
                      <a:pt x="638" y="575"/>
                    </a:lnTo>
                    <a:lnTo>
                      <a:pt x="632" y="578"/>
                    </a:lnTo>
                    <a:lnTo>
                      <a:pt x="632" y="583"/>
                    </a:lnTo>
                    <a:lnTo>
                      <a:pt x="634" y="585"/>
                    </a:lnTo>
                    <a:lnTo>
                      <a:pt x="632" y="588"/>
                    </a:lnTo>
                    <a:lnTo>
                      <a:pt x="636" y="599"/>
                    </a:lnTo>
                    <a:lnTo>
                      <a:pt x="636" y="600"/>
                    </a:lnTo>
                    <a:lnTo>
                      <a:pt x="634" y="602"/>
                    </a:lnTo>
                    <a:lnTo>
                      <a:pt x="629" y="607"/>
                    </a:lnTo>
                    <a:lnTo>
                      <a:pt x="629" y="614"/>
                    </a:lnTo>
                    <a:lnTo>
                      <a:pt x="624" y="629"/>
                    </a:lnTo>
                    <a:lnTo>
                      <a:pt x="624" y="634"/>
                    </a:lnTo>
                    <a:lnTo>
                      <a:pt x="612" y="634"/>
                    </a:lnTo>
                    <a:lnTo>
                      <a:pt x="612" y="629"/>
                    </a:lnTo>
                    <a:lnTo>
                      <a:pt x="612" y="626"/>
                    </a:lnTo>
                    <a:lnTo>
                      <a:pt x="614" y="622"/>
                    </a:lnTo>
                    <a:lnTo>
                      <a:pt x="615" y="619"/>
                    </a:lnTo>
                    <a:lnTo>
                      <a:pt x="617" y="614"/>
                    </a:lnTo>
                    <a:lnTo>
                      <a:pt x="617" y="607"/>
                    </a:lnTo>
                    <a:lnTo>
                      <a:pt x="617" y="605"/>
                    </a:lnTo>
                    <a:lnTo>
                      <a:pt x="615" y="602"/>
                    </a:lnTo>
                    <a:lnTo>
                      <a:pt x="612" y="600"/>
                    </a:lnTo>
                    <a:lnTo>
                      <a:pt x="607" y="592"/>
                    </a:lnTo>
                    <a:lnTo>
                      <a:pt x="600" y="587"/>
                    </a:lnTo>
                    <a:lnTo>
                      <a:pt x="592" y="576"/>
                    </a:lnTo>
                    <a:lnTo>
                      <a:pt x="580" y="573"/>
                    </a:lnTo>
                    <a:lnTo>
                      <a:pt x="578" y="571"/>
                    </a:lnTo>
                    <a:lnTo>
                      <a:pt x="581" y="568"/>
                    </a:lnTo>
                    <a:lnTo>
                      <a:pt x="580" y="554"/>
                    </a:lnTo>
                    <a:lnTo>
                      <a:pt x="578" y="546"/>
                    </a:lnTo>
                    <a:lnTo>
                      <a:pt x="575" y="527"/>
                    </a:lnTo>
                    <a:lnTo>
                      <a:pt x="576" y="520"/>
                    </a:lnTo>
                    <a:lnTo>
                      <a:pt x="580" y="500"/>
                    </a:lnTo>
                    <a:lnTo>
                      <a:pt x="581" y="498"/>
                    </a:lnTo>
                    <a:lnTo>
                      <a:pt x="580" y="497"/>
                    </a:lnTo>
                    <a:lnTo>
                      <a:pt x="580" y="498"/>
                    </a:lnTo>
                    <a:lnTo>
                      <a:pt x="556" y="497"/>
                    </a:lnTo>
                    <a:lnTo>
                      <a:pt x="553" y="497"/>
                    </a:lnTo>
                    <a:lnTo>
                      <a:pt x="554" y="498"/>
                    </a:lnTo>
                    <a:lnTo>
                      <a:pt x="554" y="500"/>
                    </a:lnTo>
                    <a:lnTo>
                      <a:pt x="554" y="507"/>
                    </a:lnTo>
                    <a:lnTo>
                      <a:pt x="554" y="512"/>
                    </a:lnTo>
                    <a:lnTo>
                      <a:pt x="551" y="510"/>
                    </a:lnTo>
                    <a:lnTo>
                      <a:pt x="522" y="510"/>
                    </a:lnTo>
                    <a:lnTo>
                      <a:pt x="536" y="522"/>
                    </a:lnTo>
                    <a:lnTo>
                      <a:pt x="536" y="524"/>
                    </a:lnTo>
                    <a:lnTo>
                      <a:pt x="537" y="529"/>
                    </a:lnTo>
                    <a:lnTo>
                      <a:pt x="537" y="549"/>
                    </a:lnTo>
                    <a:lnTo>
                      <a:pt x="541" y="556"/>
                    </a:lnTo>
                    <a:lnTo>
                      <a:pt x="524" y="571"/>
                    </a:lnTo>
                    <a:lnTo>
                      <a:pt x="517" y="576"/>
                    </a:lnTo>
                    <a:lnTo>
                      <a:pt x="507" y="593"/>
                    </a:lnTo>
                    <a:lnTo>
                      <a:pt x="491" y="610"/>
                    </a:lnTo>
                    <a:lnTo>
                      <a:pt x="485" y="619"/>
                    </a:lnTo>
                    <a:lnTo>
                      <a:pt x="481" y="621"/>
                    </a:lnTo>
                    <a:lnTo>
                      <a:pt x="474" y="622"/>
                    </a:lnTo>
                    <a:lnTo>
                      <a:pt x="461" y="622"/>
                    </a:lnTo>
                    <a:lnTo>
                      <a:pt x="457" y="622"/>
                    </a:lnTo>
                    <a:lnTo>
                      <a:pt x="442" y="610"/>
                    </a:lnTo>
                    <a:lnTo>
                      <a:pt x="423" y="600"/>
                    </a:lnTo>
                    <a:lnTo>
                      <a:pt x="417" y="595"/>
                    </a:lnTo>
                    <a:lnTo>
                      <a:pt x="415" y="595"/>
                    </a:lnTo>
                    <a:lnTo>
                      <a:pt x="411" y="595"/>
                    </a:lnTo>
                    <a:lnTo>
                      <a:pt x="393" y="605"/>
                    </a:lnTo>
                    <a:lnTo>
                      <a:pt x="393" y="622"/>
                    </a:lnTo>
                    <a:lnTo>
                      <a:pt x="369" y="622"/>
                    </a:lnTo>
                    <a:lnTo>
                      <a:pt x="360" y="631"/>
                    </a:lnTo>
                    <a:lnTo>
                      <a:pt x="357" y="636"/>
                    </a:lnTo>
                    <a:lnTo>
                      <a:pt x="355" y="639"/>
                    </a:lnTo>
                    <a:lnTo>
                      <a:pt x="354" y="639"/>
                    </a:lnTo>
                    <a:lnTo>
                      <a:pt x="354" y="641"/>
                    </a:lnTo>
                    <a:lnTo>
                      <a:pt x="352" y="641"/>
                    </a:lnTo>
                    <a:lnTo>
                      <a:pt x="349" y="641"/>
                    </a:lnTo>
                    <a:lnTo>
                      <a:pt x="347" y="643"/>
                    </a:lnTo>
                    <a:lnTo>
                      <a:pt x="320" y="643"/>
                    </a:lnTo>
                    <a:lnTo>
                      <a:pt x="316" y="643"/>
                    </a:lnTo>
                    <a:lnTo>
                      <a:pt x="309" y="629"/>
                    </a:lnTo>
                    <a:lnTo>
                      <a:pt x="306" y="629"/>
                    </a:lnTo>
                    <a:lnTo>
                      <a:pt x="298" y="629"/>
                    </a:lnTo>
                    <a:lnTo>
                      <a:pt x="281" y="627"/>
                    </a:lnTo>
                    <a:lnTo>
                      <a:pt x="270" y="627"/>
                    </a:lnTo>
                    <a:lnTo>
                      <a:pt x="264" y="629"/>
                    </a:lnTo>
                    <a:lnTo>
                      <a:pt x="250" y="634"/>
                    </a:lnTo>
                    <a:lnTo>
                      <a:pt x="235" y="633"/>
                    </a:lnTo>
                    <a:lnTo>
                      <a:pt x="231" y="629"/>
                    </a:lnTo>
                    <a:lnTo>
                      <a:pt x="230" y="627"/>
                    </a:lnTo>
                    <a:lnTo>
                      <a:pt x="226" y="621"/>
                    </a:lnTo>
                    <a:lnTo>
                      <a:pt x="224" y="614"/>
                    </a:lnTo>
                    <a:lnTo>
                      <a:pt x="219" y="609"/>
                    </a:lnTo>
                    <a:lnTo>
                      <a:pt x="216" y="602"/>
                    </a:lnTo>
                    <a:lnTo>
                      <a:pt x="209" y="600"/>
                    </a:lnTo>
                    <a:lnTo>
                      <a:pt x="209" y="590"/>
                    </a:lnTo>
                    <a:lnTo>
                      <a:pt x="207" y="590"/>
                    </a:lnTo>
                    <a:lnTo>
                      <a:pt x="207" y="588"/>
                    </a:lnTo>
                    <a:lnTo>
                      <a:pt x="206" y="588"/>
                    </a:lnTo>
                    <a:lnTo>
                      <a:pt x="204" y="587"/>
                    </a:lnTo>
                    <a:lnTo>
                      <a:pt x="204" y="588"/>
                    </a:lnTo>
                    <a:lnTo>
                      <a:pt x="202" y="587"/>
                    </a:lnTo>
                    <a:lnTo>
                      <a:pt x="202" y="588"/>
                    </a:lnTo>
                    <a:lnTo>
                      <a:pt x="201" y="587"/>
                    </a:lnTo>
                    <a:lnTo>
                      <a:pt x="201" y="588"/>
                    </a:lnTo>
                    <a:lnTo>
                      <a:pt x="201" y="587"/>
                    </a:lnTo>
                    <a:lnTo>
                      <a:pt x="199" y="588"/>
                    </a:lnTo>
                    <a:lnTo>
                      <a:pt x="197" y="588"/>
                    </a:lnTo>
                    <a:lnTo>
                      <a:pt x="196" y="588"/>
                    </a:lnTo>
                    <a:lnTo>
                      <a:pt x="196" y="587"/>
                    </a:lnTo>
                    <a:lnTo>
                      <a:pt x="194" y="588"/>
                    </a:lnTo>
                    <a:lnTo>
                      <a:pt x="190" y="588"/>
                    </a:lnTo>
                    <a:lnTo>
                      <a:pt x="189" y="590"/>
                    </a:lnTo>
                    <a:lnTo>
                      <a:pt x="187" y="588"/>
                    </a:lnTo>
                    <a:lnTo>
                      <a:pt x="187" y="590"/>
                    </a:lnTo>
                    <a:lnTo>
                      <a:pt x="185" y="588"/>
                    </a:lnTo>
                    <a:lnTo>
                      <a:pt x="185" y="590"/>
                    </a:lnTo>
                    <a:lnTo>
                      <a:pt x="184" y="588"/>
                    </a:lnTo>
                    <a:lnTo>
                      <a:pt x="184" y="590"/>
                    </a:lnTo>
                    <a:lnTo>
                      <a:pt x="182" y="588"/>
                    </a:lnTo>
                    <a:lnTo>
                      <a:pt x="182" y="590"/>
                    </a:lnTo>
                    <a:lnTo>
                      <a:pt x="182" y="588"/>
                    </a:lnTo>
                    <a:lnTo>
                      <a:pt x="180" y="590"/>
                    </a:lnTo>
                    <a:lnTo>
                      <a:pt x="179" y="590"/>
                    </a:lnTo>
                    <a:lnTo>
                      <a:pt x="179" y="592"/>
                    </a:lnTo>
                    <a:lnTo>
                      <a:pt x="175" y="590"/>
                    </a:lnTo>
                    <a:lnTo>
                      <a:pt x="175" y="592"/>
                    </a:lnTo>
                    <a:lnTo>
                      <a:pt x="173" y="590"/>
                    </a:lnTo>
                    <a:lnTo>
                      <a:pt x="172" y="592"/>
                    </a:lnTo>
                    <a:lnTo>
                      <a:pt x="170" y="592"/>
                    </a:lnTo>
                    <a:lnTo>
                      <a:pt x="172" y="593"/>
                    </a:lnTo>
                    <a:lnTo>
                      <a:pt x="168" y="592"/>
                    </a:lnTo>
                    <a:lnTo>
                      <a:pt x="168" y="593"/>
                    </a:lnTo>
                    <a:lnTo>
                      <a:pt x="167" y="593"/>
                    </a:lnTo>
                    <a:lnTo>
                      <a:pt x="167" y="595"/>
                    </a:lnTo>
                    <a:lnTo>
                      <a:pt x="165" y="595"/>
                    </a:lnTo>
                    <a:lnTo>
                      <a:pt x="165" y="597"/>
                    </a:lnTo>
                    <a:lnTo>
                      <a:pt x="165" y="599"/>
                    </a:lnTo>
                    <a:lnTo>
                      <a:pt x="163" y="599"/>
                    </a:lnTo>
                    <a:lnTo>
                      <a:pt x="165" y="600"/>
                    </a:lnTo>
                    <a:lnTo>
                      <a:pt x="163" y="600"/>
                    </a:lnTo>
                    <a:lnTo>
                      <a:pt x="165" y="602"/>
                    </a:lnTo>
                    <a:lnTo>
                      <a:pt x="167" y="604"/>
                    </a:lnTo>
                    <a:lnTo>
                      <a:pt x="165" y="605"/>
                    </a:lnTo>
                    <a:lnTo>
                      <a:pt x="163" y="605"/>
                    </a:lnTo>
                    <a:lnTo>
                      <a:pt x="163" y="607"/>
                    </a:lnTo>
                    <a:lnTo>
                      <a:pt x="165" y="607"/>
                    </a:lnTo>
                    <a:lnTo>
                      <a:pt x="163" y="609"/>
                    </a:lnTo>
                    <a:lnTo>
                      <a:pt x="163" y="610"/>
                    </a:lnTo>
                    <a:lnTo>
                      <a:pt x="162" y="610"/>
                    </a:lnTo>
                    <a:lnTo>
                      <a:pt x="160" y="614"/>
                    </a:lnTo>
                    <a:lnTo>
                      <a:pt x="162" y="614"/>
                    </a:lnTo>
                    <a:lnTo>
                      <a:pt x="160" y="614"/>
                    </a:lnTo>
                    <a:lnTo>
                      <a:pt x="158" y="616"/>
                    </a:lnTo>
                    <a:lnTo>
                      <a:pt x="156" y="616"/>
                    </a:lnTo>
                    <a:lnTo>
                      <a:pt x="158" y="616"/>
                    </a:lnTo>
                    <a:lnTo>
                      <a:pt x="156" y="616"/>
                    </a:lnTo>
                    <a:lnTo>
                      <a:pt x="156" y="617"/>
                    </a:lnTo>
                    <a:lnTo>
                      <a:pt x="155" y="617"/>
                    </a:lnTo>
                    <a:lnTo>
                      <a:pt x="151" y="621"/>
                    </a:lnTo>
                    <a:lnTo>
                      <a:pt x="150" y="622"/>
                    </a:lnTo>
                    <a:lnTo>
                      <a:pt x="150" y="627"/>
                    </a:lnTo>
                    <a:lnTo>
                      <a:pt x="150" y="631"/>
                    </a:lnTo>
                    <a:lnTo>
                      <a:pt x="150" y="634"/>
                    </a:lnTo>
                    <a:lnTo>
                      <a:pt x="143" y="641"/>
                    </a:lnTo>
                    <a:lnTo>
                      <a:pt x="145" y="643"/>
                    </a:lnTo>
                    <a:lnTo>
                      <a:pt x="141" y="650"/>
                    </a:lnTo>
                    <a:lnTo>
                      <a:pt x="139" y="656"/>
                    </a:lnTo>
                    <a:lnTo>
                      <a:pt x="141" y="663"/>
                    </a:lnTo>
                    <a:lnTo>
                      <a:pt x="138" y="668"/>
                    </a:lnTo>
                    <a:lnTo>
                      <a:pt x="131" y="670"/>
                    </a:lnTo>
                    <a:lnTo>
                      <a:pt x="128" y="673"/>
                    </a:lnTo>
                    <a:lnTo>
                      <a:pt x="124" y="675"/>
                    </a:lnTo>
                    <a:lnTo>
                      <a:pt x="122" y="675"/>
                    </a:lnTo>
                    <a:lnTo>
                      <a:pt x="121" y="675"/>
                    </a:lnTo>
                    <a:lnTo>
                      <a:pt x="119" y="675"/>
                    </a:lnTo>
                    <a:lnTo>
                      <a:pt x="117" y="675"/>
                    </a:lnTo>
                    <a:lnTo>
                      <a:pt x="112" y="673"/>
                    </a:lnTo>
                    <a:lnTo>
                      <a:pt x="111" y="675"/>
                    </a:lnTo>
                    <a:lnTo>
                      <a:pt x="109" y="673"/>
                    </a:lnTo>
                    <a:lnTo>
                      <a:pt x="105" y="673"/>
                    </a:lnTo>
                    <a:lnTo>
                      <a:pt x="104" y="673"/>
                    </a:lnTo>
                    <a:lnTo>
                      <a:pt x="100" y="675"/>
                    </a:lnTo>
                    <a:lnTo>
                      <a:pt x="99" y="673"/>
                    </a:lnTo>
                    <a:lnTo>
                      <a:pt x="94" y="673"/>
                    </a:lnTo>
                    <a:lnTo>
                      <a:pt x="92" y="672"/>
                    </a:lnTo>
                    <a:lnTo>
                      <a:pt x="90" y="672"/>
                    </a:lnTo>
                    <a:lnTo>
                      <a:pt x="88" y="673"/>
                    </a:lnTo>
                    <a:lnTo>
                      <a:pt x="87" y="673"/>
                    </a:lnTo>
                    <a:lnTo>
                      <a:pt x="87" y="672"/>
                    </a:lnTo>
                    <a:lnTo>
                      <a:pt x="87" y="668"/>
                    </a:lnTo>
                    <a:lnTo>
                      <a:pt x="90" y="667"/>
                    </a:lnTo>
                    <a:lnTo>
                      <a:pt x="90" y="660"/>
                    </a:lnTo>
                    <a:lnTo>
                      <a:pt x="90" y="658"/>
                    </a:lnTo>
                    <a:lnTo>
                      <a:pt x="88" y="658"/>
                    </a:lnTo>
                    <a:lnTo>
                      <a:pt x="87" y="662"/>
                    </a:lnTo>
                    <a:lnTo>
                      <a:pt x="83" y="660"/>
                    </a:lnTo>
                    <a:lnTo>
                      <a:pt x="83" y="658"/>
                    </a:lnTo>
                    <a:lnTo>
                      <a:pt x="85" y="655"/>
                    </a:lnTo>
                    <a:lnTo>
                      <a:pt x="85" y="653"/>
                    </a:lnTo>
                    <a:lnTo>
                      <a:pt x="85" y="650"/>
                    </a:lnTo>
                    <a:lnTo>
                      <a:pt x="88" y="650"/>
                    </a:lnTo>
                    <a:lnTo>
                      <a:pt x="92" y="648"/>
                    </a:lnTo>
                    <a:lnTo>
                      <a:pt x="92" y="646"/>
                    </a:lnTo>
                    <a:lnTo>
                      <a:pt x="94" y="646"/>
                    </a:lnTo>
                    <a:lnTo>
                      <a:pt x="94" y="645"/>
                    </a:lnTo>
                    <a:lnTo>
                      <a:pt x="92" y="643"/>
                    </a:lnTo>
                    <a:lnTo>
                      <a:pt x="94" y="641"/>
                    </a:lnTo>
                    <a:lnTo>
                      <a:pt x="95" y="638"/>
                    </a:lnTo>
                    <a:lnTo>
                      <a:pt x="95" y="636"/>
                    </a:lnTo>
                    <a:lnTo>
                      <a:pt x="94" y="638"/>
                    </a:lnTo>
                    <a:lnTo>
                      <a:pt x="92" y="634"/>
                    </a:lnTo>
                    <a:lnTo>
                      <a:pt x="94" y="633"/>
                    </a:lnTo>
                    <a:lnTo>
                      <a:pt x="92" y="631"/>
                    </a:lnTo>
                    <a:lnTo>
                      <a:pt x="95" y="626"/>
                    </a:lnTo>
                    <a:lnTo>
                      <a:pt x="95" y="614"/>
                    </a:lnTo>
                    <a:lnTo>
                      <a:pt x="83" y="597"/>
                    </a:lnTo>
                    <a:lnTo>
                      <a:pt x="77" y="585"/>
                    </a:lnTo>
                    <a:lnTo>
                      <a:pt x="75" y="585"/>
                    </a:lnTo>
                    <a:lnTo>
                      <a:pt x="70" y="580"/>
                    </a:lnTo>
                    <a:lnTo>
                      <a:pt x="68" y="576"/>
                    </a:lnTo>
                    <a:lnTo>
                      <a:pt x="61" y="573"/>
                    </a:lnTo>
                    <a:lnTo>
                      <a:pt x="58" y="565"/>
                    </a:lnTo>
                    <a:lnTo>
                      <a:pt x="54" y="561"/>
                    </a:lnTo>
                    <a:lnTo>
                      <a:pt x="60" y="551"/>
                    </a:lnTo>
                    <a:lnTo>
                      <a:pt x="60" y="546"/>
                    </a:lnTo>
                    <a:lnTo>
                      <a:pt x="60" y="542"/>
                    </a:lnTo>
                    <a:lnTo>
                      <a:pt x="58" y="542"/>
                    </a:lnTo>
                    <a:lnTo>
                      <a:pt x="58" y="537"/>
                    </a:lnTo>
                    <a:lnTo>
                      <a:pt x="49" y="537"/>
                    </a:lnTo>
                    <a:lnTo>
                      <a:pt x="49" y="536"/>
                    </a:lnTo>
                    <a:lnTo>
                      <a:pt x="48" y="534"/>
                    </a:lnTo>
                    <a:lnTo>
                      <a:pt x="43" y="532"/>
                    </a:lnTo>
                    <a:lnTo>
                      <a:pt x="39" y="527"/>
                    </a:lnTo>
                    <a:lnTo>
                      <a:pt x="37" y="522"/>
                    </a:lnTo>
                    <a:lnTo>
                      <a:pt x="43" y="505"/>
                    </a:lnTo>
                    <a:lnTo>
                      <a:pt x="37" y="505"/>
                    </a:lnTo>
                    <a:lnTo>
                      <a:pt x="36" y="507"/>
                    </a:lnTo>
                    <a:lnTo>
                      <a:pt x="34" y="505"/>
                    </a:lnTo>
                    <a:lnTo>
                      <a:pt x="34" y="498"/>
                    </a:lnTo>
                    <a:lnTo>
                      <a:pt x="32" y="493"/>
                    </a:lnTo>
                    <a:lnTo>
                      <a:pt x="32" y="491"/>
                    </a:lnTo>
                    <a:lnTo>
                      <a:pt x="31" y="490"/>
                    </a:lnTo>
                    <a:lnTo>
                      <a:pt x="32" y="488"/>
                    </a:lnTo>
                    <a:lnTo>
                      <a:pt x="29" y="485"/>
                    </a:lnTo>
                    <a:lnTo>
                      <a:pt x="32" y="481"/>
                    </a:lnTo>
                    <a:lnTo>
                      <a:pt x="32" y="476"/>
                    </a:lnTo>
                    <a:lnTo>
                      <a:pt x="29" y="474"/>
                    </a:lnTo>
                    <a:lnTo>
                      <a:pt x="20" y="469"/>
                    </a:lnTo>
                    <a:lnTo>
                      <a:pt x="19" y="473"/>
                    </a:lnTo>
                    <a:lnTo>
                      <a:pt x="17" y="474"/>
                    </a:lnTo>
                    <a:lnTo>
                      <a:pt x="12" y="474"/>
                    </a:lnTo>
                    <a:lnTo>
                      <a:pt x="7" y="474"/>
                    </a:lnTo>
                    <a:lnTo>
                      <a:pt x="2" y="471"/>
                    </a:lnTo>
                    <a:lnTo>
                      <a:pt x="2" y="468"/>
                    </a:lnTo>
                    <a:lnTo>
                      <a:pt x="0" y="466"/>
                    </a:lnTo>
                    <a:lnTo>
                      <a:pt x="2" y="466"/>
                    </a:lnTo>
                    <a:lnTo>
                      <a:pt x="5" y="457"/>
                    </a:lnTo>
                    <a:lnTo>
                      <a:pt x="7" y="456"/>
                    </a:lnTo>
                    <a:lnTo>
                      <a:pt x="7" y="454"/>
                    </a:lnTo>
                    <a:lnTo>
                      <a:pt x="9" y="452"/>
                    </a:lnTo>
                    <a:lnTo>
                      <a:pt x="10" y="449"/>
                    </a:lnTo>
                    <a:lnTo>
                      <a:pt x="14" y="449"/>
                    </a:lnTo>
                    <a:lnTo>
                      <a:pt x="17" y="449"/>
                    </a:lnTo>
                    <a:lnTo>
                      <a:pt x="19" y="444"/>
                    </a:lnTo>
                    <a:lnTo>
                      <a:pt x="24" y="439"/>
                    </a:lnTo>
                    <a:lnTo>
                      <a:pt x="24" y="437"/>
                    </a:lnTo>
                    <a:lnTo>
                      <a:pt x="22" y="435"/>
                    </a:lnTo>
                    <a:lnTo>
                      <a:pt x="20" y="434"/>
                    </a:lnTo>
                    <a:lnTo>
                      <a:pt x="22" y="428"/>
                    </a:lnTo>
                    <a:lnTo>
                      <a:pt x="17" y="425"/>
                    </a:lnTo>
                    <a:lnTo>
                      <a:pt x="15" y="422"/>
                    </a:lnTo>
                    <a:lnTo>
                      <a:pt x="17" y="420"/>
                    </a:lnTo>
                    <a:lnTo>
                      <a:pt x="15" y="418"/>
                    </a:lnTo>
                    <a:lnTo>
                      <a:pt x="22" y="408"/>
                    </a:lnTo>
                    <a:lnTo>
                      <a:pt x="29" y="403"/>
                    </a:lnTo>
                    <a:lnTo>
                      <a:pt x="32" y="403"/>
                    </a:lnTo>
                    <a:lnTo>
                      <a:pt x="36" y="401"/>
                    </a:lnTo>
                    <a:lnTo>
                      <a:pt x="37" y="400"/>
                    </a:lnTo>
                    <a:lnTo>
                      <a:pt x="39" y="398"/>
                    </a:lnTo>
                    <a:lnTo>
                      <a:pt x="37" y="394"/>
                    </a:lnTo>
                    <a:lnTo>
                      <a:pt x="36" y="394"/>
                    </a:lnTo>
                    <a:lnTo>
                      <a:pt x="34" y="394"/>
                    </a:lnTo>
                    <a:lnTo>
                      <a:pt x="32" y="391"/>
                    </a:lnTo>
                    <a:lnTo>
                      <a:pt x="34" y="389"/>
                    </a:lnTo>
                    <a:lnTo>
                      <a:pt x="32" y="388"/>
                    </a:lnTo>
                    <a:lnTo>
                      <a:pt x="32" y="381"/>
                    </a:lnTo>
                    <a:lnTo>
                      <a:pt x="29" y="381"/>
                    </a:lnTo>
                    <a:lnTo>
                      <a:pt x="31" y="376"/>
                    </a:lnTo>
                    <a:lnTo>
                      <a:pt x="34" y="374"/>
                    </a:lnTo>
                    <a:lnTo>
                      <a:pt x="46" y="371"/>
                    </a:lnTo>
                    <a:lnTo>
                      <a:pt x="44" y="362"/>
                    </a:lnTo>
                    <a:lnTo>
                      <a:pt x="46" y="360"/>
                    </a:lnTo>
                    <a:lnTo>
                      <a:pt x="48" y="360"/>
                    </a:lnTo>
                    <a:lnTo>
                      <a:pt x="48" y="357"/>
                    </a:lnTo>
                    <a:lnTo>
                      <a:pt x="51" y="354"/>
                    </a:lnTo>
                    <a:lnTo>
                      <a:pt x="53" y="354"/>
                    </a:lnTo>
                    <a:lnTo>
                      <a:pt x="54" y="352"/>
                    </a:lnTo>
                    <a:lnTo>
                      <a:pt x="58" y="350"/>
                    </a:lnTo>
                    <a:lnTo>
                      <a:pt x="58" y="347"/>
                    </a:lnTo>
                    <a:lnTo>
                      <a:pt x="60" y="345"/>
                    </a:lnTo>
                    <a:lnTo>
                      <a:pt x="61" y="343"/>
                    </a:lnTo>
                    <a:lnTo>
                      <a:pt x="60" y="342"/>
                    </a:lnTo>
                    <a:lnTo>
                      <a:pt x="61" y="340"/>
                    </a:lnTo>
                    <a:lnTo>
                      <a:pt x="60" y="335"/>
                    </a:lnTo>
                    <a:lnTo>
                      <a:pt x="56" y="332"/>
                    </a:lnTo>
                    <a:lnTo>
                      <a:pt x="58" y="326"/>
                    </a:lnTo>
                    <a:lnTo>
                      <a:pt x="61" y="325"/>
                    </a:lnTo>
                    <a:lnTo>
                      <a:pt x="66" y="320"/>
                    </a:lnTo>
                    <a:lnTo>
                      <a:pt x="71" y="320"/>
                    </a:lnTo>
                    <a:lnTo>
                      <a:pt x="73" y="320"/>
                    </a:lnTo>
                    <a:lnTo>
                      <a:pt x="78" y="321"/>
                    </a:lnTo>
                    <a:lnTo>
                      <a:pt x="82" y="320"/>
                    </a:lnTo>
                    <a:lnTo>
                      <a:pt x="88" y="316"/>
                    </a:lnTo>
                    <a:lnTo>
                      <a:pt x="94" y="316"/>
                    </a:lnTo>
                    <a:lnTo>
                      <a:pt x="111" y="320"/>
                    </a:lnTo>
                    <a:lnTo>
                      <a:pt x="111" y="294"/>
                    </a:lnTo>
                    <a:lnTo>
                      <a:pt x="111" y="280"/>
                    </a:lnTo>
                    <a:lnTo>
                      <a:pt x="111" y="275"/>
                    </a:lnTo>
                    <a:lnTo>
                      <a:pt x="111" y="253"/>
                    </a:lnTo>
                    <a:lnTo>
                      <a:pt x="111" y="212"/>
                    </a:lnTo>
                    <a:lnTo>
                      <a:pt x="111" y="175"/>
                    </a:lnTo>
                    <a:lnTo>
                      <a:pt x="111" y="143"/>
                    </a:lnTo>
                    <a:lnTo>
                      <a:pt x="111" y="127"/>
                    </a:lnTo>
                    <a:lnTo>
                      <a:pt x="111" y="102"/>
                    </a:lnTo>
                    <a:lnTo>
                      <a:pt x="162" y="102"/>
                    </a:lnTo>
                    <a:lnTo>
                      <a:pt x="162" y="47"/>
                    </a:lnTo>
                    <a:lnTo>
                      <a:pt x="162" y="2"/>
                    </a:lnTo>
                    <a:lnTo>
                      <a:pt x="410" y="2"/>
                    </a:lnTo>
                    <a:lnTo>
                      <a:pt x="473" y="2"/>
                    </a:lnTo>
                    <a:lnTo>
                      <a:pt x="483" y="2"/>
                    </a:lnTo>
                    <a:lnTo>
                      <a:pt x="490" y="2"/>
                    </a:lnTo>
                    <a:lnTo>
                      <a:pt x="539" y="2"/>
                    </a:lnTo>
                    <a:lnTo>
                      <a:pt x="541" y="2"/>
                    </a:lnTo>
                    <a:lnTo>
                      <a:pt x="576" y="0"/>
                    </a:lnTo>
                    <a:lnTo>
                      <a:pt x="588" y="0"/>
                    </a:lnTo>
                    <a:lnTo>
                      <a:pt x="622" y="0"/>
                    </a:lnTo>
                    <a:lnTo>
                      <a:pt x="646" y="2"/>
                    </a:lnTo>
                    <a:lnTo>
                      <a:pt x="755" y="0"/>
                    </a:lnTo>
                    <a:lnTo>
                      <a:pt x="755" y="2"/>
                    </a:lnTo>
                    <a:lnTo>
                      <a:pt x="763" y="2"/>
                    </a:lnTo>
                    <a:close/>
                    <a:moveTo>
                      <a:pt x="782" y="64"/>
                    </a:moveTo>
                    <a:lnTo>
                      <a:pt x="782" y="61"/>
                    </a:lnTo>
                    <a:lnTo>
                      <a:pt x="784" y="59"/>
                    </a:lnTo>
                    <a:lnTo>
                      <a:pt x="784" y="63"/>
                    </a:lnTo>
                    <a:lnTo>
                      <a:pt x="782" y="64"/>
                    </a:lnTo>
                    <a:close/>
                    <a:moveTo>
                      <a:pt x="843" y="194"/>
                    </a:moveTo>
                    <a:lnTo>
                      <a:pt x="843" y="195"/>
                    </a:lnTo>
                    <a:lnTo>
                      <a:pt x="845" y="197"/>
                    </a:lnTo>
                    <a:lnTo>
                      <a:pt x="843" y="195"/>
                    </a:lnTo>
                    <a:lnTo>
                      <a:pt x="842" y="195"/>
                    </a:lnTo>
                    <a:lnTo>
                      <a:pt x="842" y="194"/>
                    </a:lnTo>
                    <a:lnTo>
                      <a:pt x="843" y="194"/>
                    </a:lnTo>
                    <a:close/>
                    <a:moveTo>
                      <a:pt x="819" y="163"/>
                    </a:moveTo>
                    <a:lnTo>
                      <a:pt x="821" y="163"/>
                    </a:lnTo>
                    <a:lnTo>
                      <a:pt x="821" y="165"/>
                    </a:lnTo>
                    <a:lnTo>
                      <a:pt x="819" y="165"/>
                    </a:lnTo>
                    <a:lnTo>
                      <a:pt x="819" y="163"/>
                    </a:lnTo>
                    <a:close/>
                    <a:moveTo>
                      <a:pt x="835" y="192"/>
                    </a:moveTo>
                    <a:lnTo>
                      <a:pt x="838" y="192"/>
                    </a:lnTo>
                    <a:lnTo>
                      <a:pt x="835" y="192"/>
                    </a:lnTo>
                    <a:close/>
                    <a:moveTo>
                      <a:pt x="836" y="190"/>
                    </a:moveTo>
                    <a:lnTo>
                      <a:pt x="840" y="190"/>
                    </a:lnTo>
                    <a:lnTo>
                      <a:pt x="840" y="192"/>
                    </a:lnTo>
                    <a:lnTo>
                      <a:pt x="836" y="192"/>
                    </a:lnTo>
                    <a:lnTo>
                      <a:pt x="836" y="190"/>
                    </a:lnTo>
                    <a:close/>
                    <a:moveTo>
                      <a:pt x="835" y="189"/>
                    </a:moveTo>
                    <a:lnTo>
                      <a:pt x="836" y="189"/>
                    </a:lnTo>
                    <a:lnTo>
                      <a:pt x="836" y="190"/>
                    </a:lnTo>
                    <a:lnTo>
                      <a:pt x="835" y="190"/>
                    </a:lnTo>
                    <a:lnTo>
                      <a:pt x="835" y="189"/>
                    </a:lnTo>
                    <a:close/>
                    <a:moveTo>
                      <a:pt x="828" y="161"/>
                    </a:moveTo>
                    <a:lnTo>
                      <a:pt x="830" y="161"/>
                    </a:lnTo>
                    <a:lnTo>
                      <a:pt x="828" y="161"/>
                    </a:lnTo>
                    <a:close/>
                    <a:moveTo>
                      <a:pt x="853" y="175"/>
                    </a:moveTo>
                    <a:lnTo>
                      <a:pt x="853" y="177"/>
                    </a:lnTo>
                    <a:lnTo>
                      <a:pt x="853" y="175"/>
                    </a:lnTo>
                    <a:close/>
                    <a:moveTo>
                      <a:pt x="836" y="189"/>
                    </a:moveTo>
                    <a:lnTo>
                      <a:pt x="838" y="189"/>
                    </a:lnTo>
                    <a:lnTo>
                      <a:pt x="838" y="190"/>
                    </a:lnTo>
                    <a:lnTo>
                      <a:pt x="836" y="190"/>
                    </a:lnTo>
                    <a:lnTo>
                      <a:pt x="836" y="189"/>
                    </a:lnTo>
                    <a:close/>
                    <a:moveTo>
                      <a:pt x="838" y="192"/>
                    </a:moveTo>
                    <a:lnTo>
                      <a:pt x="840" y="192"/>
                    </a:lnTo>
                    <a:lnTo>
                      <a:pt x="838" y="192"/>
                    </a:lnTo>
                    <a:close/>
                    <a:moveTo>
                      <a:pt x="845" y="165"/>
                    </a:moveTo>
                    <a:lnTo>
                      <a:pt x="845" y="167"/>
                    </a:lnTo>
                    <a:lnTo>
                      <a:pt x="845" y="165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5" name="Freeform 56">
                <a:extLst>
                  <a:ext uri="{FF2B5EF4-FFF2-40B4-BE49-F238E27FC236}">
                    <a16:creationId xmlns:a16="http://schemas.microsoft.com/office/drawing/2014/main" id="{2B1E4730-5092-48BA-88F1-854AA316E7B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053062" y="5522684"/>
                <a:ext cx="107947" cy="128583"/>
              </a:xfrm>
              <a:custGeom>
                <a:avLst/>
                <a:gdLst>
                  <a:gd name="T0" fmla="*/ 59 w 68"/>
                  <a:gd name="T1" fmla="*/ 12 h 81"/>
                  <a:gd name="T2" fmla="*/ 61 w 68"/>
                  <a:gd name="T3" fmla="*/ 13 h 81"/>
                  <a:gd name="T4" fmla="*/ 64 w 68"/>
                  <a:gd name="T5" fmla="*/ 15 h 81"/>
                  <a:gd name="T6" fmla="*/ 66 w 68"/>
                  <a:gd name="T7" fmla="*/ 22 h 81"/>
                  <a:gd name="T8" fmla="*/ 64 w 68"/>
                  <a:gd name="T9" fmla="*/ 34 h 81"/>
                  <a:gd name="T10" fmla="*/ 68 w 68"/>
                  <a:gd name="T11" fmla="*/ 41 h 81"/>
                  <a:gd name="T12" fmla="*/ 66 w 68"/>
                  <a:gd name="T13" fmla="*/ 56 h 81"/>
                  <a:gd name="T14" fmla="*/ 66 w 68"/>
                  <a:gd name="T15" fmla="*/ 54 h 81"/>
                  <a:gd name="T16" fmla="*/ 63 w 68"/>
                  <a:gd name="T17" fmla="*/ 56 h 81"/>
                  <a:gd name="T18" fmla="*/ 61 w 68"/>
                  <a:gd name="T19" fmla="*/ 56 h 81"/>
                  <a:gd name="T20" fmla="*/ 59 w 68"/>
                  <a:gd name="T21" fmla="*/ 71 h 81"/>
                  <a:gd name="T22" fmla="*/ 59 w 68"/>
                  <a:gd name="T23" fmla="*/ 81 h 81"/>
                  <a:gd name="T24" fmla="*/ 35 w 68"/>
                  <a:gd name="T25" fmla="*/ 81 h 81"/>
                  <a:gd name="T26" fmla="*/ 17 w 68"/>
                  <a:gd name="T27" fmla="*/ 75 h 81"/>
                  <a:gd name="T28" fmla="*/ 13 w 68"/>
                  <a:gd name="T29" fmla="*/ 69 h 81"/>
                  <a:gd name="T30" fmla="*/ 8 w 68"/>
                  <a:gd name="T31" fmla="*/ 66 h 81"/>
                  <a:gd name="T32" fmla="*/ 8 w 68"/>
                  <a:gd name="T33" fmla="*/ 64 h 81"/>
                  <a:gd name="T34" fmla="*/ 8 w 68"/>
                  <a:gd name="T35" fmla="*/ 63 h 81"/>
                  <a:gd name="T36" fmla="*/ 8 w 68"/>
                  <a:gd name="T37" fmla="*/ 59 h 81"/>
                  <a:gd name="T38" fmla="*/ 5 w 68"/>
                  <a:gd name="T39" fmla="*/ 58 h 81"/>
                  <a:gd name="T40" fmla="*/ 5 w 68"/>
                  <a:gd name="T41" fmla="*/ 54 h 81"/>
                  <a:gd name="T42" fmla="*/ 1 w 68"/>
                  <a:gd name="T43" fmla="*/ 58 h 81"/>
                  <a:gd name="T44" fmla="*/ 0 w 68"/>
                  <a:gd name="T45" fmla="*/ 56 h 81"/>
                  <a:gd name="T46" fmla="*/ 0 w 68"/>
                  <a:gd name="T47" fmla="*/ 42 h 81"/>
                  <a:gd name="T48" fmla="*/ 0 w 68"/>
                  <a:gd name="T49" fmla="*/ 37 h 81"/>
                  <a:gd name="T50" fmla="*/ 1 w 68"/>
                  <a:gd name="T51" fmla="*/ 35 h 81"/>
                  <a:gd name="T52" fmla="*/ 5 w 68"/>
                  <a:gd name="T53" fmla="*/ 30 h 81"/>
                  <a:gd name="T54" fmla="*/ 8 w 68"/>
                  <a:gd name="T55" fmla="*/ 27 h 81"/>
                  <a:gd name="T56" fmla="*/ 15 w 68"/>
                  <a:gd name="T57" fmla="*/ 13 h 81"/>
                  <a:gd name="T58" fmla="*/ 17 w 68"/>
                  <a:gd name="T59" fmla="*/ 10 h 81"/>
                  <a:gd name="T60" fmla="*/ 23 w 68"/>
                  <a:gd name="T61" fmla="*/ 5 h 81"/>
                  <a:gd name="T62" fmla="*/ 25 w 68"/>
                  <a:gd name="T63" fmla="*/ 1 h 81"/>
                  <a:gd name="T64" fmla="*/ 30 w 68"/>
                  <a:gd name="T65" fmla="*/ 0 h 81"/>
                  <a:gd name="T66" fmla="*/ 37 w 68"/>
                  <a:gd name="T67" fmla="*/ 3 h 81"/>
                  <a:gd name="T68" fmla="*/ 54 w 68"/>
                  <a:gd name="T69" fmla="*/ 13 h 81"/>
                  <a:gd name="T70" fmla="*/ 59 w 68"/>
                  <a:gd name="T71" fmla="*/ 12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8" h="81">
                    <a:moveTo>
                      <a:pt x="59" y="12"/>
                    </a:moveTo>
                    <a:lnTo>
                      <a:pt x="61" y="13"/>
                    </a:lnTo>
                    <a:lnTo>
                      <a:pt x="64" y="15"/>
                    </a:lnTo>
                    <a:lnTo>
                      <a:pt x="66" y="22"/>
                    </a:lnTo>
                    <a:lnTo>
                      <a:pt x="64" y="34"/>
                    </a:lnTo>
                    <a:lnTo>
                      <a:pt x="68" y="41"/>
                    </a:lnTo>
                    <a:lnTo>
                      <a:pt x="66" y="56"/>
                    </a:lnTo>
                    <a:lnTo>
                      <a:pt x="66" y="54"/>
                    </a:lnTo>
                    <a:lnTo>
                      <a:pt x="63" y="56"/>
                    </a:lnTo>
                    <a:lnTo>
                      <a:pt x="61" y="56"/>
                    </a:lnTo>
                    <a:lnTo>
                      <a:pt x="59" y="71"/>
                    </a:lnTo>
                    <a:lnTo>
                      <a:pt x="59" y="81"/>
                    </a:lnTo>
                    <a:lnTo>
                      <a:pt x="35" y="81"/>
                    </a:lnTo>
                    <a:lnTo>
                      <a:pt x="17" y="75"/>
                    </a:lnTo>
                    <a:lnTo>
                      <a:pt x="13" y="69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3"/>
                    </a:lnTo>
                    <a:lnTo>
                      <a:pt x="8" y="59"/>
                    </a:lnTo>
                    <a:lnTo>
                      <a:pt x="5" y="58"/>
                    </a:lnTo>
                    <a:lnTo>
                      <a:pt x="5" y="54"/>
                    </a:lnTo>
                    <a:lnTo>
                      <a:pt x="1" y="58"/>
                    </a:lnTo>
                    <a:lnTo>
                      <a:pt x="0" y="56"/>
                    </a:lnTo>
                    <a:lnTo>
                      <a:pt x="0" y="42"/>
                    </a:lnTo>
                    <a:lnTo>
                      <a:pt x="0" y="37"/>
                    </a:lnTo>
                    <a:lnTo>
                      <a:pt x="1" y="35"/>
                    </a:lnTo>
                    <a:lnTo>
                      <a:pt x="5" y="30"/>
                    </a:lnTo>
                    <a:lnTo>
                      <a:pt x="8" y="27"/>
                    </a:lnTo>
                    <a:lnTo>
                      <a:pt x="15" y="13"/>
                    </a:lnTo>
                    <a:lnTo>
                      <a:pt x="17" y="10"/>
                    </a:lnTo>
                    <a:lnTo>
                      <a:pt x="23" y="5"/>
                    </a:lnTo>
                    <a:lnTo>
                      <a:pt x="25" y="1"/>
                    </a:lnTo>
                    <a:lnTo>
                      <a:pt x="30" y="0"/>
                    </a:lnTo>
                    <a:lnTo>
                      <a:pt x="37" y="3"/>
                    </a:lnTo>
                    <a:lnTo>
                      <a:pt x="54" y="13"/>
                    </a:lnTo>
                    <a:lnTo>
                      <a:pt x="59" y="1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6" name="Freeform 57">
                <a:extLst>
                  <a:ext uri="{FF2B5EF4-FFF2-40B4-BE49-F238E27FC236}">
                    <a16:creationId xmlns:a16="http://schemas.microsoft.com/office/drawing/2014/main" id="{59E23BF9-1A91-4C4E-82A9-DB6FD6B7285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938765" y="3532041"/>
                <a:ext cx="888975" cy="866740"/>
              </a:xfrm>
              <a:custGeom>
                <a:avLst/>
                <a:gdLst>
                  <a:gd name="T0" fmla="*/ 299 w 560"/>
                  <a:gd name="T1" fmla="*/ 37 h 546"/>
                  <a:gd name="T2" fmla="*/ 417 w 560"/>
                  <a:gd name="T3" fmla="*/ 129 h 546"/>
                  <a:gd name="T4" fmla="*/ 498 w 560"/>
                  <a:gd name="T5" fmla="*/ 187 h 546"/>
                  <a:gd name="T6" fmla="*/ 493 w 560"/>
                  <a:gd name="T7" fmla="*/ 204 h 546"/>
                  <a:gd name="T8" fmla="*/ 485 w 560"/>
                  <a:gd name="T9" fmla="*/ 231 h 546"/>
                  <a:gd name="T10" fmla="*/ 486 w 560"/>
                  <a:gd name="T11" fmla="*/ 277 h 546"/>
                  <a:gd name="T12" fmla="*/ 502 w 560"/>
                  <a:gd name="T13" fmla="*/ 299 h 546"/>
                  <a:gd name="T14" fmla="*/ 510 w 560"/>
                  <a:gd name="T15" fmla="*/ 313 h 546"/>
                  <a:gd name="T16" fmla="*/ 505 w 560"/>
                  <a:gd name="T17" fmla="*/ 344 h 546"/>
                  <a:gd name="T18" fmla="*/ 500 w 560"/>
                  <a:gd name="T19" fmla="*/ 371 h 546"/>
                  <a:gd name="T20" fmla="*/ 507 w 560"/>
                  <a:gd name="T21" fmla="*/ 393 h 546"/>
                  <a:gd name="T22" fmla="*/ 509 w 560"/>
                  <a:gd name="T23" fmla="*/ 401 h 546"/>
                  <a:gd name="T24" fmla="*/ 517 w 560"/>
                  <a:gd name="T25" fmla="*/ 413 h 546"/>
                  <a:gd name="T26" fmla="*/ 515 w 560"/>
                  <a:gd name="T27" fmla="*/ 429 h 546"/>
                  <a:gd name="T28" fmla="*/ 526 w 560"/>
                  <a:gd name="T29" fmla="*/ 446 h 546"/>
                  <a:gd name="T30" fmla="*/ 532 w 560"/>
                  <a:gd name="T31" fmla="*/ 459 h 546"/>
                  <a:gd name="T32" fmla="*/ 548 w 560"/>
                  <a:gd name="T33" fmla="*/ 471 h 546"/>
                  <a:gd name="T34" fmla="*/ 560 w 560"/>
                  <a:gd name="T35" fmla="*/ 475 h 546"/>
                  <a:gd name="T36" fmla="*/ 524 w 560"/>
                  <a:gd name="T37" fmla="*/ 505 h 546"/>
                  <a:gd name="T38" fmla="*/ 497 w 560"/>
                  <a:gd name="T39" fmla="*/ 517 h 546"/>
                  <a:gd name="T40" fmla="*/ 452 w 560"/>
                  <a:gd name="T41" fmla="*/ 524 h 546"/>
                  <a:gd name="T42" fmla="*/ 424 w 560"/>
                  <a:gd name="T43" fmla="*/ 536 h 546"/>
                  <a:gd name="T44" fmla="*/ 384 w 560"/>
                  <a:gd name="T45" fmla="*/ 538 h 546"/>
                  <a:gd name="T46" fmla="*/ 352 w 560"/>
                  <a:gd name="T47" fmla="*/ 544 h 546"/>
                  <a:gd name="T48" fmla="*/ 335 w 560"/>
                  <a:gd name="T49" fmla="*/ 532 h 546"/>
                  <a:gd name="T50" fmla="*/ 311 w 560"/>
                  <a:gd name="T51" fmla="*/ 538 h 546"/>
                  <a:gd name="T52" fmla="*/ 281 w 560"/>
                  <a:gd name="T53" fmla="*/ 529 h 546"/>
                  <a:gd name="T54" fmla="*/ 267 w 560"/>
                  <a:gd name="T55" fmla="*/ 493 h 546"/>
                  <a:gd name="T56" fmla="*/ 260 w 560"/>
                  <a:gd name="T57" fmla="*/ 463 h 546"/>
                  <a:gd name="T58" fmla="*/ 220 w 560"/>
                  <a:gd name="T59" fmla="*/ 436 h 546"/>
                  <a:gd name="T60" fmla="*/ 196 w 560"/>
                  <a:gd name="T61" fmla="*/ 432 h 546"/>
                  <a:gd name="T62" fmla="*/ 163 w 560"/>
                  <a:gd name="T63" fmla="*/ 420 h 546"/>
                  <a:gd name="T64" fmla="*/ 129 w 560"/>
                  <a:gd name="T65" fmla="*/ 405 h 546"/>
                  <a:gd name="T66" fmla="*/ 107 w 560"/>
                  <a:gd name="T67" fmla="*/ 391 h 546"/>
                  <a:gd name="T68" fmla="*/ 63 w 560"/>
                  <a:gd name="T69" fmla="*/ 354 h 546"/>
                  <a:gd name="T70" fmla="*/ 12 w 560"/>
                  <a:gd name="T71" fmla="*/ 247 h 546"/>
                  <a:gd name="T72" fmla="*/ 29 w 560"/>
                  <a:gd name="T73" fmla="*/ 170 h 546"/>
                  <a:gd name="T74" fmla="*/ 48 w 560"/>
                  <a:gd name="T75" fmla="*/ 143 h 546"/>
                  <a:gd name="T76" fmla="*/ 68 w 560"/>
                  <a:gd name="T77" fmla="*/ 116 h 546"/>
                  <a:gd name="T78" fmla="*/ 63 w 560"/>
                  <a:gd name="T79" fmla="*/ 100 h 546"/>
                  <a:gd name="T80" fmla="*/ 56 w 560"/>
                  <a:gd name="T81" fmla="*/ 78 h 546"/>
                  <a:gd name="T82" fmla="*/ 73 w 560"/>
                  <a:gd name="T83" fmla="*/ 53 h 546"/>
                  <a:gd name="T84" fmla="*/ 70 w 560"/>
                  <a:gd name="T85" fmla="*/ 29 h 546"/>
                  <a:gd name="T86" fmla="*/ 55 w 560"/>
                  <a:gd name="T87" fmla="*/ 5 h 546"/>
                  <a:gd name="T88" fmla="*/ 209 w 560"/>
                  <a:gd name="T89" fmla="*/ 2 h 546"/>
                  <a:gd name="T90" fmla="*/ 512 w 560"/>
                  <a:gd name="T91" fmla="*/ 262 h 546"/>
                  <a:gd name="T92" fmla="*/ 505 w 560"/>
                  <a:gd name="T93" fmla="*/ 271 h 546"/>
                  <a:gd name="T94" fmla="*/ 500 w 560"/>
                  <a:gd name="T95" fmla="*/ 248 h 546"/>
                  <a:gd name="T96" fmla="*/ 531 w 560"/>
                  <a:gd name="T97" fmla="*/ 206 h 546"/>
                  <a:gd name="T98" fmla="*/ 524 w 560"/>
                  <a:gd name="T99" fmla="*/ 226 h 546"/>
                  <a:gd name="T100" fmla="*/ 522 w 560"/>
                  <a:gd name="T101" fmla="*/ 214 h 546"/>
                  <a:gd name="T102" fmla="*/ 522 w 560"/>
                  <a:gd name="T103" fmla="*/ 209 h 546"/>
                  <a:gd name="T104" fmla="*/ 531 w 560"/>
                  <a:gd name="T105" fmla="*/ 349 h 546"/>
                  <a:gd name="T106" fmla="*/ 526 w 560"/>
                  <a:gd name="T107" fmla="*/ 345 h 546"/>
                  <a:gd name="T108" fmla="*/ 527 w 560"/>
                  <a:gd name="T109" fmla="*/ 354 h 546"/>
                  <a:gd name="T110" fmla="*/ 498 w 560"/>
                  <a:gd name="T111" fmla="*/ 247 h 546"/>
                  <a:gd name="T112" fmla="*/ 520 w 560"/>
                  <a:gd name="T113" fmla="*/ 204 h 546"/>
                  <a:gd name="T114" fmla="*/ 522 w 560"/>
                  <a:gd name="T115" fmla="*/ 359 h 546"/>
                  <a:gd name="T116" fmla="*/ 526 w 560"/>
                  <a:gd name="T117" fmla="*/ 354 h 546"/>
                  <a:gd name="T118" fmla="*/ 507 w 560"/>
                  <a:gd name="T119" fmla="*/ 400 h 546"/>
                  <a:gd name="T120" fmla="*/ 514 w 560"/>
                  <a:gd name="T121" fmla="*/ 352 h 5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60" h="546">
                    <a:moveTo>
                      <a:pt x="230" y="2"/>
                    </a:moveTo>
                    <a:lnTo>
                      <a:pt x="235" y="2"/>
                    </a:lnTo>
                    <a:lnTo>
                      <a:pt x="235" y="3"/>
                    </a:lnTo>
                    <a:lnTo>
                      <a:pt x="238" y="2"/>
                    </a:lnTo>
                    <a:lnTo>
                      <a:pt x="240" y="3"/>
                    </a:lnTo>
                    <a:lnTo>
                      <a:pt x="247" y="7"/>
                    </a:lnTo>
                    <a:lnTo>
                      <a:pt x="247" y="9"/>
                    </a:lnTo>
                    <a:lnTo>
                      <a:pt x="250" y="9"/>
                    </a:lnTo>
                    <a:lnTo>
                      <a:pt x="257" y="14"/>
                    </a:lnTo>
                    <a:lnTo>
                      <a:pt x="271" y="20"/>
                    </a:lnTo>
                    <a:lnTo>
                      <a:pt x="279" y="26"/>
                    </a:lnTo>
                    <a:lnTo>
                      <a:pt x="286" y="29"/>
                    </a:lnTo>
                    <a:lnTo>
                      <a:pt x="299" y="37"/>
                    </a:lnTo>
                    <a:lnTo>
                      <a:pt x="335" y="56"/>
                    </a:lnTo>
                    <a:lnTo>
                      <a:pt x="335" y="58"/>
                    </a:lnTo>
                    <a:lnTo>
                      <a:pt x="345" y="63"/>
                    </a:lnTo>
                    <a:lnTo>
                      <a:pt x="374" y="80"/>
                    </a:lnTo>
                    <a:lnTo>
                      <a:pt x="401" y="94"/>
                    </a:lnTo>
                    <a:lnTo>
                      <a:pt x="420" y="106"/>
                    </a:lnTo>
                    <a:lnTo>
                      <a:pt x="422" y="117"/>
                    </a:lnTo>
                    <a:lnTo>
                      <a:pt x="420" y="119"/>
                    </a:lnTo>
                    <a:lnTo>
                      <a:pt x="420" y="121"/>
                    </a:lnTo>
                    <a:lnTo>
                      <a:pt x="415" y="124"/>
                    </a:lnTo>
                    <a:lnTo>
                      <a:pt x="415" y="126"/>
                    </a:lnTo>
                    <a:lnTo>
                      <a:pt x="417" y="126"/>
                    </a:lnTo>
                    <a:lnTo>
                      <a:pt x="417" y="129"/>
                    </a:lnTo>
                    <a:lnTo>
                      <a:pt x="418" y="129"/>
                    </a:lnTo>
                    <a:lnTo>
                      <a:pt x="420" y="128"/>
                    </a:lnTo>
                    <a:lnTo>
                      <a:pt x="422" y="129"/>
                    </a:lnTo>
                    <a:lnTo>
                      <a:pt x="424" y="129"/>
                    </a:lnTo>
                    <a:lnTo>
                      <a:pt x="425" y="136"/>
                    </a:lnTo>
                    <a:lnTo>
                      <a:pt x="435" y="143"/>
                    </a:lnTo>
                    <a:lnTo>
                      <a:pt x="458" y="158"/>
                    </a:lnTo>
                    <a:lnTo>
                      <a:pt x="461" y="160"/>
                    </a:lnTo>
                    <a:lnTo>
                      <a:pt x="478" y="172"/>
                    </a:lnTo>
                    <a:lnTo>
                      <a:pt x="493" y="182"/>
                    </a:lnTo>
                    <a:lnTo>
                      <a:pt x="497" y="185"/>
                    </a:lnTo>
                    <a:lnTo>
                      <a:pt x="498" y="185"/>
                    </a:lnTo>
                    <a:lnTo>
                      <a:pt x="498" y="187"/>
                    </a:lnTo>
                    <a:lnTo>
                      <a:pt x="497" y="189"/>
                    </a:lnTo>
                    <a:lnTo>
                      <a:pt x="497" y="192"/>
                    </a:lnTo>
                    <a:lnTo>
                      <a:pt x="495" y="192"/>
                    </a:lnTo>
                    <a:lnTo>
                      <a:pt x="497" y="194"/>
                    </a:lnTo>
                    <a:lnTo>
                      <a:pt x="498" y="194"/>
                    </a:lnTo>
                    <a:lnTo>
                      <a:pt x="497" y="197"/>
                    </a:lnTo>
                    <a:lnTo>
                      <a:pt x="495" y="201"/>
                    </a:lnTo>
                    <a:lnTo>
                      <a:pt x="495" y="199"/>
                    </a:lnTo>
                    <a:lnTo>
                      <a:pt x="495" y="197"/>
                    </a:lnTo>
                    <a:lnTo>
                      <a:pt x="493" y="199"/>
                    </a:lnTo>
                    <a:lnTo>
                      <a:pt x="493" y="201"/>
                    </a:lnTo>
                    <a:lnTo>
                      <a:pt x="493" y="202"/>
                    </a:lnTo>
                    <a:lnTo>
                      <a:pt x="493" y="204"/>
                    </a:lnTo>
                    <a:lnTo>
                      <a:pt x="495" y="204"/>
                    </a:lnTo>
                    <a:lnTo>
                      <a:pt x="493" y="206"/>
                    </a:lnTo>
                    <a:lnTo>
                      <a:pt x="492" y="206"/>
                    </a:lnTo>
                    <a:lnTo>
                      <a:pt x="492" y="208"/>
                    </a:lnTo>
                    <a:lnTo>
                      <a:pt x="493" y="206"/>
                    </a:lnTo>
                    <a:lnTo>
                      <a:pt x="493" y="209"/>
                    </a:lnTo>
                    <a:lnTo>
                      <a:pt x="492" y="211"/>
                    </a:lnTo>
                    <a:lnTo>
                      <a:pt x="492" y="213"/>
                    </a:lnTo>
                    <a:lnTo>
                      <a:pt x="490" y="214"/>
                    </a:lnTo>
                    <a:lnTo>
                      <a:pt x="492" y="216"/>
                    </a:lnTo>
                    <a:lnTo>
                      <a:pt x="488" y="225"/>
                    </a:lnTo>
                    <a:lnTo>
                      <a:pt x="486" y="226"/>
                    </a:lnTo>
                    <a:lnTo>
                      <a:pt x="485" y="231"/>
                    </a:lnTo>
                    <a:lnTo>
                      <a:pt x="481" y="236"/>
                    </a:lnTo>
                    <a:lnTo>
                      <a:pt x="481" y="240"/>
                    </a:lnTo>
                    <a:lnTo>
                      <a:pt x="478" y="247"/>
                    </a:lnTo>
                    <a:lnTo>
                      <a:pt x="478" y="252"/>
                    </a:lnTo>
                    <a:lnTo>
                      <a:pt x="476" y="255"/>
                    </a:lnTo>
                    <a:lnTo>
                      <a:pt x="476" y="257"/>
                    </a:lnTo>
                    <a:lnTo>
                      <a:pt x="478" y="262"/>
                    </a:lnTo>
                    <a:lnTo>
                      <a:pt x="480" y="262"/>
                    </a:lnTo>
                    <a:lnTo>
                      <a:pt x="480" y="265"/>
                    </a:lnTo>
                    <a:lnTo>
                      <a:pt x="478" y="271"/>
                    </a:lnTo>
                    <a:lnTo>
                      <a:pt x="483" y="277"/>
                    </a:lnTo>
                    <a:lnTo>
                      <a:pt x="488" y="279"/>
                    </a:lnTo>
                    <a:lnTo>
                      <a:pt x="486" y="277"/>
                    </a:lnTo>
                    <a:lnTo>
                      <a:pt x="488" y="279"/>
                    </a:lnTo>
                    <a:lnTo>
                      <a:pt x="492" y="281"/>
                    </a:lnTo>
                    <a:lnTo>
                      <a:pt x="493" y="282"/>
                    </a:lnTo>
                    <a:lnTo>
                      <a:pt x="495" y="284"/>
                    </a:lnTo>
                    <a:lnTo>
                      <a:pt x="498" y="288"/>
                    </a:lnTo>
                    <a:lnTo>
                      <a:pt x="498" y="293"/>
                    </a:lnTo>
                    <a:lnTo>
                      <a:pt x="500" y="293"/>
                    </a:lnTo>
                    <a:lnTo>
                      <a:pt x="500" y="291"/>
                    </a:lnTo>
                    <a:lnTo>
                      <a:pt x="502" y="293"/>
                    </a:lnTo>
                    <a:lnTo>
                      <a:pt x="502" y="294"/>
                    </a:lnTo>
                    <a:lnTo>
                      <a:pt x="502" y="296"/>
                    </a:lnTo>
                    <a:lnTo>
                      <a:pt x="502" y="298"/>
                    </a:lnTo>
                    <a:lnTo>
                      <a:pt x="502" y="299"/>
                    </a:lnTo>
                    <a:lnTo>
                      <a:pt x="502" y="298"/>
                    </a:lnTo>
                    <a:lnTo>
                      <a:pt x="502" y="296"/>
                    </a:lnTo>
                    <a:lnTo>
                      <a:pt x="503" y="296"/>
                    </a:lnTo>
                    <a:lnTo>
                      <a:pt x="505" y="298"/>
                    </a:lnTo>
                    <a:lnTo>
                      <a:pt x="507" y="298"/>
                    </a:lnTo>
                    <a:lnTo>
                      <a:pt x="509" y="298"/>
                    </a:lnTo>
                    <a:lnTo>
                      <a:pt x="510" y="298"/>
                    </a:lnTo>
                    <a:lnTo>
                      <a:pt x="514" y="305"/>
                    </a:lnTo>
                    <a:lnTo>
                      <a:pt x="514" y="310"/>
                    </a:lnTo>
                    <a:lnTo>
                      <a:pt x="515" y="311"/>
                    </a:lnTo>
                    <a:lnTo>
                      <a:pt x="514" y="311"/>
                    </a:lnTo>
                    <a:lnTo>
                      <a:pt x="512" y="315"/>
                    </a:lnTo>
                    <a:lnTo>
                      <a:pt x="510" y="313"/>
                    </a:lnTo>
                    <a:lnTo>
                      <a:pt x="509" y="315"/>
                    </a:lnTo>
                    <a:lnTo>
                      <a:pt x="509" y="318"/>
                    </a:lnTo>
                    <a:lnTo>
                      <a:pt x="505" y="320"/>
                    </a:lnTo>
                    <a:lnTo>
                      <a:pt x="505" y="325"/>
                    </a:lnTo>
                    <a:lnTo>
                      <a:pt x="502" y="328"/>
                    </a:lnTo>
                    <a:lnTo>
                      <a:pt x="500" y="335"/>
                    </a:lnTo>
                    <a:lnTo>
                      <a:pt x="502" y="337"/>
                    </a:lnTo>
                    <a:lnTo>
                      <a:pt x="502" y="339"/>
                    </a:lnTo>
                    <a:lnTo>
                      <a:pt x="502" y="342"/>
                    </a:lnTo>
                    <a:lnTo>
                      <a:pt x="502" y="344"/>
                    </a:lnTo>
                    <a:lnTo>
                      <a:pt x="503" y="344"/>
                    </a:lnTo>
                    <a:lnTo>
                      <a:pt x="503" y="342"/>
                    </a:lnTo>
                    <a:lnTo>
                      <a:pt x="505" y="344"/>
                    </a:lnTo>
                    <a:lnTo>
                      <a:pt x="510" y="347"/>
                    </a:lnTo>
                    <a:lnTo>
                      <a:pt x="509" y="349"/>
                    </a:lnTo>
                    <a:lnTo>
                      <a:pt x="509" y="350"/>
                    </a:lnTo>
                    <a:lnTo>
                      <a:pt x="510" y="356"/>
                    </a:lnTo>
                    <a:lnTo>
                      <a:pt x="505" y="367"/>
                    </a:lnTo>
                    <a:lnTo>
                      <a:pt x="503" y="366"/>
                    </a:lnTo>
                    <a:lnTo>
                      <a:pt x="503" y="367"/>
                    </a:lnTo>
                    <a:lnTo>
                      <a:pt x="503" y="369"/>
                    </a:lnTo>
                    <a:lnTo>
                      <a:pt x="505" y="369"/>
                    </a:lnTo>
                    <a:lnTo>
                      <a:pt x="503" y="371"/>
                    </a:lnTo>
                    <a:lnTo>
                      <a:pt x="502" y="369"/>
                    </a:lnTo>
                    <a:lnTo>
                      <a:pt x="502" y="371"/>
                    </a:lnTo>
                    <a:lnTo>
                      <a:pt x="500" y="371"/>
                    </a:lnTo>
                    <a:lnTo>
                      <a:pt x="502" y="374"/>
                    </a:lnTo>
                    <a:lnTo>
                      <a:pt x="502" y="376"/>
                    </a:lnTo>
                    <a:lnTo>
                      <a:pt x="502" y="378"/>
                    </a:lnTo>
                    <a:lnTo>
                      <a:pt x="502" y="379"/>
                    </a:lnTo>
                    <a:lnTo>
                      <a:pt x="502" y="381"/>
                    </a:lnTo>
                    <a:lnTo>
                      <a:pt x="503" y="383"/>
                    </a:lnTo>
                    <a:lnTo>
                      <a:pt x="503" y="384"/>
                    </a:lnTo>
                    <a:lnTo>
                      <a:pt x="505" y="384"/>
                    </a:lnTo>
                    <a:lnTo>
                      <a:pt x="503" y="386"/>
                    </a:lnTo>
                    <a:lnTo>
                      <a:pt x="505" y="388"/>
                    </a:lnTo>
                    <a:lnTo>
                      <a:pt x="505" y="390"/>
                    </a:lnTo>
                    <a:lnTo>
                      <a:pt x="505" y="393"/>
                    </a:lnTo>
                    <a:lnTo>
                      <a:pt x="507" y="393"/>
                    </a:lnTo>
                    <a:lnTo>
                      <a:pt x="509" y="393"/>
                    </a:lnTo>
                    <a:lnTo>
                      <a:pt x="510" y="396"/>
                    </a:lnTo>
                    <a:lnTo>
                      <a:pt x="512" y="398"/>
                    </a:lnTo>
                    <a:lnTo>
                      <a:pt x="512" y="396"/>
                    </a:lnTo>
                    <a:lnTo>
                      <a:pt x="514" y="401"/>
                    </a:lnTo>
                    <a:lnTo>
                      <a:pt x="515" y="403"/>
                    </a:lnTo>
                    <a:lnTo>
                      <a:pt x="514" y="403"/>
                    </a:lnTo>
                    <a:lnTo>
                      <a:pt x="512" y="403"/>
                    </a:lnTo>
                    <a:lnTo>
                      <a:pt x="512" y="401"/>
                    </a:lnTo>
                    <a:lnTo>
                      <a:pt x="510" y="400"/>
                    </a:lnTo>
                    <a:lnTo>
                      <a:pt x="507" y="400"/>
                    </a:lnTo>
                    <a:lnTo>
                      <a:pt x="507" y="401"/>
                    </a:lnTo>
                    <a:lnTo>
                      <a:pt x="509" y="401"/>
                    </a:lnTo>
                    <a:lnTo>
                      <a:pt x="510" y="401"/>
                    </a:lnTo>
                    <a:lnTo>
                      <a:pt x="510" y="403"/>
                    </a:lnTo>
                    <a:lnTo>
                      <a:pt x="512" y="403"/>
                    </a:lnTo>
                    <a:lnTo>
                      <a:pt x="512" y="405"/>
                    </a:lnTo>
                    <a:lnTo>
                      <a:pt x="512" y="407"/>
                    </a:lnTo>
                    <a:lnTo>
                      <a:pt x="512" y="410"/>
                    </a:lnTo>
                    <a:lnTo>
                      <a:pt x="510" y="412"/>
                    </a:lnTo>
                    <a:lnTo>
                      <a:pt x="512" y="412"/>
                    </a:lnTo>
                    <a:lnTo>
                      <a:pt x="512" y="415"/>
                    </a:lnTo>
                    <a:lnTo>
                      <a:pt x="514" y="415"/>
                    </a:lnTo>
                    <a:lnTo>
                      <a:pt x="512" y="413"/>
                    </a:lnTo>
                    <a:lnTo>
                      <a:pt x="515" y="412"/>
                    </a:lnTo>
                    <a:lnTo>
                      <a:pt x="517" y="413"/>
                    </a:lnTo>
                    <a:lnTo>
                      <a:pt x="517" y="412"/>
                    </a:lnTo>
                    <a:lnTo>
                      <a:pt x="515" y="412"/>
                    </a:lnTo>
                    <a:lnTo>
                      <a:pt x="515" y="408"/>
                    </a:lnTo>
                    <a:lnTo>
                      <a:pt x="519" y="410"/>
                    </a:lnTo>
                    <a:lnTo>
                      <a:pt x="517" y="413"/>
                    </a:lnTo>
                    <a:lnTo>
                      <a:pt x="519" y="415"/>
                    </a:lnTo>
                    <a:lnTo>
                      <a:pt x="519" y="419"/>
                    </a:lnTo>
                    <a:lnTo>
                      <a:pt x="519" y="420"/>
                    </a:lnTo>
                    <a:lnTo>
                      <a:pt x="520" y="420"/>
                    </a:lnTo>
                    <a:lnTo>
                      <a:pt x="520" y="425"/>
                    </a:lnTo>
                    <a:lnTo>
                      <a:pt x="517" y="427"/>
                    </a:lnTo>
                    <a:lnTo>
                      <a:pt x="515" y="427"/>
                    </a:lnTo>
                    <a:lnTo>
                      <a:pt x="515" y="429"/>
                    </a:lnTo>
                    <a:lnTo>
                      <a:pt x="517" y="429"/>
                    </a:lnTo>
                    <a:lnTo>
                      <a:pt x="519" y="429"/>
                    </a:lnTo>
                    <a:lnTo>
                      <a:pt x="520" y="430"/>
                    </a:lnTo>
                    <a:lnTo>
                      <a:pt x="520" y="432"/>
                    </a:lnTo>
                    <a:lnTo>
                      <a:pt x="522" y="434"/>
                    </a:lnTo>
                    <a:lnTo>
                      <a:pt x="524" y="437"/>
                    </a:lnTo>
                    <a:lnTo>
                      <a:pt x="524" y="439"/>
                    </a:lnTo>
                    <a:lnTo>
                      <a:pt x="524" y="441"/>
                    </a:lnTo>
                    <a:lnTo>
                      <a:pt x="524" y="442"/>
                    </a:lnTo>
                    <a:lnTo>
                      <a:pt x="526" y="442"/>
                    </a:lnTo>
                    <a:lnTo>
                      <a:pt x="524" y="444"/>
                    </a:lnTo>
                    <a:lnTo>
                      <a:pt x="526" y="444"/>
                    </a:lnTo>
                    <a:lnTo>
                      <a:pt x="526" y="446"/>
                    </a:lnTo>
                    <a:lnTo>
                      <a:pt x="527" y="449"/>
                    </a:lnTo>
                    <a:lnTo>
                      <a:pt x="527" y="451"/>
                    </a:lnTo>
                    <a:lnTo>
                      <a:pt x="526" y="453"/>
                    </a:lnTo>
                    <a:lnTo>
                      <a:pt x="527" y="454"/>
                    </a:lnTo>
                    <a:lnTo>
                      <a:pt x="522" y="456"/>
                    </a:lnTo>
                    <a:lnTo>
                      <a:pt x="522" y="458"/>
                    </a:lnTo>
                    <a:lnTo>
                      <a:pt x="520" y="459"/>
                    </a:lnTo>
                    <a:lnTo>
                      <a:pt x="522" y="459"/>
                    </a:lnTo>
                    <a:lnTo>
                      <a:pt x="524" y="456"/>
                    </a:lnTo>
                    <a:lnTo>
                      <a:pt x="529" y="456"/>
                    </a:lnTo>
                    <a:lnTo>
                      <a:pt x="529" y="458"/>
                    </a:lnTo>
                    <a:lnTo>
                      <a:pt x="531" y="458"/>
                    </a:lnTo>
                    <a:lnTo>
                      <a:pt x="532" y="459"/>
                    </a:lnTo>
                    <a:lnTo>
                      <a:pt x="536" y="464"/>
                    </a:lnTo>
                    <a:lnTo>
                      <a:pt x="536" y="466"/>
                    </a:lnTo>
                    <a:lnTo>
                      <a:pt x="536" y="468"/>
                    </a:lnTo>
                    <a:lnTo>
                      <a:pt x="537" y="468"/>
                    </a:lnTo>
                    <a:lnTo>
                      <a:pt x="537" y="466"/>
                    </a:lnTo>
                    <a:lnTo>
                      <a:pt x="536" y="464"/>
                    </a:lnTo>
                    <a:lnTo>
                      <a:pt x="537" y="464"/>
                    </a:lnTo>
                    <a:lnTo>
                      <a:pt x="544" y="466"/>
                    </a:lnTo>
                    <a:lnTo>
                      <a:pt x="544" y="470"/>
                    </a:lnTo>
                    <a:lnTo>
                      <a:pt x="543" y="471"/>
                    </a:lnTo>
                    <a:lnTo>
                      <a:pt x="544" y="471"/>
                    </a:lnTo>
                    <a:lnTo>
                      <a:pt x="548" y="470"/>
                    </a:lnTo>
                    <a:lnTo>
                      <a:pt x="548" y="471"/>
                    </a:lnTo>
                    <a:lnTo>
                      <a:pt x="549" y="471"/>
                    </a:lnTo>
                    <a:lnTo>
                      <a:pt x="551" y="471"/>
                    </a:lnTo>
                    <a:lnTo>
                      <a:pt x="549" y="470"/>
                    </a:lnTo>
                    <a:lnTo>
                      <a:pt x="548" y="471"/>
                    </a:lnTo>
                    <a:lnTo>
                      <a:pt x="549" y="468"/>
                    </a:lnTo>
                    <a:lnTo>
                      <a:pt x="549" y="470"/>
                    </a:lnTo>
                    <a:lnTo>
                      <a:pt x="553" y="471"/>
                    </a:lnTo>
                    <a:lnTo>
                      <a:pt x="554" y="475"/>
                    </a:lnTo>
                    <a:lnTo>
                      <a:pt x="558" y="476"/>
                    </a:lnTo>
                    <a:lnTo>
                      <a:pt x="558" y="475"/>
                    </a:lnTo>
                    <a:lnTo>
                      <a:pt x="556" y="475"/>
                    </a:lnTo>
                    <a:lnTo>
                      <a:pt x="558" y="473"/>
                    </a:lnTo>
                    <a:lnTo>
                      <a:pt x="560" y="475"/>
                    </a:lnTo>
                    <a:lnTo>
                      <a:pt x="558" y="476"/>
                    </a:lnTo>
                    <a:lnTo>
                      <a:pt x="560" y="481"/>
                    </a:lnTo>
                    <a:lnTo>
                      <a:pt x="556" y="483"/>
                    </a:lnTo>
                    <a:lnTo>
                      <a:pt x="556" y="487"/>
                    </a:lnTo>
                    <a:lnTo>
                      <a:pt x="553" y="487"/>
                    </a:lnTo>
                    <a:lnTo>
                      <a:pt x="549" y="488"/>
                    </a:lnTo>
                    <a:lnTo>
                      <a:pt x="544" y="493"/>
                    </a:lnTo>
                    <a:lnTo>
                      <a:pt x="541" y="495"/>
                    </a:lnTo>
                    <a:lnTo>
                      <a:pt x="537" y="498"/>
                    </a:lnTo>
                    <a:lnTo>
                      <a:pt x="532" y="500"/>
                    </a:lnTo>
                    <a:lnTo>
                      <a:pt x="527" y="504"/>
                    </a:lnTo>
                    <a:lnTo>
                      <a:pt x="526" y="504"/>
                    </a:lnTo>
                    <a:lnTo>
                      <a:pt x="524" y="505"/>
                    </a:lnTo>
                    <a:lnTo>
                      <a:pt x="517" y="505"/>
                    </a:lnTo>
                    <a:lnTo>
                      <a:pt x="515" y="507"/>
                    </a:lnTo>
                    <a:lnTo>
                      <a:pt x="514" y="507"/>
                    </a:lnTo>
                    <a:lnTo>
                      <a:pt x="514" y="509"/>
                    </a:lnTo>
                    <a:lnTo>
                      <a:pt x="510" y="509"/>
                    </a:lnTo>
                    <a:lnTo>
                      <a:pt x="510" y="510"/>
                    </a:lnTo>
                    <a:lnTo>
                      <a:pt x="509" y="510"/>
                    </a:lnTo>
                    <a:lnTo>
                      <a:pt x="505" y="512"/>
                    </a:lnTo>
                    <a:lnTo>
                      <a:pt x="503" y="512"/>
                    </a:lnTo>
                    <a:lnTo>
                      <a:pt x="503" y="515"/>
                    </a:lnTo>
                    <a:lnTo>
                      <a:pt x="502" y="515"/>
                    </a:lnTo>
                    <a:lnTo>
                      <a:pt x="500" y="517"/>
                    </a:lnTo>
                    <a:lnTo>
                      <a:pt x="497" y="517"/>
                    </a:lnTo>
                    <a:lnTo>
                      <a:pt x="495" y="515"/>
                    </a:lnTo>
                    <a:lnTo>
                      <a:pt x="490" y="517"/>
                    </a:lnTo>
                    <a:lnTo>
                      <a:pt x="480" y="517"/>
                    </a:lnTo>
                    <a:lnTo>
                      <a:pt x="478" y="519"/>
                    </a:lnTo>
                    <a:lnTo>
                      <a:pt x="475" y="521"/>
                    </a:lnTo>
                    <a:lnTo>
                      <a:pt x="475" y="522"/>
                    </a:lnTo>
                    <a:lnTo>
                      <a:pt x="473" y="522"/>
                    </a:lnTo>
                    <a:lnTo>
                      <a:pt x="468" y="522"/>
                    </a:lnTo>
                    <a:lnTo>
                      <a:pt x="461" y="529"/>
                    </a:lnTo>
                    <a:lnTo>
                      <a:pt x="459" y="529"/>
                    </a:lnTo>
                    <a:lnTo>
                      <a:pt x="458" y="527"/>
                    </a:lnTo>
                    <a:lnTo>
                      <a:pt x="454" y="527"/>
                    </a:lnTo>
                    <a:lnTo>
                      <a:pt x="452" y="524"/>
                    </a:lnTo>
                    <a:lnTo>
                      <a:pt x="451" y="524"/>
                    </a:lnTo>
                    <a:lnTo>
                      <a:pt x="449" y="522"/>
                    </a:lnTo>
                    <a:lnTo>
                      <a:pt x="444" y="522"/>
                    </a:lnTo>
                    <a:lnTo>
                      <a:pt x="442" y="521"/>
                    </a:lnTo>
                    <a:lnTo>
                      <a:pt x="439" y="522"/>
                    </a:lnTo>
                    <a:lnTo>
                      <a:pt x="432" y="521"/>
                    </a:lnTo>
                    <a:lnTo>
                      <a:pt x="429" y="524"/>
                    </a:lnTo>
                    <a:lnTo>
                      <a:pt x="427" y="524"/>
                    </a:lnTo>
                    <a:lnTo>
                      <a:pt x="427" y="527"/>
                    </a:lnTo>
                    <a:lnTo>
                      <a:pt x="425" y="531"/>
                    </a:lnTo>
                    <a:lnTo>
                      <a:pt x="425" y="532"/>
                    </a:lnTo>
                    <a:lnTo>
                      <a:pt x="425" y="534"/>
                    </a:lnTo>
                    <a:lnTo>
                      <a:pt x="424" y="536"/>
                    </a:lnTo>
                    <a:lnTo>
                      <a:pt x="418" y="538"/>
                    </a:lnTo>
                    <a:lnTo>
                      <a:pt x="415" y="539"/>
                    </a:lnTo>
                    <a:lnTo>
                      <a:pt x="412" y="539"/>
                    </a:lnTo>
                    <a:lnTo>
                      <a:pt x="410" y="539"/>
                    </a:lnTo>
                    <a:lnTo>
                      <a:pt x="408" y="541"/>
                    </a:lnTo>
                    <a:lnTo>
                      <a:pt x="407" y="543"/>
                    </a:lnTo>
                    <a:lnTo>
                      <a:pt x="405" y="543"/>
                    </a:lnTo>
                    <a:lnTo>
                      <a:pt x="401" y="543"/>
                    </a:lnTo>
                    <a:lnTo>
                      <a:pt x="400" y="541"/>
                    </a:lnTo>
                    <a:lnTo>
                      <a:pt x="396" y="541"/>
                    </a:lnTo>
                    <a:lnTo>
                      <a:pt x="390" y="539"/>
                    </a:lnTo>
                    <a:lnTo>
                      <a:pt x="386" y="538"/>
                    </a:lnTo>
                    <a:lnTo>
                      <a:pt x="384" y="538"/>
                    </a:lnTo>
                    <a:lnTo>
                      <a:pt x="381" y="539"/>
                    </a:lnTo>
                    <a:lnTo>
                      <a:pt x="381" y="538"/>
                    </a:lnTo>
                    <a:lnTo>
                      <a:pt x="379" y="538"/>
                    </a:lnTo>
                    <a:lnTo>
                      <a:pt x="376" y="536"/>
                    </a:lnTo>
                    <a:lnTo>
                      <a:pt x="374" y="541"/>
                    </a:lnTo>
                    <a:lnTo>
                      <a:pt x="367" y="544"/>
                    </a:lnTo>
                    <a:lnTo>
                      <a:pt x="364" y="543"/>
                    </a:lnTo>
                    <a:lnTo>
                      <a:pt x="361" y="546"/>
                    </a:lnTo>
                    <a:lnTo>
                      <a:pt x="361" y="544"/>
                    </a:lnTo>
                    <a:lnTo>
                      <a:pt x="361" y="543"/>
                    </a:lnTo>
                    <a:lnTo>
                      <a:pt x="359" y="543"/>
                    </a:lnTo>
                    <a:lnTo>
                      <a:pt x="354" y="543"/>
                    </a:lnTo>
                    <a:lnTo>
                      <a:pt x="352" y="544"/>
                    </a:lnTo>
                    <a:lnTo>
                      <a:pt x="350" y="544"/>
                    </a:lnTo>
                    <a:lnTo>
                      <a:pt x="349" y="544"/>
                    </a:lnTo>
                    <a:lnTo>
                      <a:pt x="349" y="543"/>
                    </a:lnTo>
                    <a:lnTo>
                      <a:pt x="345" y="544"/>
                    </a:lnTo>
                    <a:lnTo>
                      <a:pt x="344" y="541"/>
                    </a:lnTo>
                    <a:lnTo>
                      <a:pt x="345" y="538"/>
                    </a:lnTo>
                    <a:lnTo>
                      <a:pt x="344" y="536"/>
                    </a:lnTo>
                    <a:lnTo>
                      <a:pt x="342" y="538"/>
                    </a:lnTo>
                    <a:lnTo>
                      <a:pt x="342" y="536"/>
                    </a:lnTo>
                    <a:lnTo>
                      <a:pt x="340" y="534"/>
                    </a:lnTo>
                    <a:lnTo>
                      <a:pt x="339" y="536"/>
                    </a:lnTo>
                    <a:lnTo>
                      <a:pt x="337" y="532"/>
                    </a:lnTo>
                    <a:lnTo>
                      <a:pt x="335" y="532"/>
                    </a:lnTo>
                    <a:lnTo>
                      <a:pt x="333" y="531"/>
                    </a:lnTo>
                    <a:lnTo>
                      <a:pt x="332" y="529"/>
                    </a:lnTo>
                    <a:lnTo>
                      <a:pt x="330" y="531"/>
                    </a:lnTo>
                    <a:lnTo>
                      <a:pt x="327" y="529"/>
                    </a:lnTo>
                    <a:lnTo>
                      <a:pt x="325" y="529"/>
                    </a:lnTo>
                    <a:lnTo>
                      <a:pt x="323" y="532"/>
                    </a:lnTo>
                    <a:lnTo>
                      <a:pt x="323" y="531"/>
                    </a:lnTo>
                    <a:lnTo>
                      <a:pt x="323" y="532"/>
                    </a:lnTo>
                    <a:lnTo>
                      <a:pt x="320" y="532"/>
                    </a:lnTo>
                    <a:lnTo>
                      <a:pt x="320" y="534"/>
                    </a:lnTo>
                    <a:lnTo>
                      <a:pt x="316" y="536"/>
                    </a:lnTo>
                    <a:lnTo>
                      <a:pt x="313" y="536"/>
                    </a:lnTo>
                    <a:lnTo>
                      <a:pt x="311" y="538"/>
                    </a:lnTo>
                    <a:lnTo>
                      <a:pt x="311" y="536"/>
                    </a:lnTo>
                    <a:lnTo>
                      <a:pt x="310" y="538"/>
                    </a:lnTo>
                    <a:lnTo>
                      <a:pt x="310" y="536"/>
                    </a:lnTo>
                    <a:lnTo>
                      <a:pt x="308" y="536"/>
                    </a:lnTo>
                    <a:lnTo>
                      <a:pt x="308" y="538"/>
                    </a:lnTo>
                    <a:lnTo>
                      <a:pt x="306" y="538"/>
                    </a:lnTo>
                    <a:lnTo>
                      <a:pt x="305" y="536"/>
                    </a:lnTo>
                    <a:lnTo>
                      <a:pt x="305" y="538"/>
                    </a:lnTo>
                    <a:lnTo>
                      <a:pt x="301" y="536"/>
                    </a:lnTo>
                    <a:lnTo>
                      <a:pt x="282" y="538"/>
                    </a:lnTo>
                    <a:lnTo>
                      <a:pt x="282" y="532"/>
                    </a:lnTo>
                    <a:lnTo>
                      <a:pt x="281" y="531"/>
                    </a:lnTo>
                    <a:lnTo>
                      <a:pt x="281" y="529"/>
                    </a:lnTo>
                    <a:lnTo>
                      <a:pt x="281" y="527"/>
                    </a:lnTo>
                    <a:lnTo>
                      <a:pt x="274" y="524"/>
                    </a:lnTo>
                    <a:lnTo>
                      <a:pt x="274" y="522"/>
                    </a:lnTo>
                    <a:lnTo>
                      <a:pt x="272" y="521"/>
                    </a:lnTo>
                    <a:lnTo>
                      <a:pt x="272" y="519"/>
                    </a:lnTo>
                    <a:lnTo>
                      <a:pt x="269" y="517"/>
                    </a:lnTo>
                    <a:lnTo>
                      <a:pt x="269" y="515"/>
                    </a:lnTo>
                    <a:lnTo>
                      <a:pt x="265" y="514"/>
                    </a:lnTo>
                    <a:lnTo>
                      <a:pt x="265" y="510"/>
                    </a:lnTo>
                    <a:lnTo>
                      <a:pt x="264" y="509"/>
                    </a:lnTo>
                    <a:lnTo>
                      <a:pt x="267" y="505"/>
                    </a:lnTo>
                    <a:lnTo>
                      <a:pt x="269" y="495"/>
                    </a:lnTo>
                    <a:lnTo>
                      <a:pt x="267" y="493"/>
                    </a:lnTo>
                    <a:lnTo>
                      <a:pt x="267" y="492"/>
                    </a:lnTo>
                    <a:lnTo>
                      <a:pt x="265" y="490"/>
                    </a:lnTo>
                    <a:lnTo>
                      <a:pt x="265" y="488"/>
                    </a:lnTo>
                    <a:lnTo>
                      <a:pt x="264" y="487"/>
                    </a:lnTo>
                    <a:lnTo>
                      <a:pt x="262" y="485"/>
                    </a:lnTo>
                    <a:lnTo>
                      <a:pt x="264" y="481"/>
                    </a:lnTo>
                    <a:lnTo>
                      <a:pt x="264" y="480"/>
                    </a:lnTo>
                    <a:lnTo>
                      <a:pt x="262" y="481"/>
                    </a:lnTo>
                    <a:lnTo>
                      <a:pt x="262" y="480"/>
                    </a:lnTo>
                    <a:lnTo>
                      <a:pt x="264" y="473"/>
                    </a:lnTo>
                    <a:lnTo>
                      <a:pt x="262" y="470"/>
                    </a:lnTo>
                    <a:lnTo>
                      <a:pt x="262" y="468"/>
                    </a:lnTo>
                    <a:lnTo>
                      <a:pt x="260" y="463"/>
                    </a:lnTo>
                    <a:lnTo>
                      <a:pt x="260" y="461"/>
                    </a:lnTo>
                    <a:lnTo>
                      <a:pt x="259" y="458"/>
                    </a:lnTo>
                    <a:lnTo>
                      <a:pt x="257" y="454"/>
                    </a:lnTo>
                    <a:lnTo>
                      <a:pt x="250" y="446"/>
                    </a:lnTo>
                    <a:lnTo>
                      <a:pt x="235" y="432"/>
                    </a:lnTo>
                    <a:lnTo>
                      <a:pt x="231" y="434"/>
                    </a:lnTo>
                    <a:lnTo>
                      <a:pt x="231" y="436"/>
                    </a:lnTo>
                    <a:lnTo>
                      <a:pt x="231" y="437"/>
                    </a:lnTo>
                    <a:lnTo>
                      <a:pt x="230" y="442"/>
                    </a:lnTo>
                    <a:lnTo>
                      <a:pt x="228" y="442"/>
                    </a:lnTo>
                    <a:lnTo>
                      <a:pt x="225" y="439"/>
                    </a:lnTo>
                    <a:lnTo>
                      <a:pt x="223" y="436"/>
                    </a:lnTo>
                    <a:lnTo>
                      <a:pt x="220" y="436"/>
                    </a:lnTo>
                    <a:lnTo>
                      <a:pt x="218" y="437"/>
                    </a:lnTo>
                    <a:lnTo>
                      <a:pt x="214" y="437"/>
                    </a:lnTo>
                    <a:lnTo>
                      <a:pt x="213" y="436"/>
                    </a:lnTo>
                    <a:lnTo>
                      <a:pt x="211" y="437"/>
                    </a:lnTo>
                    <a:lnTo>
                      <a:pt x="209" y="439"/>
                    </a:lnTo>
                    <a:lnTo>
                      <a:pt x="206" y="437"/>
                    </a:lnTo>
                    <a:lnTo>
                      <a:pt x="204" y="437"/>
                    </a:lnTo>
                    <a:lnTo>
                      <a:pt x="204" y="436"/>
                    </a:lnTo>
                    <a:lnTo>
                      <a:pt x="203" y="434"/>
                    </a:lnTo>
                    <a:lnTo>
                      <a:pt x="201" y="434"/>
                    </a:lnTo>
                    <a:lnTo>
                      <a:pt x="199" y="432"/>
                    </a:lnTo>
                    <a:lnTo>
                      <a:pt x="197" y="432"/>
                    </a:lnTo>
                    <a:lnTo>
                      <a:pt x="196" y="432"/>
                    </a:lnTo>
                    <a:lnTo>
                      <a:pt x="194" y="432"/>
                    </a:lnTo>
                    <a:lnTo>
                      <a:pt x="191" y="432"/>
                    </a:lnTo>
                    <a:lnTo>
                      <a:pt x="186" y="427"/>
                    </a:lnTo>
                    <a:lnTo>
                      <a:pt x="182" y="425"/>
                    </a:lnTo>
                    <a:lnTo>
                      <a:pt x="180" y="427"/>
                    </a:lnTo>
                    <a:lnTo>
                      <a:pt x="179" y="427"/>
                    </a:lnTo>
                    <a:lnTo>
                      <a:pt x="179" y="425"/>
                    </a:lnTo>
                    <a:lnTo>
                      <a:pt x="177" y="427"/>
                    </a:lnTo>
                    <a:lnTo>
                      <a:pt x="177" y="425"/>
                    </a:lnTo>
                    <a:lnTo>
                      <a:pt x="175" y="425"/>
                    </a:lnTo>
                    <a:lnTo>
                      <a:pt x="170" y="422"/>
                    </a:lnTo>
                    <a:lnTo>
                      <a:pt x="169" y="420"/>
                    </a:lnTo>
                    <a:lnTo>
                      <a:pt x="163" y="420"/>
                    </a:lnTo>
                    <a:lnTo>
                      <a:pt x="162" y="420"/>
                    </a:lnTo>
                    <a:lnTo>
                      <a:pt x="160" y="420"/>
                    </a:lnTo>
                    <a:lnTo>
                      <a:pt x="157" y="415"/>
                    </a:lnTo>
                    <a:lnTo>
                      <a:pt x="157" y="413"/>
                    </a:lnTo>
                    <a:lnTo>
                      <a:pt x="155" y="413"/>
                    </a:lnTo>
                    <a:lnTo>
                      <a:pt x="146" y="413"/>
                    </a:lnTo>
                    <a:lnTo>
                      <a:pt x="143" y="412"/>
                    </a:lnTo>
                    <a:lnTo>
                      <a:pt x="140" y="410"/>
                    </a:lnTo>
                    <a:lnTo>
                      <a:pt x="136" y="408"/>
                    </a:lnTo>
                    <a:lnTo>
                      <a:pt x="133" y="410"/>
                    </a:lnTo>
                    <a:lnTo>
                      <a:pt x="131" y="410"/>
                    </a:lnTo>
                    <a:lnTo>
                      <a:pt x="129" y="408"/>
                    </a:lnTo>
                    <a:lnTo>
                      <a:pt x="129" y="405"/>
                    </a:lnTo>
                    <a:lnTo>
                      <a:pt x="129" y="403"/>
                    </a:lnTo>
                    <a:lnTo>
                      <a:pt x="128" y="401"/>
                    </a:lnTo>
                    <a:lnTo>
                      <a:pt x="123" y="401"/>
                    </a:lnTo>
                    <a:lnTo>
                      <a:pt x="121" y="401"/>
                    </a:lnTo>
                    <a:lnTo>
                      <a:pt x="119" y="403"/>
                    </a:lnTo>
                    <a:lnTo>
                      <a:pt x="116" y="403"/>
                    </a:lnTo>
                    <a:lnTo>
                      <a:pt x="114" y="400"/>
                    </a:lnTo>
                    <a:lnTo>
                      <a:pt x="111" y="398"/>
                    </a:lnTo>
                    <a:lnTo>
                      <a:pt x="111" y="396"/>
                    </a:lnTo>
                    <a:lnTo>
                      <a:pt x="111" y="395"/>
                    </a:lnTo>
                    <a:lnTo>
                      <a:pt x="111" y="391"/>
                    </a:lnTo>
                    <a:lnTo>
                      <a:pt x="109" y="391"/>
                    </a:lnTo>
                    <a:lnTo>
                      <a:pt x="107" y="391"/>
                    </a:lnTo>
                    <a:lnTo>
                      <a:pt x="106" y="388"/>
                    </a:lnTo>
                    <a:lnTo>
                      <a:pt x="102" y="388"/>
                    </a:lnTo>
                    <a:lnTo>
                      <a:pt x="101" y="386"/>
                    </a:lnTo>
                    <a:lnTo>
                      <a:pt x="99" y="388"/>
                    </a:lnTo>
                    <a:lnTo>
                      <a:pt x="97" y="386"/>
                    </a:lnTo>
                    <a:lnTo>
                      <a:pt x="95" y="388"/>
                    </a:lnTo>
                    <a:lnTo>
                      <a:pt x="94" y="386"/>
                    </a:lnTo>
                    <a:lnTo>
                      <a:pt x="92" y="386"/>
                    </a:lnTo>
                    <a:lnTo>
                      <a:pt x="89" y="388"/>
                    </a:lnTo>
                    <a:lnTo>
                      <a:pt x="85" y="386"/>
                    </a:lnTo>
                    <a:lnTo>
                      <a:pt x="78" y="379"/>
                    </a:lnTo>
                    <a:lnTo>
                      <a:pt x="72" y="367"/>
                    </a:lnTo>
                    <a:lnTo>
                      <a:pt x="63" y="354"/>
                    </a:lnTo>
                    <a:lnTo>
                      <a:pt x="56" y="342"/>
                    </a:lnTo>
                    <a:lnTo>
                      <a:pt x="51" y="333"/>
                    </a:lnTo>
                    <a:lnTo>
                      <a:pt x="48" y="313"/>
                    </a:lnTo>
                    <a:lnTo>
                      <a:pt x="44" y="306"/>
                    </a:lnTo>
                    <a:lnTo>
                      <a:pt x="36" y="298"/>
                    </a:lnTo>
                    <a:lnTo>
                      <a:pt x="27" y="289"/>
                    </a:lnTo>
                    <a:lnTo>
                      <a:pt x="19" y="282"/>
                    </a:lnTo>
                    <a:lnTo>
                      <a:pt x="14" y="277"/>
                    </a:lnTo>
                    <a:lnTo>
                      <a:pt x="10" y="274"/>
                    </a:lnTo>
                    <a:lnTo>
                      <a:pt x="7" y="264"/>
                    </a:lnTo>
                    <a:lnTo>
                      <a:pt x="7" y="259"/>
                    </a:lnTo>
                    <a:lnTo>
                      <a:pt x="9" y="253"/>
                    </a:lnTo>
                    <a:lnTo>
                      <a:pt x="12" y="247"/>
                    </a:lnTo>
                    <a:lnTo>
                      <a:pt x="16" y="240"/>
                    </a:lnTo>
                    <a:lnTo>
                      <a:pt x="14" y="235"/>
                    </a:lnTo>
                    <a:lnTo>
                      <a:pt x="7" y="223"/>
                    </a:lnTo>
                    <a:lnTo>
                      <a:pt x="0" y="202"/>
                    </a:lnTo>
                    <a:lnTo>
                      <a:pt x="0" y="191"/>
                    </a:lnTo>
                    <a:lnTo>
                      <a:pt x="0" y="175"/>
                    </a:lnTo>
                    <a:lnTo>
                      <a:pt x="14" y="175"/>
                    </a:lnTo>
                    <a:lnTo>
                      <a:pt x="19" y="177"/>
                    </a:lnTo>
                    <a:lnTo>
                      <a:pt x="19" y="175"/>
                    </a:lnTo>
                    <a:lnTo>
                      <a:pt x="21" y="172"/>
                    </a:lnTo>
                    <a:lnTo>
                      <a:pt x="24" y="172"/>
                    </a:lnTo>
                    <a:lnTo>
                      <a:pt x="26" y="172"/>
                    </a:lnTo>
                    <a:lnTo>
                      <a:pt x="29" y="170"/>
                    </a:lnTo>
                    <a:lnTo>
                      <a:pt x="29" y="168"/>
                    </a:lnTo>
                    <a:lnTo>
                      <a:pt x="33" y="167"/>
                    </a:lnTo>
                    <a:lnTo>
                      <a:pt x="34" y="162"/>
                    </a:lnTo>
                    <a:lnTo>
                      <a:pt x="39" y="158"/>
                    </a:lnTo>
                    <a:lnTo>
                      <a:pt x="41" y="158"/>
                    </a:lnTo>
                    <a:lnTo>
                      <a:pt x="41" y="155"/>
                    </a:lnTo>
                    <a:lnTo>
                      <a:pt x="43" y="155"/>
                    </a:lnTo>
                    <a:lnTo>
                      <a:pt x="43" y="153"/>
                    </a:lnTo>
                    <a:lnTo>
                      <a:pt x="41" y="153"/>
                    </a:lnTo>
                    <a:lnTo>
                      <a:pt x="43" y="150"/>
                    </a:lnTo>
                    <a:lnTo>
                      <a:pt x="44" y="148"/>
                    </a:lnTo>
                    <a:lnTo>
                      <a:pt x="46" y="145"/>
                    </a:lnTo>
                    <a:lnTo>
                      <a:pt x="48" y="143"/>
                    </a:lnTo>
                    <a:lnTo>
                      <a:pt x="50" y="141"/>
                    </a:lnTo>
                    <a:lnTo>
                      <a:pt x="51" y="143"/>
                    </a:lnTo>
                    <a:lnTo>
                      <a:pt x="51" y="140"/>
                    </a:lnTo>
                    <a:lnTo>
                      <a:pt x="53" y="133"/>
                    </a:lnTo>
                    <a:lnTo>
                      <a:pt x="53" y="131"/>
                    </a:lnTo>
                    <a:lnTo>
                      <a:pt x="56" y="129"/>
                    </a:lnTo>
                    <a:lnTo>
                      <a:pt x="58" y="129"/>
                    </a:lnTo>
                    <a:lnTo>
                      <a:pt x="65" y="124"/>
                    </a:lnTo>
                    <a:lnTo>
                      <a:pt x="65" y="123"/>
                    </a:lnTo>
                    <a:lnTo>
                      <a:pt x="63" y="121"/>
                    </a:lnTo>
                    <a:lnTo>
                      <a:pt x="65" y="119"/>
                    </a:lnTo>
                    <a:lnTo>
                      <a:pt x="68" y="117"/>
                    </a:lnTo>
                    <a:lnTo>
                      <a:pt x="68" y="116"/>
                    </a:lnTo>
                    <a:lnTo>
                      <a:pt x="70" y="117"/>
                    </a:lnTo>
                    <a:lnTo>
                      <a:pt x="73" y="116"/>
                    </a:lnTo>
                    <a:lnTo>
                      <a:pt x="72" y="114"/>
                    </a:lnTo>
                    <a:lnTo>
                      <a:pt x="73" y="112"/>
                    </a:lnTo>
                    <a:lnTo>
                      <a:pt x="73" y="111"/>
                    </a:lnTo>
                    <a:lnTo>
                      <a:pt x="73" y="107"/>
                    </a:lnTo>
                    <a:lnTo>
                      <a:pt x="72" y="106"/>
                    </a:lnTo>
                    <a:lnTo>
                      <a:pt x="73" y="100"/>
                    </a:lnTo>
                    <a:lnTo>
                      <a:pt x="70" y="102"/>
                    </a:lnTo>
                    <a:lnTo>
                      <a:pt x="68" y="102"/>
                    </a:lnTo>
                    <a:lnTo>
                      <a:pt x="67" y="100"/>
                    </a:lnTo>
                    <a:lnTo>
                      <a:pt x="65" y="102"/>
                    </a:lnTo>
                    <a:lnTo>
                      <a:pt x="63" y="100"/>
                    </a:lnTo>
                    <a:lnTo>
                      <a:pt x="60" y="97"/>
                    </a:lnTo>
                    <a:lnTo>
                      <a:pt x="56" y="100"/>
                    </a:lnTo>
                    <a:lnTo>
                      <a:pt x="53" y="99"/>
                    </a:lnTo>
                    <a:lnTo>
                      <a:pt x="53" y="97"/>
                    </a:lnTo>
                    <a:lnTo>
                      <a:pt x="51" y="95"/>
                    </a:lnTo>
                    <a:lnTo>
                      <a:pt x="53" y="92"/>
                    </a:lnTo>
                    <a:lnTo>
                      <a:pt x="53" y="90"/>
                    </a:lnTo>
                    <a:lnTo>
                      <a:pt x="58" y="87"/>
                    </a:lnTo>
                    <a:lnTo>
                      <a:pt x="58" y="85"/>
                    </a:lnTo>
                    <a:lnTo>
                      <a:pt x="55" y="87"/>
                    </a:lnTo>
                    <a:lnTo>
                      <a:pt x="53" y="85"/>
                    </a:lnTo>
                    <a:lnTo>
                      <a:pt x="56" y="80"/>
                    </a:lnTo>
                    <a:lnTo>
                      <a:pt x="56" y="78"/>
                    </a:lnTo>
                    <a:lnTo>
                      <a:pt x="56" y="77"/>
                    </a:lnTo>
                    <a:lnTo>
                      <a:pt x="58" y="73"/>
                    </a:lnTo>
                    <a:lnTo>
                      <a:pt x="60" y="73"/>
                    </a:lnTo>
                    <a:lnTo>
                      <a:pt x="61" y="71"/>
                    </a:lnTo>
                    <a:lnTo>
                      <a:pt x="65" y="73"/>
                    </a:lnTo>
                    <a:lnTo>
                      <a:pt x="67" y="70"/>
                    </a:lnTo>
                    <a:lnTo>
                      <a:pt x="70" y="71"/>
                    </a:lnTo>
                    <a:lnTo>
                      <a:pt x="72" y="70"/>
                    </a:lnTo>
                    <a:lnTo>
                      <a:pt x="73" y="70"/>
                    </a:lnTo>
                    <a:lnTo>
                      <a:pt x="75" y="68"/>
                    </a:lnTo>
                    <a:lnTo>
                      <a:pt x="73" y="63"/>
                    </a:lnTo>
                    <a:lnTo>
                      <a:pt x="77" y="56"/>
                    </a:lnTo>
                    <a:lnTo>
                      <a:pt x="73" y="53"/>
                    </a:lnTo>
                    <a:lnTo>
                      <a:pt x="72" y="49"/>
                    </a:lnTo>
                    <a:lnTo>
                      <a:pt x="70" y="49"/>
                    </a:lnTo>
                    <a:lnTo>
                      <a:pt x="73" y="44"/>
                    </a:lnTo>
                    <a:lnTo>
                      <a:pt x="72" y="44"/>
                    </a:lnTo>
                    <a:lnTo>
                      <a:pt x="73" y="43"/>
                    </a:lnTo>
                    <a:lnTo>
                      <a:pt x="73" y="39"/>
                    </a:lnTo>
                    <a:lnTo>
                      <a:pt x="72" y="39"/>
                    </a:lnTo>
                    <a:lnTo>
                      <a:pt x="73" y="37"/>
                    </a:lnTo>
                    <a:lnTo>
                      <a:pt x="73" y="36"/>
                    </a:lnTo>
                    <a:lnTo>
                      <a:pt x="73" y="34"/>
                    </a:lnTo>
                    <a:lnTo>
                      <a:pt x="73" y="32"/>
                    </a:lnTo>
                    <a:lnTo>
                      <a:pt x="70" y="31"/>
                    </a:lnTo>
                    <a:lnTo>
                      <a:pt x="70" y="29"/>
                    </a:lnTo>
                    <a:lnTo>
                      <a:pt x="68" y="27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7" y="22"/>
                    </a:lnTo>
                    <a:lnTo>
                      <a:pt x="65" y="20"/>
                    </a:lnTo>
                    <a:lnTo>
                      <a:pt x="63" y="20"/>
                    </a:lnTo>
                    <a:lnTo>
                      <a:pt x="61" y="19"/>
                    </a:lnTo>
                    <a:lnTo>
                      <a:pt x="60" y="19"/>
                    </a:lnTo>
                    <a:lnTo>
                      <a:pt x="60" y="14"/>
                    </a:lnTo>
                    <a:lnTo>
                      <a:pt x="56" y="10"/>
                    </a:lnTo>
                    <a:lnTo>
                      <a:pt x="55" y="9"/>
                    </a:lnTo>
                    <a:lnTo>
                      <a:pt x="55" y="7"/>
                    </a:lnTo>
                    <a:lnTo>
                      <a:pt x="55" y="5"/>
                    </a:lnTo>
                    <a:lnTo>
                      <a:pt x="55" y="3"/>
                    </a:lnTo>
                    <a:lnTo>
                      <a:pt x="58" y="5"/>
                    </a:lnTo>
                    <a:lnTo>
                      <a:pt x="61" y="5"/>
                    </a:lnTo>
                    <a:lnTo>
                      <a:pt x="63" y="5"/>
                    </a:lnTo>
                    <a:lnTo>
                      <a:pt x="67" y="2"/>
                    </a:lnTo>
                    <a:lnTo>
                      <a:pt x="70" y="0"/>
                    </a:lnTo>
                    <a:lnTo>
                      <a:pt x="72" y="2"/>
                    </a:lnTo>
                    <a:lnTo>
                      <a:pt x="95" y="2"/>
                    </a:lnTo>
                    <a:lnTo>
                      <a:pt x="116" y="2"/>
                    </a:lnTo>
                    <a:lnTo>
                      <a:pt x="133" y="2"/>
                    </a:lnTo>
                    <a:lnTo>
                      <a:pt x="170" y="2"/>
                    </a:lnTo>
                    <a:lnTo>
                      <a:pt x="177" y="2"/>
                    </a:lnTo>
                    <a:lnTo>
                      <a:pt x="209" y="2"/>
                    </a:lnTo>
                    <a:lnTo>
                      <a:pt x="216" y="2"/>
                    </a:lnTo>
                    <a:lnTo>
                      <a:pt x="230" y="2"/>
                    </a:lnTo>
                    <a:close/>
                    <a:moveTo>
                      <a:pt x="505" y="245"/>
                    </a:moveTo>
                    <a:lnTo>
                      <a:pt x="505" y="250"/>
                    </a:lnTo>
                    <a:lnTo>
                      <a:pt x="507" y="257"/>
                    </a:lnTo>
                    <a:lnTo>
                      <a:pt x="509" y="259"/>
                    </a:lnTo>
                    <a:lnTo>
                      <a:pt x="509" y="262"/>
                    </a:lnTo>
                    <a:lnTo>
                      <a:pt x="509" y="264"/>
                    </a:lnTo>
                    <a:lnTo>
                      <a:pt x="510" y="265"/>
                    </a:lnTo>
                    <a:lnTo>
                      <a:pt x="510" y="264"/>
                    </a:lnTo>
                    <a:lnTo>
                      <a:pt x="512" y="265"/>
                    </a:lnTo>
                    <a:lnTo>
                      <a:pt x="512" y="264"/>
                    </a:lnTo>
                    <a:lnTo>
                      <a:pt x="512" y="262"/>
                    </a:lnTo>
                    <a:lnTo>
                      <a:pt x="512" y="260"/>
                    </a:lnTo>
                    <a:lnTo>
                      <a:pt x="514" y="264"/>
                    </a:lnTo>
                    <a:lnTo>
                      <a:pt x="514" y="269"/>
                    </a:lnTo>
                    <a:lnTo>
                      <a:pt x="517" y="274"/>
                    </a:lnTo>
                    <a:lnTo>
                      <a:pt x="515" y="277"/>
                    </a:lnTo>
                    <a:lnTo>
                      <a:pt x="514" y="279"/>
                    </a:lnTo>
                    <a:lnTo>
                      <a:pt x="512" y="279"/>
                    </a:lnTo>
                    <a:lnTo>
                      <a:pt x="510" y="277"/>
                    </a:lnTo>
                    <a:lnTo>
                      <a:pt x="507" y="271"/>
                    </a:lnTo>
                    <a:lnTo>
                      <a:pt x="509" y="272"/>
                    </a:lnTo>
                    <a:lnTo>
                      <a:pt x="509" y="276"/>
                    </a:lnTo>
                    <a:lnTo>
                      <a:pt x="505" y="272"/>
                    </a:lnTo>
                    <a:lnTo>
                      <a:pt x="505" y="271"/>
                    </a:lnTo>
                    <a:lnTo>
                      <a:pt x="502" y="267"/>
                    </a:lnTo>
                    <a:lnTo>
                      <a:pt x="502" y="269"/>
                    </a:lnTo>
                    <a:lnTo>
                      <a:pt x="502" y="267"/>
                    </a:lnTo>
                    <a:lnTo>
                      <a:pt x="502" y="271"/>
                    </a:lnTo>
                    <a:lnTo>
                      <a:pt x="497" y="265"/>
                    </a:lnTo>
                    <a:lnTo>
                      <a:pt x="497" y="264"/>
                    </a:lnTo>
                    <a:lnTo>
                      <a:pt x="498" y="262"/>
                    </a:lnTo>
                    <a:lnTo>
                      <a:pt x="498" y="259"/>
                    </a:lnTo>
                    <a:lnTo>
                      <a:pt x="497" y="253"/>
                    </a:lnTo>
                    <a:lnTo>
                      <a:pt x="497" y="250"/>
                    </a:lnTo>
                    <a:lnTo>
                      <a:pt x="498" y="250"/>
                    </a:lnTo>
                    <a:lnTo>
                      <a:pt x="498" y="248"/>
                    </a:lnTo>
                    <a:lnTo>
                      <a:pt x="500" y="248"/>
                    </a:lnTo>
                    <a:lnTo>
                      <a:pt x="502" y="240"/>
                    </a:lnTo>
                    <a:lnTo>
                      <a:pt x="505" y="245"/>
                    </a:lnTo>
                    <a:close/>
                    <a:moveTo>
                      <a:pt x="522" y="199"/>
                    </a:moveTo>
                    <a:lnTo>
                      <a:pt x="527" y="201"/>
                    </a:lnTo>
                    <a:lnTo>
                      <a:pt x="529" y="202"/>
                    </a:lnTo>
                    <a:lnTo>
                      <a:pt x="527" y="201"/>
                    </a:lnTo>
                    <a:lnTo>
                      <a:pt x="529" y="201"/>
                    </a:lnTo>
                    <a:lnTo>
                      <a:pt x="529" y="199"/>
                    </a:lnTo>
                    <a:lnTo>
                      <a:pt x="529" y="201"/>
                    </a:lnTo>
                    <a:lnTo>
                      <a:pt x="531" y="201"/>
                    </a:lnTo>
                    <a:lnTo>
                      <a:pt x="531" y="199"/>
                    </a:lnTo>
                    <a:lnTo>
                      <a:pt x="531" y="204"/>
                    </a:lnTo>
                    <a:lnTo>
                      <a:pt x="531" y="206"/>
                    </a:lnTo>
                    <a:lnTo>
                      <a:pt x="529" y="204"/>
                    </a:lnTo>
                    <a:lnTo>
                      <a:pt x="529" y="208"/>
                    </a:lnTo>
                    <a:lnTo>
                      <a:pt x="529" y="209"/>
                    </a:lnTo>
                    <a:lnTo>
                      <a:pt x="529" y="211"/>
                    </a:lnTo>
                    <a:lnTo>
                      <a:pt x="529" y="209"/>
                    </a:lnTo>
                    <a:lnTo>
                      <a:pt x="531" y="209"/>
                    </a:lnTo>
                    <a:lnTo>
                      <a:pt x="529" y="218"/>
                    </a:lnTo>
                    <a:lnTo>
                      <a:pt x="527" y="221"/>
                    </a:lnTo>
                    <a:lnTo>
                      <a:pt x="527" y="225"/>
                    </a:lnTo>
                    <a:lnTo>
                      <a:pt x="524" y="228"/>
                    </a:lnTo>
                    <a:lnTo>
                      <a:pt x="524" y="226"/>
                    </a:lnTo>
                    <a:lnTo>
                      <a:pt x="522" y="226"/>
                    </a:lnTo>
                    <a:lnTo>
                      <a:pt x="524" y="226"/>
                    </a:lnTo>
                    <a:lnTo>
                      <a:pt x="522" y="226"/>
                    </a:lnTo>
                    <a:lnTo>
                      <a:pt x="520" y="226"/>
                    </a:lnTo>
                    <a:lnTo>
                      <a:pt x="519" y="226"/>
                    </a:lnTo>
                    <a:lnTo>
                      <a:pt x="519" y="225"/>
                    </a:lnTo>
                    <a:lnTo>
                      <a:pt x="520" y="219"/>
                    </a:lnTo>
                    <a:lnTo>
                      <a:pt x="520" y="221"/>
                    </a:lnTo>
                    <a:lnTo>
                      <a:pt x="522" y="221"/>
                    </a:lnTo>
                    <a:lnTo>
                      <a:pt x="520" y="218"/>
                    </a:lnTo>
                    <a:lnTo>
                      <a:pt x="522" y="218"/>
                    </a:lnTo>
                    <a:lnTo>
                      <a:pt x="522" y="216"/>
                    </a:lnTo>
                    <a:lnTo>
                      <a:pt x="524" y="216"/>
                    </a:lnTo>
                    <a:lnTo>
                      <a:pt x="526" y="216"/>
                    </a:lnTo>
                    <a:lnTo>
                      <a:pt x="522" y="214"/>
                    </a:lnTo>
                    <a:lnTo>
                      <a:pt x="520" y="216"/>
                    </a:lnTo>
                    <a:lnTo>
                      <a:pt x="520" y="214"/>
                    </a:lnTo>
                    <a:lnTo>
                      <a:pt x="519" y="214"/>
                    </a:lnTo>
                    <a:lnTo>
                      <a:pt x="520" y="213"/>
                    </a:lnTo>
                    <a:lnTo>
                      <a:pt x="520" y="214"/>
                    </a:lnTo>
                    <a:lnTo>
                      <a:pt x="522" y="214"/>
                    </a:lnTo>
                    <a:lnTo>
                      <a:pt x="524" y="214"/>
                    </a:lnTo>
                    <a:lnTo>
                      <a:pt x="524" y="213"/>
                    </a:lnTo>
                    <a:lnTo>
                      <a:pt x="524" y="211"/>
                    </a:lnTo>
                    <a:lnTo>
                      <a:pt x="522" y="213"/>
                    </a:lnTo>
                    <a:lnTo>
                      <a:pt x="524" y="211"/>
                    </a:lnTo>
                    <a:lnTo>
                      <a:pt x="522" y="211"/>
                    </a:lnTo>
                    <a:lnTo>
                      <a:pt x="522" y="209"/>
                    </a:lnTo>
                    <a:lnTo>
                      <a:pt x="522" y="208"/>
                    </a:lnTo>
                    <a:lnTo>
                      <a:pt x="524" y="208"/>
                    </a:lnTo>
                    <a:lnTo>
                      <a:pt x="520" y="206"/>
                    </a:lnTo>
                    <a:lnTo>
                      <a:pt x="522" y="206"/>
                    </a:lnTo>
                    <a:lnTo>
                      <a:pt x="520" y="202"/>
                    </a:lnTo>
                    <a:lnTo>
                      <a:pt x="522" y="202"/>
                    </a:lnTo>
                    <a:lnTo>
                      <a:pt x="520" y="201"/>
                    </a:lnTo>
                    <a:lnTo>
                      <a:pt x="522" y="197"/>
                    </a:lnTo>
                    <a:lnTo>
                      <a:pt x="522" y="199"/>
                    </a:lnTo>
                    <a:close/>
                    <a:moveTo>
                      <a:pt x="532" y="337"/>
                    </a:moveTo>
                    <a:lnTo>
                      <a:pt x="532" y="344"/>
                    </a:lnTo>
                    <a:lnTo>
                      <a:pt x="531" y="347"/>
                    </a:lnTo>
                    <a:lnTo>
                      <a:pt x="531" y="349"/>
                    </a:lnTo>
                    <a:lnTo>
                      <a:pt x="529" y="352"/>
                    </a:lnTo>
                    <a:lnTo>
                      <a:pt x="527" y="350"/>
                    </a:lnTo>
                    <a:lnTo>
                      <a:pt x="526" y="350"/>
                    </a:lnTo>
                    <a:lnTo>
                      <a:pt x="524" y="354"/>
                    </a:lnTo>
                    <a:lnTo>
                      <a:pt x="526" y="356"/>
                    </a:lnTo>
                    <a:lnTo>
                      <a:pt x="522" y="356"/>
                    </a:lnTo>
                    <a:lnTo>
                      <a:pt x="519" y="356"/>
                    </a:lnTo>
                    <a:lnTo>
                      <a:pt x="517" y="354"/>
                    </a:lnTo>
                    <a:lnTo>
                      <a:pt x="520" y="350"/>
                    </a:lnTo>
                    <a:lnTo>
                      <a:pt x="524" y="349"/>
                    </a:lnTo>
                    <a:lnTo>
                      <a:pt x="522" y="347"/>
                    </a:lnTo>
                    <a:lnTo>
                      <a:pt x="527" y="345"/>
                    </a:lnTo>
                    <a:lnTo>
                      <a:pt x="526" y="345"/>
                    </a:lnTo>
                    <a:lnTo>
                      <a:pt x="527" y="344"/>
                    </a:lnTo>
                    <a:lnTo>
                      <a:pt x="529" y="344"/>
                    </a:lnTo>
                    <a:lnTo>
                      <a:pt x="531" y="340"/>
                    </a:lnTo>
                    <a:lnTo>
                      <a:pt x="532" y="337"/>
                    </a:lnTo>
                    <a:close/>
                    <a:moveTo>
                      <a:pt x="517" y="225"/>
                    </a:moveTo>
                    <a:lnTo>
                      <a:pt x="519" y="226"/>
                    </a:lnTo>
                    <a:lnTo>
                      <a:pt x="520" y="226"/>
                    </a:lnTo>
                    <a:lnTo>
                      <a:pt x="520" y="228"/>
                    </a:lnTo>
                    <a:lnTo>
                      <a:pt x="519" y="228"/>
                    </a:lnTo>
                    <a:lnTo>
                      <a:pt x="517" y="228"/>
                    </a:lnTo>
                    <a:lnTo>
                      <a:pt x="515" y="225"/>
                    </a:lnTo>
                    <a:lnTo>
                      <a:pt x="517" y="225"/>
                    </a:lnTo>
                    <a:close/>
                    <a:moveTo>
                      <a:pt x="527" y="354"/>
                    </a:moveTo>
                    <a:lnTo>
                      <a:pt x="527" y="356"/>
                    </a:lnTo>
                    <a:lnTo>
                      <a:pt x="527" y="357"/>
                    </a:lnTo>
                    <a:lnTo>
                      <a:pt x="526" y="357"/>
                    </a:lnTo>
                    <a:lnTo>
                      <a:pt x="526" y="356"/>
                    </a:lnTo>
                    <a:lnTo>
                      <a:pt x="527" y="356"/>
                    </a:lnTo>
                    <a:lnTo>
                      <a:pt x="527" y="354"/>
                    </a:lnTo>
                    <a:close/>
                    <a:moveTo>
                      <a:pt x="512" y="403"/>
                    </a:moveTo>
                    <a:lnTo>
                      <a:pt x="514" y="403"/>
                    </a:lnTo>
                    <a:lnTo>
                      <a:pt x="514" y="407"/>
                    </a:lnTo>
                    <a:lnTo>
                      <a:pt x="512" y="407"/>
                    </a:lnTo>
                    <a:lnTo>
                      <a:pt x="512" y="403"/>
                    </a:lnTo>
                    <a:close/>
                    <a:moveTo>
                      <a:pt x="498" y="245"/>
                    </a:moveTo>
                    <a:lnTo>
                      <a:pt x="498" y="247"/>
                    </a:lnTo>
                    <a:lnTo>
                      <a:pt x="498" y="248"/>
                    </a:lnTo>
                    <a:lnTo>
                      <a:pt x="497" y="247"/>
                    </a:lnTo>
                    <a:lnTo>
                      <a:pt x="498" y="242"/>
                    </a:lnTo>
                    <a:lnTo>
                      <a:pt x="498" y="245"/>
                    </a:lnTo>
                    <a:close/>
                    <a:moveTo>
                      <a:pt x="531" y="208"/>
                    </a:moveTo>
                    <a:lnTo>
                      <a:pt x="531" y="209"/>
                    </a:lnTo>
                    <a:lnTo>
                      <a:pt x="529" y="209"/>
                    </a:lnTo>
                    <a:lnTo>
                      <a:pt x="531" y="208"/>
                    </a:lnTo>
                    <a:lnTo>
                      <a:pt x="529" y="208"/>
                    </a:lnTo>
                    <a:lnTo>
                      <a:pt x="531" y="206"/>
                    </a:lnTo>
                    <a:lnTo>
                      <a:pt x="531" y="208"/>
                    </a:lnTo>
                    <a:close/>
                    <a:moveTo>
                      <a:pt x="519" y="209"/>
                    </a:moveTo>
                    <a:lnTo>
                      <a:pt x="520" y="204"/>
                    </a:lnTo>
                    <a:lnTo>
                      <a:pt x="519" y="208"/>
                    </a:lnTo>
                    <a:lnTo>
                      <a:pt x="519" y="209"/>
                    </a:lnTo>
                    <a:close/>
                    <a:moveTo>
                      <a:pt x="507" y="401"/>
                    </a:moveTo>
                    <a:lnTo>
                      <a:pt x="510" y="401"/>
                    </a:lnTo>
                    <a:lnTo>
                      <a:pt x="507" y="401"/>
                    </a:lnTo>
                    <a:close/>
                    <a:moveTo>
                      <a:pt x="512" y="381"/>
                    </a:moveTo>
                    <a:lnTo>
                      <a:pt x="514" y="381"/>
                    </a:lnTo>
                    <a:lnTo>
                      <a:pt x="514" y="383"/>
                    </a:lnTo>
                    <a:lnTo>
                      <a:pt x="512" y="383"/>
                    </a:lnTo>
                    <a:lnTo>
                      <a:pt x="512" y="381"/>
                    </a:lnTo>
                    <a:close/>
                    <a:moveTo>
                      <a:pt x="522" y="359"/>
                    </a:moveTo>
                    <a:lnTo>
                      <a:pt x="524" y="359"/>
                    </a:lnTo>
                    <a:lnTo>
                      <a:pt x="522" y="359"/>
                    </a:lnTo>
                    <a:close/>
                    <a:moveTo>
                      <a:pt x="520" y="202"/>
                    </a:moveTo>
                    <a:lnTo>
                      <a:pt x="520" y="204"/>
                    </a:lnTo>
                    <a:lnTo>
                      <a:pt x="520" y="202"/>
                    </a:lnTo>
                    <a:close/>
                    <a:moveTo>
                      <a:pt x="554" y="470"/>
                    </a:moveTo>
                    <a:lnTo>
                      <a:pt x="554" y="471"/>
                    </a:lnTo>
                    <a:lnTo>
                      <a:pt x="554" y="470"/>
                    </a:lnTo>
                    <a:close/>
                    <a:moveTo>
                      <a:pt x="517" y="223"/>
                    </a:moveTo>
                    <a:lnTo>
                      <a:pt x="519" y="223"/>
                    </a:lnTo>
                    <a:lnTo>
                      <a:pt x="517" y="223"/>
                    </a:lnTo>
                    <a:close/>
                    <a:moveTo>
                      <a:pt x="556" y="471"/>
                    </a:moveTo>
                    <a:lnTo>
                      <a:pt x="556" y="473"/>
                    </a:lnTo>
                    <a:lnTo>
                      <a:pt x="556" y="471"/>
                    </a:lnTo>
                    <a:close/>
                    <a:moveTo>
                      <a:pt x="526" y="354"/>
                    </a:moveTo>
                    <a:lnTo>
                      <a:pt x="526" y="356"/>
                    </a:lnTo>
                    <a:lnTo>
                      <a:pt x="526" y="354"/>
                    </a:lnTo>
                    <a:close/>
                    <a:moveTo>
                      <a:pt x="519" y="209"/>
                    </a:moveTo>
                    <a:lnTo>
                      <a:pt x="519" y="211"/>
                    </a:lnTo>
                    <a:lnTo>
                      <a:pt x="519" y="209"/>
                    </a:lnTo>
                    <a:close/>
                    <a:moveTo>
                      <a:pt x="503" y="276"/>
                    </a:moveTo>
                    <a:lnTo>
                      <a:pt x="503" y="277"/>
                    </a:lnTo>
                    <a:lnTo>
                      <a:pt x="503" y="276"/>
                    </a:lnTo>
                    <a:close/>
                    <a:moveTo>
                      <a:pt x="507" y="400"/>
                    </a:moveTo>
                    <a:lnTo>
                      <a:pt x="509" y="400"/>
                    </a:lnTo>
                    <a:lnTo>
                      <a:pt x="509" y="401"/>
                    </a:lnTo>
                    <a:lnTo>
                      <a:pt x="507" y="401"/>
                    </a:lnTo>
                    <a:lnTo>
                      <a:pt x="507" y="400"/>
                    </a:lnTo>
                    <a:close/>
                    <a:moveTo>
                      <a:pt x="527" y="352"/>
                    </a:moveTo>
                    <a:lnTo>
                      <a:pt x="529" y="352"/>
                    </a:lnTo>
                    <a:lnTo>
                      <a:pt x="529" y="354"/>
                    </a:lnTo>
                    <a:lnTo>
                      <a:pt x="527" y="354"/>
                    </a:lnTo>
                    <a:lnTo>
                      <a:pt x="527" y="352"/>
                    </a:lnTo>
                    <a:close/>
                    <a:moveTo>
                      <a:pt x="509" y="400"/>
                    </a:moveTo>
                    <a:lnTo>
                      <a:pt x="509" y="401"/>
                    </a:lnTo>
                    <a:lnTo>
                      <a:pt x="509" y="400"/>
                    </a:lnTo>
                    <a:close/>
                    <a:moveTo>
                      <a:pt x="500" y="289"/>
                    </a:moveTo>
                    <a:lnTo>
                      <a:pt x="500" y="291"/>
                    </a:lnTo>
                    <a:lnTo>
                      <a:pt x="500" y="289"/>
                    </a:lnTo>
                    <a:close/>
                    <a:moveTo>
                      <a:pt x="512" y="352"/>
                    </a:moveTo>
                    <a:lnTo>
                      <a:pt x="514" y="352"/>
                    </a:lnTo>
                    <a:lnTo>
                      <a:pt x="514" y="354"/>
                    </a:lnTo>
                    <a:lnTo>
                      <a:pt x="512" y="354"/>
                    </a:lnTo>
                    <a:lnTo>
                      <a:pt x="512" y="35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7" name="Freeform 58">
                <a:extLst>
                  <a:ext uri="{FF2B5EF4-FFF2-40B4-BE49-F238E27FC236}">
                    <a16:creationId xmlns:a16="http://schemas.microsoft.com/office/drawing/2014/main" id="{9D4C012B-6562-409D-8B90-4519CE21A3E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63933" y="2557356"/>
                <a:ext cx="157157" cy="404797"/>
              </a:xfrm>
              <a:custGeom>
                <a:avLst/>
                <a:gdLst>
                  <a:gd name="T0" fmla="*/ 48 w 99"/>
                  <a:gd name="T1" fmla="*/ 29 h 255"/>
                  <a:gd name="T2" fmla="*/ 77 w 99"/>
                  <a:gd name="T3" fmla="*/ 58 h 255"/>
                  <a:gd name="T4" fmla="*/ 79 w 99"/>
                  <a:gd name="T5" fmla="*/ 83 h 255"/>
                  <a:gd name="T6" fmla="*/ 90 w 99"/>
                  <a:gd name="T7" fmla="*/ 104 h 255"/>
                  <a:gd name="T8" fmla="*/ 92 w 99"/>
                  <a:gd name="T9" fmla="*/ 134 h 255"/>
                  <a:gd name="T10" fmla="*/ 90 w 99"/>
                  <a:gd name="T11" fmla="*/ 168 h 255"/>
                  <a:gd name="T12" fmla="*/ 92 w 99"/>
                  <a:gd name="T13" fmla="*/ 185 h 255"/>
                  <a:gd name="T14" fmla="*/ 87 w 99"/>
                  <a:gd name="T15" fmla="*/ 209 h 255"/>
                  <a:gd name="T16" fmla="*/ 89 w 99"/>
                  <a:gd name="T17" fmla="*/ 221 h 255"/>
                  <a:gd name="T18" fmla="*/ 89 w 99"/>
                  <a:gd name="T19" fmla="*/ 224 h 255"/>
                  <a:gd name="T20" fmla="*/ 89 w 99"/>
                  <a:gd name="T21" fmla="*/ 230 h 255"/>
                  <a:gd name="T22" fmla="*/ 94 w 99"/>
                  <a:gd name="T23" fmla="*/ 235 h 255"/>
                  <a:gd name="T24" fmla="*/ 99 w 99"/>
                  <a:gd name="T25" fmla="*/ 242 h 255"/>
                  <a:gd name="T26" fmla="*/ 90 w 99"/>
                  <a:gd name="T27" fmla="*/ 248 h 255"/>
                  <a:gd name="T28" fmla="*/ 68 w 99"/>
                  <a:gd name="T29" fmla="*/ 252 h 255"/>
                  <a:gd name="T30" fmla="*/ 58 w 99"/>
                  <a:gd name="T31" fmla="*/ 243 h 255"/>
                  <a:gd name="T32" fmla="*/ 46 w 99"/>
                  <a:gd name="T33" fmla="*/ 238 h 255"/>
                  <a:gd name="T34" fmla="*/ 43 w 99"/>
                  <a:gd name="T35" fmla="*/ 230 h 255"/>
                  <a:gd name="T36" fmla="*/ 38 w 99"/>
                  <a:gd name="T37" fmla="*/ 221 h 255"/>
                  <a:gd name="T38" fmla="*/ 34 w 99"/>
                  <a:gd name="T39" fmla="*/ 213 h 255"/>
                  <a:gd name="T40" fmla="*/ 38 w 99"/>
                  <a:gd name="T41" fmla="*/ 207 h 255"/>
                  <a:gd name="T42" fmla="*/ 41 w 99"/>
                  <a:gd name="T43" fmla="*/ 194 h 255"/>
                  <a:gd name="T44" fmla="*/ 34 w 99"/>
                  <a:gd name="T45" fmla="*/ 187 h 255"/>
                  <a:gd name="T46" fmla="*/ 38 w 99"/>
                  <a:gd name="T47" fmla="*/ 175 h 255"/>
                  <a:gd name="T48" fmla="*/ 38 w 99"/>
                  <a:gd name="T49" fmla="*/ 155 h 255"/>
                  <a:gd name="T50" fmla="*/ 39 w 99"/>
                  <a:gd name="T51" fmla="*/ 148 h 255"/>
                  <a:gd name="T52" fmla="*/ 43 w 99"/>
                  <a:gd name="T53" fmla="*/ 139 h 255"/>
                  <a:gd name="T54" fmla="*/ 34 w 99"/>
                  <a:gd name="T55" fmla="*/ 131 h 255"/>
                  <a:gd name="T56" fmla="*/ 28 w 99"/>
                  <a:gd name="T57" fmla="*/ 119 h 255"/>
                  <a:gd name="T58" fmla="*/ 33 w 99"/>
                  <a:gd name="T59" fmla="*/ 119 h 255"/>
                  <a:gd name="T60" fmla="*/ 31 w 99"/>
                  <a:gd name="T61" fmla="*/ 105 h 255"/>
                  <a:gd name="T62" fmla="*/ 34 w 99"/>
                  <a:gd name="T63" fmla="*/ 95 h 255"/>
                  <a:gd name="T64" fmla="*/ 36 w 99"/>
                  <a:gd name="T65" fmla="*/ 87 h 255"/>
                  <a:gd name="T66" fmla="*/ 26 w 99"/>
                  <a:gd name="T67" fmla="*/ 83 h 255"/>
                  <a:gd name="T68" fmla="*/ 19 w 99"/>
                  <a:gd name="T69" fmla="*/ 85 h 255"/>
                  <a:gd name="T70" fmla="*/ 22 w 99"/>
                  <a:gd name="T71" fmla="*/ 82 h 255"/>
                  <a:gd name="T72" fmla="*/ 28 w 99"/>
                  <a:gd name="T73" fmla="*/ 78 h 255"/>
                  <a:gd name="T74" fmla="*/ 22 w 99"/>
                  <a:gd name="T75" fmla="*/ 73 h 255"/>
                  <a:gd name="T76" fmla="*/ 24 w 99"/>
                  <a:gd name="T77" fmla="*/ 71 h 255"/>
                  <a:gd name="T78" fmla="*/ 28 w 99"/>
                  <a:gd name="T79" fmla="*/ 61 h 255"/>
                  <a:gd name="T80" fmla="*/ 29 w 99"/>
                  <a:gd name="T81" fmla="*/ 54 h 255"/>
                  <a:gd name="T82" fmla="*/ 24 w 99"/>
                  <a:gd name="T83" fmla="*/ 42 h 255"/>
                  <a:gd name="T84" fmla="*/ 22 w 99"/>
                  <a:gd name="T85" fmla="*/ 36 h 255"/>
                  <a:gd name="T86" fmla="*/ 14 w 99"/>
                  <a:gd name="T87" fmla="*/ 32 h 255"/>
                  <a:gd name="T88" fmla="*/ 4 w 99"/>
                  <a:gd name="T89" fmla="*/ 22 h 255"/>
                  <a:gd name="T90" fmla="*/ 7 w 99"/>
                  <a:gd name="T91" fmla="*/ 8 h 255"/>
                  <a:gd name="T92" fmla="*/ 4 w 99"/>
                  <a:gd name="T93" fmla="*/ 3 h 255"/>
                  <a:gd name="T94" fmla="*/ 33 w 99"/>
                  <a:gd name="T95" fmla="*/ 7 h 255"/>
                  <a:gd name="T96" fmla="*/ 41 w 99"/>
                  <a:gd name="T97" fmla="*/ 7 h 2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99" h="255">
                    <a:moveTo>
                      <a:pt x="55" y="7"/>
                    </a:moveTo>
                    <a:lnTo>
                      <a:pt x="53" y="17"/>
                    </a:lnTo>
                    <a:lnTo>
                      <a:pt x="48" y="20"/>
                    </a:lnTo>
                    <a:lnTo>
                      <a:pt x="48" y="29"/>
                    </a:lnTo>
                    <a:lnTo>
                      <a:pt x="48" y="32"/>
                    </a:lnTo>
                    <a:lnTo>
                      <a:pt x="48" y="37"/>
                    </a:lnTo>
                    <a:lnTo>
                      <a:pt x="58" y="48"/>
                    </a:lnTo>
                    <a:lnTo>
                      <a:pt x="77" y="58"/>
                    </a:lnTo>
                    <a:lnTo>
                      <a:pt x="77" y="75"/>
                    </a:lnTo>
                    <a:lnTo>
                      <a:pt x="75" y="82"/>
                    </a:lnTo>
                    <a:lnTo>
                      <a:pt x="77" y="83"/>
                    </a:lnTo>
                    <a:lnTo>
                      <a:pt x="79" y="83"/>
                    </a:lnTo>
                    <a:lnTo>
                      <a:pt x="80" y="92"/>
                    </a:lnTo>
                    <a:lnTo>
                      <a:pt x="82" y="95"/>
                    </a:lnTo>
                    <a:lnTo>
                      <a:pt x="87" y="100"/>
                    </a:lnTo>
                    <a:lnTo>
                      <a:pt x="90" y="104"/>
                    </a:lnTo>
                    <a:lnTo>
                      <a:pt x="90" y="107"/>
                    </a:lnTo>
                    <a:lnTo>
                      <a:pt x="90" y="129"/>
                    </a:lnTo>
                    <a:lnTo>
                      <a:pt x="90" y="133"/>
                    </a:lnTo>
                    <a:lnTo>
                      <a:pt x="92" y="134"/>
                    </a:lnTo>
                    <a:lnTo>
                      <a:pt x="90" y="136"/>
                    </a:lnTo>
                    <a:lnTo>
                      <a:pt x="90" y="141"/>
                    </a:lnTo>
                    <a:lnTo>
                      <a:pt x="90" y="150"/>
                    </a:lnTo>
                    <a:lnTo>
                      <a:pt x="90" y="168"/>
                    </a:lnTo>
                    <a:lnTo>
                      <a:pt x="90" y="175"/>
                    </a:lnTo>
                    <a:lnTo>
                      <a:pt x="92" y="179"/>
                    </a:lnTo>
                    <a:lnTo>
                      <a:pt x="92" y="182"/>
                    </a:lnTo>
                    <a:lnTo>
                      <a:pt x="92" y="185"/>
                    </a:lnTo>
                    <a:lnTo>
                      <a:pt x="90" y="185"/>
                    </a:lnTo>
                    <a:lnTo>
                      <a:pt x="90" y="189"/>
                    </a:lnTo>
                    <a:lnTo>
                      <a:pt x="90" y="211"/>
                    </a:lnTo>
                    <a:lnTo>
                      <a:pt x="87" y="209"/>
                    </a:lnTo>
                    <a:lnTo>
                      <a:pt x="89" y="214"/>
                    </a:lnTo>
                    <a:lnTo>
                      <a:pt x="89" y="218"/>
                    </a:lnTo>
                    <a:lnTo>
                      <a:pt x="89" y="219"/>
                    </a:lnTo>
                    <a:lnTo>
                      <a:pt x="89" y="221"/>
                    </a:lnTo>
                    <a:lnTo>
                      <a:pt x="90" y="221"/>
                    </a:lnTo>
                    <a:lnTo>
                      <a:pt x="90" y="223"/>
                    </a:lnTo>
                    <a:lnTo>
                      <a:pt x="89" y="223"/>
                    </a:lnTo>
                    <a:lnTo>
                      <a:pt x="89" y="224"/>
                    </a:lnTo>
                    <a:lnTo>
                      <a:pt x="87" y="226"/>
                    </a:lnTo>
                    <a:lnTo>
                      <a:pt x="90" y="228"/>
                    </a:lnTo>
                    <a:lnTo>
                      <a:pt x="89" y="228"/>
                    </a:lnTo>
                    <a:lnTo>
                      <a:pt x="89" y="230"/>
                    </a:lnTo>
                    <a:lnTo>
                      <a:pt x="92" y="231"/>
                    </a:lnTo>
                    <a:lnTo>
                      <a:pt x="92" y="233"/>
                    </a:lnTo>
                    <a:lnTo>
                      <a:pt x="94" y="233"/>
                    </a:lnTo>
                    <a:lnTo>
                      <a:pt x="94" y="235"/>
                    </a:lnTo>
                    <a:lnTo>
                      <a:pt x="97" y="236"/>
                    </a:lnTo>
                    <a:lnTo>
                      <a:pt x="97" y="238"/>
                    </a:lnTo>
                    <a:lnTo>
                      <a:pt x="97" y="240"/>
                    </a:lnTo>
                    <a:lnTo>
                      <a:pt x="99" y="242"/>
                    </a:lnTo>
                    <a:lnTo>
                      <a:pt x="97" y="243"/>
                    </a:lnTo>
                    <a:lnTo>
                      <a:pt x="99" y="245"/>
                    </a:lnTo>
                    <a:lnTo>
                      <a:pt x="99" y="247"/>
                    </a:lnTo>
                    <a:lnTo>
                      <a:pt x="90" y="248"/>
                    </a:lnTo>
                    <a:lnTo>
                      <a:pt x="77" y="252"/>
                    </a:lnTo>
                    <a:lnTo>
                      <a:pt x="73" y="253"/>
                    </a:lnTo>
                    <a:lnTo>
                      <a:pt x="68" y="255"/>
                    </a:lnTo>
                    <a:lnTo>
                      <a:pt x="68" y="252"/>
                    </a:lnTo>
                    <a:lnTo>
                      <a:pt x="63" y="252"/>
                    </a:lnTo>
                    <a:lnTo>
                      <a:pt x="62" y="250"/>
                    </a:lnTo>
                    <a:lnTo>
                      <a:pt x="60" y="248"/>
                    </a:lnTo>
                    <a:lnTo>
                      <a:pt x="58" y="243"/>
                    </a:lnTo>
                    <a:lnTo>
                      <a:pt x="53" y="243"/>
                    </a:lnTo>
                    <a:lnTo>
                      <a:pt x="51" y="242"/>
                    </a:lnTo>
                    <a:lnTo>
                      <a:pt x="48" y="240"/>
                    </a:lnTo>
                    <a:lnTo>
                      <a:pt x="46" y="238"/>
                    </a:lnTo>
                    <a:lnTo>
                      <a:pt x="45" y="233"/>
                    </a:lnTo>
                    <a:lnTo>
                      <a:pt x="46" y="231"/>
                    </a:lnTo>
                    <a:lnTo>
                      <a:pt x="43" y="231"/>
                    </a:lnTo>
                    <a:lnTo>
                      <a:pt x="43" y="230"/>
                    </a:lnTo>
                    <a:lnTo>
                      <a:pt x="41" y="230"/>
                    </a:lnTo>
                    <a:lnTo>
                      <a:pt x="39" y="228"/>
                    </a:lnTo>
                    <a:lnTo>
                      <a:pt x="41" y="223"/>
                    </a:lnTo>
                    <a:lnTo>
                      <a:pt x="38" y="221"/>
                    </a:lnTo>
                    <a:lnTo>
                      <a:pt x="36" y="219"/>
                    </a:lnTo>
                    <a:lnTo>
                      <a:pt x="34" y="218"/>
                    </a:lnTo>
                    <a:lnTo>
                      <a:pt x="36" y="214"/>
                    </a:lnTo>
                    <a:lnTo>
                      <a:pt x="34" y="213"/>
                    </a:lnTo>
                    <a:lnTo>
                      <a:pt x="34" y="211"/>
                    </a:lnTo>
                    <a:lnTo>
                      <a:pt x="36" y="211"/>
                    </a:lnTo>
                    <a:lnTo>
                      <a:pt x="38" y="209"/>
                    </a:lnTo>
                    <a:lnTo>
                      <a:pt x="38" y="207"/>
                    </a:lnTo>
                    <a:lnTo>
                      <a:pt x="39" y="206"/>
                    </a:lnTo>
                    <a:lnTo>
                      <a:pt x="38" y="202"/>
                    </a:lnTo>
                    <a:lnTo>
                      <a:pt x="39" y="201"/>
                    </a:lnTo>
                    <a:lnTo>
                      <a:pt x="41" y="194"/>
                    </a:lnTo>
                    <a:lnTo>
                      <a:pt x="41" y="190"/>
                    </a:lnTo>
                    <a:lnTo>
                      <a:pt x="39" y="189"/>
                    </a:lnTo>
                    <a:lnTo>
                      <a:pt x="36" y="190"/>
                    </a:lnTo>
                    <a:lnTo>
                      <a:pt x="34" y="187"/>
                    </a:lnTo>
                    <a:lnTo>
                      <a:pt x="34" y="185"/>
                    </a:lnTo>
                    <a:lnTo>
                      <a:pt x="34" y="180"/>
                    </a:lnTo>
                    <a:lnTo>
                      <a:pt x="38" y="179"/>
                    </a:lnTo>
                    <a:lnTo>
                      <a:pt x="38" y="175"/>
                    </a:lnTo>
                    <a:lnTo>
                      <a:pt x="39" y="173"/>
                    </a:lnTo>
                    <a:lnTo>
                      <a:pt x="39" y="172"/>
                    </a:lnTo>
                    <a:lnTo>
                      <a:pt x="39" y="170"/>
                    </a:lnTo>
                    <a:lnTo>
                      <a:pt x="38" y="155"/>
                    </a:lnTo>
                    <a:lnTo>
                      <a:pt x="38" y="153"/>
                    </a:lnTo>
                    <a:lnTo>
                      <a:pt x="39" y="151"/>
                    </a:lnTo>
                    <a:lnTo>
                      <a:pt x="38" y="150"/>
                    </a:lnTo>
                    <a:lnTo>
                      <a:pt x="39" y="148"/>
                    </a:lnTo>
                    <a:lnTo>
                      <a:pt x="41" y="146"/>
                    </a:lnTo>
                    <a:lnTo>
                      <a:pt x="45" y="145"/>
                    </a:lnTo>
                    <a:lnTo>
                      <a:pt x="45" y="143"/>
                    </a:lnTo>
                    <a:lnTo>
                      <a:pt x="43" y="139"/>
                    </a:lnTo>
                    <a:lnTo>
                      <a:pt x="41" y="138"/>
                    </a:lnTo>
                    <a:lnTo>
                      <a:pt x="41" y="134"/>
                    </a:lnTo>
                    <a:lnTo>
                      <a:pt x="36" y="133"/>
                    </a:lnTo>
                    <a:lnTo>
                      <a:pt x="34" y="131"/>
                    </a:lnTo>
                    <a:lnTo>
                      <a:pt x="33" y="129"/>
                    </a:lnTo>
                    <a:lnTo>
                      <a:pt x="31" y="129"/>
                    </a:lnTo>
                    <a:lnTo>
                      <a:pt x="28" y="121"/>
                    </a:lnTo>
                    <a:lnTo>
                      <a:pt x="28" y="119"/>
                    </a:lnTo>
                    <a:lnTo>
                      <a:pt x="29" y="119"/>
                    </a:lnTo>
                    <a:lnTo>
                      <a:pt x="31" y="117"/>
                    </a:lnTo>
                    <a:lnTo>
                      <a:pt x="31" y="119"/>
                    </a:lnTo>
                    <a:lnTo>
                      <a:pt x="33" y="119"/>
                    </a:lnTo>
                    <a:lnTo>
                      <a:pt x="33" y="117"/>
                    </a:lnTo>
                    <a:lnTo>
                      <a:pt x="34" y="116"/>
                    </a:lnTo>
                    <a:lnTo>
                      <a:pt x="34" y="112"/>
                    </a:lnTo>
                    <a:lnTo>
                      <a:pt x="31" y="105"/>
                    </a:lnTo>
                    <a:lnTo>
                      <a:pt x="33" y="102"/>
                    </a:lnTo>
                    <a:lnTo>
                      <a:pt x="33" y="100"/>
                    </a:lnTo>
                    <a:lnTo>
                      <a:pt x="34" y="99"/>
                    </a:lnTo>
                    <a:lnTo>
                      <a:pt x="34" y="95"/>
                    </a:lnTo>
                    <a:lnTo>
                      <a:pt x="36" y="94"/>
                    </a:lnTo>
                    <a:lnTo>
                      <a:pt x="36" y="92"/>
                    </a:lnTo>
                    <a:lnTo>
                      <a:pt x="36" y="88"/>
                    </a:lnTo>
                    <a:lnTo>
                      <a:pt x="36" y="87"/>
                    </a:lnTo>
                    <a:lnTo>
                      <a:pt x="33" y="87"/>
                    </a:lnTo>
                    <a:lnTo>
                      <a:pt x="33" y="83"/>
                    </a:lnTo>
                    <a:lnTo>
                      <a:pt x="31" y="83"/>
                    </a:lnTo>
                    <a:lnTo>
                      <a:pt x="26" y="83"/>
                    </a:lnTo>
                    <a:lnTo>
                      <a:pt x="26" y="85"/>
                    </a:lnTo>
                    <a:lnTo>
                      <a:pt x="22" y="87"/>
                    </a:lnTo>
                    <a:lnTo>
                      <a:pt x="21" y="87"/>
                    </a:lnTo>
                    <a:lnTo>
                      <a:pt x="19" y="85"/>
                    </a:lnTo>
                    <a:lnTo>
                      <a:pt x="19" y="83"/>
                    </a:lnTo>
                    <a:lnTo>
                      <a:pt x="21" y="85"/>
                    </a:lnTo>
                    <a:lnTo>
                      <a:pt x="24" y="83"/>
                    </a:lnTo>
                    <a:lnTo>
                      <a:pt x="22" y="82"/>
                    </a:lnTo>
                    <a:lnTo>
                      <a:pt x="21" y="82"/>
                    </a:lnTo>
                    <a:lnTo>
                      <a:pt x="21" y="80"/>
                    </a:lnTo>
                    <a:lnTo>
                      <a:pt x="26" y="80"/>
                    </a:lnTo>
                    <a:lnTo>
                      <a:pt x="28" y="78"/>
                    </a:lnTo>
                    <a:lnTo>
                      <a:pt x="26" y="76"/>
                    </a:lnTo>
                    <a:lnTo>
                      <a:pt x="22" y="78"/>
                    </a:lnTo>
                    <a:lnTo>
                      <a:pt x="21" y="75"/>
                    </a:lnTo>
                    <a:lnTo>
                      <a:pt x="22" y="73"/>
                    </a:lnTo>
                    <a:lnTo>
                      <a:pt x="24" y="75"/>
                    </a:lnTo>
                    <a:lnTo>
                      <a:pt x="26" y="75"/>
                    </a:lnTo>
                    <a:lnTo>
                      <a:pt x="26" y="73"/>
                    </a:lnTo>
                    <a:lnTo>
                      <a:pt x="24" y="71"/>
                    </a:lnTo>
                    <a:lnTo>
                      <a:pt x="24" y="68"/>
                    </a:lnTo>
                    <a:lnTo>
                      <a:pt x="26" y="66"/>
                    </a:lnTo>
                    <a:lnTo>
                      <a:pt x="26" y="63"/>
                    </a:lnTo>
                    <a:lnTo>
                      <a:pt x="28" y="61"/>
                    </a:lnTo>
                    <a:lnTo>
                      <a:pt x="26" y="58"/>
                    </a:lnTo>
                    <a:lnTo>
                      <a:pt x="26" y="56"/>
                    </a:lnTo>
                    <a:lnTo>
                      <a:pt x="29" y="56"/>
                    </a:lnTo>
                    <a:lnTo>
                      <a:pt x="29" y="54"/>
                    </a:lnTo>
                    <a:lnTo>
                      <a:pt x="26" y="53"/>
                    </a:lnTo>
                    <a:lnTo>
                      <a:pt x="26" y="44"/>
                    </a:lnTo>
                    <a:lnTo>
                      <a:pt x="28" y="42"/>
                    </a:lnTo>
                    <a:lnTo>
                      <a:pt x="24" y="42"/>
                    </a:lnTo>
                    <a:lnTo>
                      <a:pt x="24" y="41"/>
                    </a:lnTo>
                    <a:lnTo>
                      <a:pt x="22" y="39"/>
                    </a:lnTo>
                    <a:lnTo>
                      <a:pt x="22" y="37"/>
                    </a:lnTo>
                    <a:lnTo>
                      <a:pt x="22" y="36"/>
                    </a:lnTo>
                    <a:lnTo>
                      <a:pt x="21" y="37"/>
                    </a:lnTo>
                    <a:lnTo>
                      <a:pt x="19" y="36"/>
                    </a:lnTo>
                    <a:lnTo>
                      <a:pt x="17" y="37"/>
                    </a:lnTo>
                    <a:lnTo>
                      <a:pt x="14" y="32"/>
                    </a:lnTo>
                    <a:lnTo>
                      <a:pt x="11" y="31"/>
                    </a:lnTo>
                    <a:lnTo>
                      <a:pt x="11" y="27"/>
                    </a:lnTo>
                    <a:lnTo>
                      <a:pt x="4" y="25"/>
                    </a:lnTo>
                    <a:lnTo>
                      <a:pt x="4" y="22"/>
                    </a:lnTo>
                    <a:lnTo>
                      <a:pt x="4" y="19"/>
                    </a:lnTo>
                    <a:lnTo>
                      <a:pt x="7" y="17"/>
                    </a:lnTo>
                    <a:lnTo>
                      <a:pt x="7" y="15"/>
                    </a:lnTo>
                    <a:lnTo>
                      <a:pt x="7" y="8"/>
                    </a:lnTo>
                    <a:lnTo>
                      <a:pt x="9" y="8"/>
                    </a:lnTo>
                    <a:lnTo>
                      <a:pt x="9" y="3"/>
                    </a:lnTo>
                    <a:lnTo>
                      <a:pt x="7" y="2"/>
                    </a:lnTo>
                    <a:lnTo>
                      <a:pt x="4" y="3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11" y="2"/>
                    </a:lnTo>
                    <a:lnTo>
                      <a:pt x="33" y="7"/>
                    </a:lnTo>
                    <a:lnTo>
                      <a:pt x="33" y="8"/>
                    </a:lnTo>
                    <a:lnTo>
                      <a:pt x="34" y="8"/>
                    </a:lnTo>
                    <a:lnTo>
                      <a:pt x="33" y="10"/>
                    </a:lnTo>
                    <a:lnTo>
                      <a:pt x="41" y="7"/>
                    </a:lnTo>
                    <a:lnTo>
                      <a:pt x="55" y="7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8" name="Freeform 59">
                <a:extLst>
                  <a:ext uri="{FF2B5EF4-FFF2-40B4-BE49-F238E27FC236}">
                    <a16:creationId xmlns:a16="http://schemas.microsoft.com/office/drawing/2014/main" id="{E2DBE33C-9DE3-4AC8-9EB4-6128CE6D72F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183040" y="434956"/>
                <a:ext cx="325427" cy="585764"/>
              </a:xfrm>
              <a:custGeom>
                <a:avLst/>
                <a:gdLst>
                  <a:gd name="T0" fmla="*/ 200 w 205"/>
                  <a:gd name="T1" fmla="*/ 247 h 369"/>
                  <a:gd name="T2" fmla="*/ 183 w 205"/>
                  <a:gd name="T3" fmla="*/ 267 h 369"/>
                  <a:gd name="T4" fmla="*/ 156 w 205"/>
                  <a:gd name="T5" fmla="*/ 282 h 369"/>
                  <a:gd name="T6" fmla="*/ 144 w 205"/>
                  <a:gd name="T7" fmla="*/ 292 h 369"/>
                  <a:gd name="T8" fmla="*/ 137 w 205"/>
                  <a:gd name="T9" fmla="*/ 340 h 369"/>
                  <a:gd name="T10" fmla="*/ 119 w 205"/>
                  <a:gd name="T11" fmla="*/ 364 h 369"/>
                  <a:gd name="T12" fmla="*/ 39 w 205"/>
                  <a:gd name="T13" fmla="*/ 238 h 369"/>
                  <a:gd name="T14" fmla="*/ 10 w 205"/>
                  <a:gd name="T15" fmla="*/ 216 h 369"/>
                  <a:gd name="T16" fmla="*/ 3 w 205"/>
                  <a:gd name="T17" fmla="*/ 192 h 369"/>
                  <a:gd name="T18" fmla="*/ 0 w 205"/>
                  <a:gd name="T19" fmla="*/ 175 h 369"/>
                  <a:gd name="T20" fmla="*/ 20 w 205"/>
                  <a:gd name="T21" fmla="*/ 158 h 369"/>
                  <a:gd name="T22" fmla="*/ 34 w 205"/>
                  <a:gd name="T23" fmla="*/ 148 h 369"/>
                  <a:gd name="T24" fmla="*/ 37 w 205"/>
                  <a:gd name="T25" fmla="*/ 139 h 369"/>
                  <a:gd name="T26" fmla="*/ 44 w 205"/>
                  <a:gd name="T27" fmla="*/ 121 h 369"/>
                  <a:gd name="T28" fmla="*/ 39 w 205"/>
                  <a:gd name="T29" fmla="*/ 107 h 369"/>
                  <a:gd name="T30" fmla="*/ 37 w 205"/>
                  <a:gd name="T31" fmla="*/ 87 h 369"/>
                  <a:gd name="T32" fmla="*/ 39 w 205"/>
                  <a:gd name="T33" fmla="*/ 75 h 369"/>
                  <a:gd name="T34" fmla="*/ 42 w 205"/>
                  <a:gd name="T35" fmla="*/ 59 h 369"/>
                  <a:gd name="T36" fmla="*/ 30 w 205"/>
                  <a:gd name="T37" fmla="*/ 53 h 369"/>
                  <a:gd name="T38" fmla="*/ 47 w 205"/>
                  <a:gd name="T39" fmla="*/ 42 h 369"/>
                  <a:gd name="T40" fmla="*/ 57 w 205"/>
                  <a:gd name="T41" fmla="*/ 34 h 369"/>
                  <a:gd name="T42" fmla="*/ 61 w 205"/>
                  <a:gd name="T43" fmla="*/ 29 h 369"/>
                  <a:gd name="T44" fmla="*/ 80 w 205"/>
                  <a:gd name="T45" fmla="*/ 19 h 369"/>
                  <a:gd name="T46" fmla="*/ 102 w 205"/>
                  <a:gd name="T47" fmla="*/ 12 h 369"/>
                  <a:gd name="T48" fmla="*/ 117 w 205"/>
                  <a:gd name="T49" fmla="*/ 10 h 369"/>
                  <a:gd name="T50" fmla="*/ 120 w 205"/>
                  <a:gd name="T51" fmla="*/ 15 h 369"/>
                  <a:gd name="T52" fmla="*/ 132 w 205"/>
                  <a:gd name="T53" fmla="*/ 15 h 369"/>
                  <a:gd name="T54" fmla="*/ 136 w 205"/>
                  <a:gd name="T55" fmla="*/ 20 h 369"/>
                  <a:gd name="T56" fmla="*/ 134 w 205"/>
                  <a:gd name="T57" fmla="*/ 22 h 369"/>
                  <a:gd name="T58" fmla="*/ 139 w 205"/>
                  <a:gd name="T59" fmla="*/ 37 h 369"/>
                  <a:gd name="T60" fmla="*/ 154 w 205"/>
                  <a:gd name="T61" fmla="*/ 32 h 369"/>
                  <a:gd name="T62" fmla="*/ 176 w 205"/>
                  <a:gd name="T63" fmla="*/ 22 h 369"/>
                  <a:gd name="T64" fmla="*/ 181 w 205"/>
                  <a:gd name="T65" fmla="*/ 36 h 369"/>
                  <a:gd name="T66" fmla="*/ 154 w 205"/>
                  <a:gd name="T67" fmla="*/ 58 h 369"/>
                  <a:gd name="T68" fmla="*/ 151 w 205"/>
                  <a:gd name="T69" fmla="*/ 78 h 369"/>
                  <a:gd name="T70" fmla="*/ 178 w 205"/>
                  <a:gd name="T71" fmla="*/ 97 h 369"/>
                  <a:gd name="T72" fmla="*/ 176 w 205"/>
                  <a:gd name="T73" fmla="*/ 110 h 369"/>
                  <a:gd name="T74" fmla="*/ 176 w 205"/>
                  <a:gd name="T75" fmla="*/ 122 h 369"/>
                  <a:gd name="T76" fmla="*/ 168 w 205"/>
                  <a:gd name="T77" fmla="*/ 138 h 369"/>
                  <a:gd name="T78" fmla="*/ 159 w 205"/>
                  <a:gd name="T79" fmla="*/ 146 h 369"/>
                  <a:gd name="T80" fmla="*/ 142 w 205"/>
                  <a:gd name="T81" fmla="*/ 156 h 369"/>
                  <a:gd name="T82" fmla="*/ 136 w 205"/>
                  <a:gd name="T83" fmla="*/ 162 h 369"/>
                  <a:gd name="T84" fmla="*/ 127 w 205"/>
                  <a:gd name="T85" fmla="*/ 180 h 369"/>
                  <a:gd name="T86" fmla="*/ 161 w 205"/>
                  <a:gd name="T87" fmla="*/ 194 h 369"/>
                  <a:gd name="T88" fmla="*/ 171 w 205"/>
                  <a:gd name="T89" fmla="*/ 202 h 369"/>
                  <a:gd name="T90" fmla="*/ 178 w 205"/>
                  <a:gd name="T91" fmla="*/ 197 h 369"/>
                  <a:gd name="T92" fmla="*/ 190 w 205"/>
                  <a:gd name="T93" fmla="*/ 216 h 369"/>
                  <a:gd name="T94" fmla="*/ 197 w 205"/>
                  <a:gd name="T95" fmla="*/ 221 h 369"/>
                  <a:gd name="T96" fmla="*/ 178 w 205"/>
                  <a:gd name="T97" fmla="*/ 187 h 369"/>
                  <a:gd name="T98" fmla="*/ 170 w 205"/>
                  <a:gd name="T99" fmla="*/ 196 h 369"/>
                  <a:gd name="T100" fmla="*/ 164 w 205"/>
                  <a:gd name="T101" fmla="*/ 194 h 369"/>
                  <a:gd name="T102" fmla="*/ 164 w 205"/>
                  <a:gd name="T103" fmla="*/ 184 h 369"/>
                  <a:gd name="T104" fmla="*/ 190 w 205"/>
                  <a:gd name="T105" fmla="*/ 139 h 369"/>
                  <a:gd name="T106" fmla="*/ 181 w 205"/>
                  <a:gd name="T107" fmla="*/ 143 h 369"/>
                  <a:gd name="T108" fmla="*/ 188 w 205"/>
                  <a:gd name="T109" fmla="*/ 139 h 369"/>
                  <a:gd name="T110" fmla="*/ 175 w 205"/>
                  <a:gd name="T111" fmla="*/ 144 h 369"/>
                  <a:gd name="T112" fmla="*/ 164 w 205"/>
                  <a:gd name="T113" fmla="*/ 19 h 369"/>
                  <a:gd name="T114" fmla="*/ 115 w 205"/>
                  <a:gd name="T115" fmla="*/ 15 h 369"/>
                  <a:gd name="T116" fmla="*/ 141 w 205"/>
                  <a:gd name="T117" fmla="*/ 160 h 369"/>
                  <a:gd name="T118" fmla="*/ 180 w 205"/>
                  <a:gd name="T119" fmla="*/ 209 h 369"/>
                  <a:gd name="T120" fmla="*/ 159 w 205"/>
                  <a:gd name="T121" fmla="*/ 192 h 369"/>
                  <a:gd name="T122" fmla="*/ 190 w 205"/>
                  <a:gd name="T123" fmla="*/ 138 h 369"/>
                  <a:gd name="T124" fmla="*/ 166 w 205"/>
                  <a:gd name="T125" fmla="*/ 92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5" h="369">
                    <a:moveTo>
                      <a:pt x="204" y="221"/>
                    </a:moveTo>
                    <a:lnTo>
                      <a:pt x="202" y="226"/>
                    </a:lnTo>
                    <a:lnTo>
                      <a:pt x="202" y="230"/>
                    </a:lnTo>
                    <a:lnTo>
                      <a:pt x="200" y="235"/>
                    </a:lnTo>
                    <a:lnTo>
                      <a:pt x="200" y="236"/>
                    </a:lnTo>
                    <a:lnTo>
                      <a:pt x="200" y="247"/>
                    </a:lnTo>
                    <a:lnTo>
                      <a:pt x="200" y="248"/>
                    </a:lnTo>
                    <a:lnTo>
                      <a:pt x="205" y="252"/>
                    </a:lnTo>
                    <a:lnTo>
                      <a:pt x="205" y="257"/>
                    </a:lnTo>
                    <a:lnTo>
                      <a:pt x="204" y="260"/>
                    </a:lnTo>
                    <a:lnTo>
                      <a:pt x="193" y="264"/>
                    </a:lnTo>
                    <a:lnTo>
                      <a:pt x="183" y="267"/>
                    </a:lnTo>
                    <a:lnTo>
                      <a:pt x="173" y="270"/>
                    </a:lnTo>
                    <a:lnTo>
                      <a:pt x="168" y="275"/>
                    </a:lnTo>
                    <a:lnTo>
                      <a:pt x="164" y="281"/>
                    </a:lnTo>
                    <a:lnTo>
                      <a:pt x="161" y="282"/>
                    </a:lnTo>
                    <a:lnTo>
                      <a:pt x="158" y="281"/>
                    </a:lnTo>
                    <a:lnTo>
                      <a:pt x="156" y="282"/>
                    </a:lnTo>
                    <a:lnTo>
                      <a:pt x="156" y="284"/>
                    </a:lnTo>
                    <a:lnTo>
                      <a:pt x="156" y="286"/>
                    </a:lnTo>
                    <a:lnTo>
                      <a:pt x="153" y="291"/>
                    </a:lnTo>
                    <a:lnTo>
                      <a:pt x="151" y="292"/>
                    </a:lnTo>
                    <a:lnTo>
                      <a:pt x="147" y="294"/>
                    </a:lnTo>
                    <a:lnTo>
                      <a:pt x="144" y="292"/>
                    </a:lnTo>
                    <a:lnTo>
                      <a:pt x="139" y="296"/>
                    </a:lnTo>
                    <a:lnTo>
                      <a:pt x="130" y="306"/>
                    </a:lnTo>
                    <a:lnTo>
                      <a:pt x="139" y="327"/>
                    </a:lnTo>
                    <a:lnTo>
                      <a:pt x="137" y="328"/>
                    </a:lnTo>
                    <a:lnTo>
                      <a:pt x="139" y="335"/>
                    </a:lnTo>
                    <a:lnTo>
                      <a:pt x="137" y="340"/>
                    </a:lnTo>
                    <a:lnTo>
                      <a:pt x="136" y="345"/>
                    </a:lnTo>
                    <a:lnTo>
                      <a:pt x="132" y="347"/>
                    </a:lnTo>
                    <a:lnTo>
                      <a:pt x="125" y="355"/>
                    </a:lnTo>
                    <a:lnTo>
                      <a:pt x="125" y="357"/>
                    </a:lnTo>
                    <a:lnTo>
                      <a:pt x="120" y="362"/>
                    </a:lnTo>
                    <a:lnTo>
                      <a:pt x="119" y="364"/>
                    </a:lnTo>
                    <a:lnTo>
                      <a:pt x="115" y="364"/>
                    </a:lnTo>
                    <a:lnTo>
                      <a:pt x="102" y="369"/>
                    </a:lnTo>
                    <a:lnTo>
                      <a:pt x="98" y="354"/>
                    </a:lnTo>
                    <a:lnTo>
                      <a:pt x="78" y="275"/>
                    </a:lnTo>
                    <a:lnTo>
                      <a:pt x="40" y="255"/>
                    </a:lnTo>
                    <a:lnTo>
                      <a:pt x="39" y="238"/>
                    </a:lnTo>
                    <a:lnTo>
                      <a:pt x="27" y="226"/>
                    </a:lnTo>
                    <a:lnTo>
                      <a:pt x="29" y="224"/>
                    </a:lnTo>
                    <a:lnTo>
                      <a:pt x="25" y="224"/>
                    </a:lnTo>
                    <a:lnTo>
                      <a:pt x="18" y="221"/>
                    </a:lnTo>
                    <a:lnTo>
                      <a:pt x="13" y="221"/>
                    </a:lnTo>
                    <a:lnTo>
                      <a:pt x="10" y="216"/>
                    </a:lnTo>
                    <a:lnTo>
                      <a:pt x="10" y="207"/>
                    </a:lnTo>
                    <a:lnTo>
                      <a:pt x="5" y="201"/>
                    </a:lnTo>
                    <a:lnTo>
                      <a:pt x="3" y="197"/>
                    </a:lnTo>
                    <a:lnTo>
                      <a:pt x="3" y="194"/>
                    </a:lnTo>
                    <a:lnTo>
                      <a:pt x="1" y="192"/>
                    </a:lnTo>
                    <a:lnTo>
                      <a:pt x="3" y="192"/>
                    </a:lnTo>
                    <a:lnTo>
                      <a:pt x="0" y="189"/>
                    </a:lnTo>
                    <a:lnTo>
                      <a:pt x="0" y="187"/>
                    </a:lnTo>
                    <a:lnTo>
                      <a:pt x="0" y="184"/>
                    </a:lnTo>
                    <a:lnTo>
                      <a:pt x="0" y="182"/>
                    </a:lnTo>
                    <a:lnTo>
                      <a:pt x="0" y="179"/>
                    </a:lnTo>
                    <a:lnTo>
                      <a:pt x="0" y="175"/>
                    </a:lnTo>
                    <a:lnTo>
                      <a:pt x="3" y="173"/>
                    </a:lnTo>
                    <a:lnTo>
                      <a:pt x="5" y="168"/>
                    </a:lnTo>
                    <a:lnTo>
                      <a:pt x="13" y="168"/>
                    </a:lnTo>
                    <a:lnTo>
                      <a:pt x="15" y="162"/>
                    </a:lnTo>
                    <a:lnTo>
                      <a:pt x="15" y="158"/>
                    </a:lnTo>
                    <a:lnTo>
                      <a:pt x="20" y="158"/>
                    </a:lnTo>
                    <a:lnTo>
                      <a:pt x="25" y="153"/>
                    </a:lnTo>
                    <a:lnTo>
                      <a:pt x="29" y="153"/>
                    </a:lnTo>
                    <a:lnTo>
                      <a:pt x="32" y="151"/>
                    </a:lnTo>
                    <a:lnTo>
                      <a:pt x="32" y="150"/>
                    </a:lnTo>
                    <a:lnTo>
                      <a:pt x="34" y="150"/>
                    </a:lnTo>
                    <a:lnTo>
                      <a:pt x="34" y="148"/>
                    </a:lnTo>
                    <a:lnTo>
                      <a:pt x="35" y="148"/>
                    </a:lnTo>
                    <a:lnTo>
                      <a:pt x="35" y="146"/>
                    </a:lnTo>
                    <a:lnTo>
                      <a:pt x="37" y="146"/>
                    </a:lnTo>
                    <a:lnTo>
                      <a:pt x="35" y="144"/>
                    </a:lnTo>
                    <a:lnTo>
                      <a:pt x="39" y="141"/>
                    </a:lnTo>
                    <a:lnTo>
                      <a:pt x="37" y="139"/>
                    </a:lnTo>
                    <a:lnTo>
                      <a:pt x="37" y="136"/>
                    </a:lnTo>
                    <a:lnTo>
                      <a:pt x="35" y="133"/>
                    </a:lnTo>
                    <a:lnTo>
                      <a:pt x="39" y="131"/>
                    </a:lnTo>
                    <a:lnTo>
                      <a:pt x="39" y="127"/>
                    </a:lnTo>
                    <a:lnTo>
                      <a:pt x="40" y="122"/>
                    </a:lnTo>
                    <a:lnTo>
                      <a:pt x="44" y="121"/>
                    </a:lnTo>
                    <a:lnTo>
                      <a:pt x="47" y="116"/>
                    </a:lnTo>
                    <a:lnTo>
                      <a:pt x="44" y="116"/>
                    </a:lnTo>
                    <a:lnTo>
                      <a:pt x="39" y="114"/>
                    </a:lnTo>
                    <a:lnTo>
                      <a:pt x="39" y="112"/>
                    </a:lnTo>
                    <a:lnTo>
                      <a:pt x="40" y="107"/>
                    </a:lnTo>
                    <a:lnTo>
                      <a:pt x="39" y="107"/>
                    </a:lnTo>
                    <a:lnTo>
                      <a:pt x="40" y="105"/>
                    </a:lnTo>
                    <a:lnTo>
                      <a:pt x="42" y="104"/>
                    </a:lnTo>
                    <a:lnTo>
                      <a:pt x="40" y="102"/>
                    </a:lnTo>
                    <a:lnTo>
                      <a:pt x="40" y="95"/>
                    </a:lnTo>
                    <a:lnTo>
                      <a:pt x="35" y="92"/>
                    </a:lnTo>
                    <a:lnTo>
                      <a:pt x="37" y="87"/>
                    </a:lnTo>
                    <a:lnTo>
                      <a:pt x="37" y="83"/>
                    </a:lnTo>
                    <a:lnTo>
                      <a:pt x="35" y="83"/>
                    </a:lnTo>
                    <a:lnTo>
                      <a:pt x="37" y="82"/>
                    </a:lnTo>
                    <a:lnTo>
                      <a:pt x="35" y="82"/>
                    </a:lnTo>
                    <a:lnTo>
                      <a:pt x="37" y="80"/>
                    </a:lnTo>
                    <a:lnTo>
                      <a:pt x="39" y="75"/>
                    </a:lnTo>
                    <a:lnTo>
                      <a:pt x="40" y="71"/>
                    </a:lnTo>
                    <a:lnTo>
                      <a:pt x="39" y="68"/>
                    </a:lnTo>
                    <a:lnTo>
                      <a:pt x="40" y="66"/>
                    </a:lnTo>
                    <a:lnTo>
                      <a:pt x="40" y="65"/>
                    </a:lnTo>
                    <a:lnTo>
                      <a:pt x="42" y="61"/>
                    </a:lnTo>
                    <a:lnTo>
                      <a:pt x="42" y="59"/>
                    </a:lnTo>
                    <a:lnTo>
                      <a:pt x="44" y="56"/>
                    </a:lnTo>
                    <a:lnTo>
                      <a:pt x="40" y="54"/>
                    </a:lnTo>
                    <a:lnTo>
                      <a:pt x="39" y="56"/>
                    </a:lnTo>
                    <a:lnTo>
                      <a:pt x="34" y="54"/>
                    </a:lnTo>
                    <a:lnTo>
                      <a:pt x="32" y="54"/>
                    </a:lnTo>
                    <a:lnTo>
                      <a:pt x="30" y="53"/>
                    </a:lnTo>
                    <a:lnTo>
                      <a:pt x="32" y="51"/>
                    </a:lnTo>
                    <a:lnTo>
                      <a:pt x="37" y="49"/>
                    </a:lnTo>
                    <a:lnTo>
                      <a:pt x="44" y="46"/>
                    </a:lnTo>
                    <a:lnTo>
                      <a:pt x="46" y="46"/>
                    </a:lnTo>
                    <a:lnTo>
                      <a:pt x="46" y="44"/>
                    </a:lnTo>
                    <a:lnTo>
                      <a:pt x="47" y="42"/>
                    </a:lnTo>
                    <a:lnTo>
                      <a:pt x="47" y="39"/>
                    </a:lnTo>
                    <a:lnTo>
                      <a:pt x="46" y="39"/>
                    </a:lnTo>
                    <a:lnTo>
                      <a:pt x="47" y="37"/>
                    </a:lnTo>
                    <a:lnTo>
                      <a:pt x="52" y="37"/>
                    </a:lnTo>
                    <a:lnTo>
                      <a:pt x="57" y="36"/>
                    </a:lnTo>
                    <a:lnTo>
                      <a:pt x="57" y="34"/>
                    </a:lnTo>
                    <a:lnTo>
                      <a:pt x="54" y="34"/>
                    </a:lnTo>
                    <a:lnTo>
                      <a:pt x="56" y="32"/>
                    </a:lnTo>
                    <a:lnTo>
                      <a:pt x="56" y="31"/>
                    </a:lnTo>
                    <a:lnTo>
                      <a:pt x="56" y="29"/>
                    </a:lnTo>
                    <a:lnTo>
                      <a:pt x="59" y="29"/>
                    </a:lnTo>
                    <a:lnTo>
                      <a:pt x="61" y="29"/>
                    </a:lnTo>
                    <a:lnTo>
                      <a:pt x="63" y="29"/>
                    </a:lnTo>
                    <a:lnTo>
                      <a:pt x="66" y="27"/>
                    </a:lnTo>
                    <a:lnTo>
                      <a:pt x="71" y="24"/>
                    </a:lnTo>
                    <a:lnTo>
                      <a:pt x="73" y="22"/>
                    </a:lnTo>
                    <a:lnTo>
                      <a:pt x="74" y="20"/>
                    </a:lnTo>
                    <a:lnTo>
                      <a:pt x="80" y="19"/>
                    </a:lnTo>
                    <a:lnTo>
                      <a:pt x="85" y="15"/>
                    </a:lnTo>
                    <a:lnTo>
                      <a:pt x="86" y="15"/>
                    </a:lnTo>
                    <a:lnTo>
                      <a:pt x="90" y="15"/>
                    </a:lnTo>
                    <a:lnTo>
                      <a:pt x="93" y="14"/>
                    </a:lnTo>
                    <a:lnTo>
                      <a:pt x="97" y="14"/>
                    </a:lnTo>
                    <a:lnTo>
                      <a:pt x="102" y="12"/>
                    </a:lnTo>
                    <a:lnTo>
                      <a:pt x="103" y="12"/>
                    </a:lnTo>
                    <a:lnTo>
                      <a:pt x="107" y="10"/>
                    </a:lnTo>
                    <a:lnTo>
                      <a:pt x="110" y="10"/>
                    </a:lnTo>
                    <a:lnTo>
                      <a:pt x="112" y="8"/>
                    </a:lnTo>
                    <a:lnTo>
                      <a:pt x="113" y="10"/>
                    </a:lnTo>
                    <a:lnTo>
                      <a:pt x="117" y="10"/>
                    </a:lnTo>
                    <a:lnTo>
                      <a:pt x="119" y="12"/>
                    </a:lnTo>
                    <a:lnTo>
                      <a:pt x="112" y="15"/>
                    </a:lnTo>
                    <a:lnTo>
                      <a:pt x="115" y="20"/>
                    </a:lnTo>
                    <a:lnTo>
                      <a:pt x="117" y="20"/>
                    </a:lnTo>
                    <a:lnTo>
                      <a:pt x="120" y="19"/>
                    </a:lnTo>
                    <a:lnTo>
                      <a:pt x="120" y="15"/>
                    </a:lnTo>
                    <a:lnTo>
                      <a:pt x="115" y="15"/>
                    </a:lnTo>
                    <a:lnTo>
                      <a:pt x="119" y="14"/>
                    </a:lnTo>
                    <a:lnTo>
                      <a:pt x="124" y="14"/>
                    </a:lnTo>
                    <a:lnTo>
                      <a:pt x="127" y="14"/>
                    </a:lnTo>
                    <a:lnTo>
                      <a:pt x="129" y="15"/>
                    </a:lnTo>
                    <a:lnTo>
                      <a:pt x="132" y="15"/>
                    </a:lnTo>
                    <a:lnTo>
                      <a:pt x="136" y="17"/>
                    </a:lnTo>
                    <a:lnTo>
                      <a:pt x="139" y="17"/>
                    </a:lnTo>
                    <a:lnTo>
                      <a:pt x="136" y="19"/>
                    </a:lnTo>
                    <a:lnTo>
                      <a:pt x="132" y="19"/>
                    </a:lnTo>
                    <a:lnTo>
                      <a:pt x="130" y="19"/>
                    </a:lnTo>
                    <a:lnTo>
                      <a:pt x="136" y="20"/>
                    </a:lnTo>
                    <a:lnTo>
                      <a:pt x="134" y="20"/>
                    </a:lnTo>
                    <a:lnTo>
                      <a:pt x="136" y="19"/>
                    </a:lnTo>
                    <a:lnTo>
                      <a:pt x="136" y="20"/>
                    </a:lnTo>
                    <a:lnTo>
                      <a:pt x="136" y="22"/>
                    </a:lnTo>
                    <a:lnTo>
                      <a:pt x="136" y="20"/>
                    </a:lnTo>
                    <a:lnTo>
                      <a:pt x="134" y="22"/>
                    </a:lnTo>
                    <a:lnTo>
                      <a:pt x="134" y="25"/>
                    </a:lnTo>
                    <a:lnTo>
                      <a:pt x="136" y="29"/>
                    </a:lnTo>
                    <a:lnTo>
                      <a:pt x="141" y="31"/>
                    </a:lnTo>
                    <a:lnTo>
                      <a:pt x="141" y="32"/>
                    </a:lnTo>
                    <a:lnTo>
                      <a:pt x="142" y="32"/>
                    </a:lnTo>
                    <a:lnTo>
                      <a:pt x="139" y="37"/>
                    </a:lnTo>
                    <a:lnTo>
                      <a:pt x="141" y="39"/>
                    </a:lnTo>
                    <a:lnTo>
                      <a:pt x="144" y="41"/>
                    </a:lnTo>
                    <a:lnTo>
                      <a:pt x="146" y="41"/>
                    </a:lnTo>
                    <a:lnTo>
                      <a:pt x="151" y="39"/>
                    </a:lnTo>
                    <a:lnTo>
                      <a:pt x="154" y="34"/>
                    </a:lnTo>
                    <a:lnTo>
                      <a:pt x="154" y="32"/>
                    </a:lnTo>
                    <a:lnTo>
                      <a:pt x="159" y="32"/>
                    </a:lnTo>
                    <a:lnTo>
                      <a:pt x="163" y="32"/>
                    </a:lnTo>
                    <a:lnTo>
                      <a:pt x="170" y="27"/>
                    </a:lnTo>
                    <a:lnTo>
                      <a:pt x="170" y="24"/>
                    </a:lnTo>
                    <a:lnTo>
                      <a:pt x="173" y="24"/>
                    </a:lnTo>
                    <a:lnTo>
                      <a:pt x="176" y="22"/>
                    </a:lnTo>
                    <a:lnTo>
                      <a:pt x="178" y="24"/>
                    </a:lnTo>
                    <a:lnTo>
                      <a:pt x="178" y="25"/>
                    </a:lnTo>
                    <a:lnTo>
                      <a:pt x="180" y="29"/>
                    </a:lnTo>
                    <a:lnTo>
                      <a:pt x="180" y="32"/>
                    </a:lnTo>
                    <a:lnTo>
                      <a:pt x="181" y="32"/>
                    </a:lnTo>
                    <a:lnTo>
                      <a:pt x="181" y="36"/>
                    </a:lnTo>
                    <a:lnTo>
                      <a:pt x="178" y="36"/>
                    </a:lnTo>
                    <a:lnTo>
                      <a:pt x="173" y="41"/>
                    </a:lnTo>
                    <a:lnTo>
                      <a:pt x="164" y="54"/>
                    </a:lnTo>
                    <a:lnTo>
                      <a:pt x="159" y="56"/>
                    </a:lnTo>
                    <a:lnTo>
                      <a:pt x="156" y="58"/>
                    </a:lnTo>
                    <a:lnTo>
                      <a:pt x="154" y="58"/>
                    </a:lnTo>
                    <a:lnTo>
                      <a:pt x="153" y="58"/>
                    </a:lnTo>
                    <a:lnTo>
                      <a:pt x="149" y="65"/>
                    </a:lnTo>
                    <a:lnTo>
                      <a:pt x="147" y="71"/>
                    </a:lnTo>
                    <a:lnTo>
                      <a:pt x="149" y="75"/>
                    </a:lnTo>
                    <a:lnTo>
                      <a:pt x="151" y="76"/>
                    </a:lnTo>
                    <a:lnTo>
                      <a:pt x="151" y="78"/>
                    </a:lnTo>
                    <a:lnTo>
                      <a:pt x="158" y="87"/>
                    </a:lnTo>
                    <a:lnTo>
                      <a:pt x="161" y="88"/>
                    </a:lnTo>
                    <a:lnTo>
                      <a:pt x="166" y="88"/>
                    </a:lnTo>
                    <a:lnTo>
                      <a:pt x="166" y="90"/>
                    </a:lnTo>
                    <a:lnTo>
                      <a:pt x="166" y="92"/>
                    </a:lnTo>
                    <a:lnTo>
                      <a:pt x="178" y="97"/>
                    </a:lnTo>
                    <a:lnTo>
                      <a:pt x="176" y="100"/>
                    </a:lnTo>
                    <a:lnTo>
                      <a:pt x="178" y="102"/>
                    </a:lnTo>
                    <a:lnTo>
                      <a:pt x="180" y="102"/>
                    </a:lnTo>
                    <a:lnTo>
                      <a:pt x="178" y="104"/>
                    </a:lnTo>
                    <a:lnTo>
                      <a:pt x="176" y="105"/>
                    </a:lnTo>
                    <a:lnTo>
                      <a:pt x="176" y="110"/>
                    </a:lnTo>
                    <a:lnTo>
                      <a:pt x="180" y="114"/>
                    </a:lnTo>
                    <a:lnTo>
                      <a:pt x="183" y="116"/>
                    </a:lnTo>
                    <a:lnTo>
                      <a:pt x="181" y="117"/>
                    </a:lnTo>
                    <a:lnTo>
                      <a:pt x="180" y="119"/>
                    </a:lnTo>
                    <a:lnTo>
                      <a:pt x="178" y="121"/>
                    </a:lnTo>
                    <a:lnTo>
                      <a:pt x="176" y="122"/>
                    </a:lnTo>
                    <a:lnTo>
                      <a:pt x="176" y="126"/>
                    </a:lnTo>
                    <a:lnTo>
                      <a:pt x="175" y="127"/>
                    </a:lnTo>
                    <a:lnTo>
                      <a:pt x="171" y="129"/>
                    </a:lnTo>
                    <a:lnTo>
                      <a:pt x="171" y="134"/>
                    </a:lnTo>
                    <a:lnTo>
                      <a:pt x="168" y="136"/>
                    </a:lnTo>
                    <a:lnTo>
                      <a:pt x="168" y="138"/>
                    </a:lnTo>
                    <a:lnTo>
                      <a:pt x="163" y="141"/>
                    </a:lnTo>
                    <a:lnTo>
                      <a:pt x="164" y="143"/>
                    </a:lnTo>
                    <a:lnTo>
                      <a:pt x="163" y="141"/>
                    </a:lnTo>
                    <a:lnTo>
                      <a:pt x="163" y="143"/>
                    </a:lnTo>
                    <a:lnTo>
                      <a:pt x="161" y="146"/>
                    </a:lnTo>
                    <a:lnTo>
                      <a:pt x="159" y="146"/>
                    </a:lnTo>
                    <a:lnTo>
                      <a:pt x="158" y="146"/>
                    </a:lnTo>
                    <a:lnTo>
                      <a:pt x="154" y="150"/>
                    </a:lnTo>
                    <a:lnTo>
                      <a:pt x="154" y="151"/>
                    </a:lnTo>
                    <a:lnTo>
                      <a:pt x="147" y="153"/>
                    </a:lnTo>
                    <a:lnTo>
                      <a:pt x="142" y="158"/>
                    </a:lnTo>
                    <a:lnTo>
                      <a:pt x="142" y="156"/>
                    </a:lnTo>
                    <a:lnTo>
                      <a:pt x="141" y="158"/>
                    </a:lnTo>
                    <a:lnTo>
                      <a:pt x="142" y="158"/>
                    </a:lnTo>
                    <a:lnTo>
                      <a:pt x="141" y="158"/>
                    </a:lnTo>
                    <a:lnTo>
                      <a:pt x="139" y="158"/>
                    </a:lnTo>
                    <a:lnTo>
                      <a:pt x="137" y="160"/>
                    </a:lnTo>
                    <a:lnTo>
                      <a:pt x="136" y="162"/>
                    </a:lnTo>
                    <a:lnTo>
                      <a:pt x="134" y="160"/>
                    </a:lnTo>
                    <a:lnTo>
                      <a:pt x="132" y="162"/>
                    </a:lnTo>
                    <a:lnTo>
                      <a:pt x="130" y="163"/>
                    </a:lnTo>
                    <a:lnTo>
                      <a:pt x="125" y="170"/>
                    </a:lnTo>
                    <a:lnTo>
                      <a:pt x="125" y="175"/>
                    </a:lnTo>
                    <a:lnTo>
                      <a:pt x="127" y="180"/>
                    </a:lnTo>
                    <a:lnTo>
                      <a:pt x="130" y="185"/>
                    </a:lnTo>
                    <a:lnTo>
                      <a:pt x="141" y="194"/>
                    </a:lnTo>
                    <a:lnTo>
                      <a:pt x="147" y="196"/>
                    </a:lnTo>
                    <a:lnTo>
                      <a:pt x="146" y="197"/>
                    </a:lnTo>
                    <a:lnTo>
                      <a:pt x="147" y="197"/>
                    </a:lnTo>
                    <a:lnTo>
                      <a:pt x="161" y="194"/>
                    </a:lnTo>
                    <a:lnTo>
                      <a:pt x="163" y="196"/>
                    </a:lnTo>
                    <a:lnTo>
                      <a:pt x="161" y="199"/>
                    </a:lnTo>
                    <a:lnTo>
                      <a:pt x="159" y="202"/>
                    </a:lnTo>
                    <a:lnTo>
                      <a:pt x="159" y="204"/>
                    </a:lnTo>
                    <a:lnTo>
                      <a:pt x="163" y="206"/>
                    </a:lnTo>
                    <a:lnTo>
                      <a:pt x="171" y="202"/>
                    </a:lnTo>
                    <a:lnTo>
                      <a:pt x="173" y="201"/>
                    </a:lnTo>
                    <a:lnTo>
                      <a:pt x="171" y="199"/>
                    </a:lnTo>
                    <a:lnTo>
                      <a:pt x="173" y="197"/>
                    </a:lnTo>
                    <a:lnTo>
                      <a:pt x="175" y="197"/>
                    </a:lnTo>
                    <a:lnTo>
                      <a:pt x="175" y="196"/>
                    </a:lnTo>
                    <a:lnTo>
                      <a:pt x="178" y="197"/>
                    </a:lnTo>
                    <a:lnTo>
                      <a:pt x="180" y="201"/>
                    </a:lnTo>
                    <a:lnTo>
                      <a:pt x="181" y="206"/>
                    </a:lnTo>
                    <a:lnTo>
                      <a:pt x="180" y="207"/>
                    </a:lnTo>
                    <a:lnTo>
                      <a:pt x="181" y="211"/>
                    </a:lnTo>
                    <a:lnTo>
                      <a:pt x="185" y="213"/>
                    </a:lnTo>
                    <a:lnTo>
                      <a:pt x="190" y="216"/>
                    </a:lnTo>
                    <a:lnTo>
                      <a:pt x="183" y="213"/>
                    </a:lnTo>
                    <a:lnTo>
                      <a:pt x="181" y="213"/>
                    </a:lnTo>
                    <a:lnTo>
                      <a:pt x="181" y="214"/>
                    </a:lnTo>
                    <a:lnTo>
                      <a:pt x="183" y="216"/>
                    </a:lnTo>
                    <a:lnTo>
                      <a:pt x="183" y="219"/>
                    </a:lnTo>
                    <a:lnTo>
                      <a:pt x="197" y="221"/>
                    </a:lnTo>
                    <a:lnTo>
                      <a:pt x="197" y="219"/>
                    </a:lnTo>
                    <a:lnTo>
                      <a:pt x="192" y="216"/>
                    </a:lnTo>
                    <a:lnTo>
                      <a:pt x="200" y="219"/>
                    </a:lnTo>
                    <a:lnTo>
                      <a:pt x="204" y="221"/>
                    </a:lnTo>
                    <a:close/>
                    <a:moveTo>
                      <a:pt x="176" y="187"/>
                    </a:moveTo>
                    <a:lnTo>
                      <a:pt x="178" y="187"/>
                    </a:lnTo>
                    <a:lnTo>
                      <a:pt x="178" y="190"/>
                    </a:lnTo>
                    <a:lnTo>
                      <a:pt x="175" y="190"/>
                    </a:lnTo>
                    <a:lnTo>
                      <a:pt x="173" y="196"/>
                    </a:lnTo>
                    <a:lnTo>
                      <a:pt x="173" y="192"/>
                    </a:lnTo>
                    <a:lnTo>
                      <a:pt x="171" y="194"/>
                    </a:lnTo>
                    <a:lnTo>
                      <a:pt x="170" y="196"/>
                    </a:lnTo>
                    <a:lnTo>
                      <a:pt x="170" y="197"/>
                    </a:lnTo>
                    <a:lnTo>
                      <a:pt x="168" y="196"/>
                    </a:lnTo>
                    <a:lnTo>
                      <a:pt x="168" y="194"/>
                    </a:lnTo>
                    <a:lnTo>
                      <a:pt x="166" y="192"/>
                    </a:lnTo>
                    <a:lnTo>
                      <a:pt x="164" y="192"/>
                    </a:lnTo>
                    <a:lnTo>
                      <a:pt x="164" y="194"/>
                    </a:lnTo>
                    <a:lnTo>
                      <a:pt x="163" y="194"/>
                    </a:lnTo>
                    <a:lnTo>
                      <a:pt x="161" y="192"/>
                    </a:lnTo>
                    <a:lnTo>
                      <a:pt x="161" y="190"/>
                    </a:lnTo>
                    <a:lnTo>
                      <a:pt x="163" y="189"/>
                    </a:lnTo>
                    <a:lnTo>
                      <a:pt x="161" y="184"/>
                    </a:lnTo>
                    <a:lnTo>
                      <a:pt x="164" y="184"/>
                    </a:lnTo>
                    <a:lnTo>
                      <a:pt x="173" y="185"/>
                    </a:lnTo>
                    <a:lnTo>
                      <a:pt x="170" y="184"/>
                    </a:lnTo>
                    <a:lnTo>
                      <a:pt x="176" y="187"/>
                    </a:lnTo>
                    <a:close/>
                    <a:moveTo>
                      <a:pt x="188" y="138"/>
                    </a:moveTo>
                    <a:lnTo>
                      <a:pt x="190" y="138"/>
                    </a:lnTo>
                    <a:lnTo>
                      <a:pt x="190" y="139"/>
                    </a:lnTo>
                    <a:lnTo>
                      <a:pt x="188" y="139"/>
                    </a:lnTo>
                    <a:lnTo>
                      <a:pt x="190" y="141"/>
                    </a:lnTo>
                    <a:lnTo>
                      <a:pt x="188" y="143"/>
                    </a:lnTo>
                    <a:lnTo>
                      <a:pt x="187" y="143"/>
                    </a:lnTo>
                    <a:lnTo>
                      <a:pt x="181" y="144"/>
                    </a:lnTo>
                    <a:lnTo>
                      <a:pt x="181" y="143"/>
                    </a:lnTo>
                    <a:lnTo>
                      <a:pt x="183" y="141"/>
                    </a:lnTo>
                    <a:lnTo>
                      <a:pt x="183" y="139"/>
                    </a:lnTo>
                    <a:lnTo>
                      <a:pt x="185" y="141"/>
                    </a:lnTo>
                    <a:lnTo>
                      <a:pt x="187" y="141"/>
                    </a:lnTo>
                    <a:lnTo>
                      <a:pt x="187" y="139"/>
                    </a:lnTo>
                    <a:lnTo>
                      <a:pt x="188" y="139"/>
                    </a:lnTo>
                    <a:lnTo>
                      <a:pt x="187" y="136"/>
                    </a:lnTo>
                    <a:lnTo>
                      <a:pt x="188" y="138"/>
                    </a:lnTo>
                    <a:close/>
                    <a:moveTo>
                      <a:pt x="181" y="144"/>
                    </a:moveTo>
                    <a:lnTo>
                      <a:pt x="178" y="148"/>
                    </a:lnTo>
                    <a:lnTo>
                      <a:pt x="173" y="146"/>
                    </a:lnTo>
                    <a:lnTo>
                      <a:pt x="175" y="144"/>
                    </a:lnTo>
                    <a:lnTo>
                      <a:pt x="180" y="144"/>
                    </a:lnTo>
                    <a:lnTo>
                      <a:pt x="181" y="144"/>
                    </a:lnTo>
                    <a:close/>
                    <a:moveTo>
                      <a:pt x="69" y="0"/>
                    </a:moveTo>
                    <a:lnTo>
                      <a:pt x="71" y="0"/>
                    </a:lnTo>
                    <a:lnTo>
                      <a:pt x="69" y="0"/>
                    </a:lnTo>
                    <a:close/>
                    <a:moveTo>
                      <a:pt x="164" y="19"/>
                    </a:moveTo>
                    <a:lnTo>
                      <a:pt x="166" y="19"/>
                    </a:lnTo>
                    <a:lnTo>
                      <a:pt x="166" y="20"/>
                    </a:lnTo>
                    <a:lnTo>
                      <a:pt x="164" y="20"/>
                    </a:lnTo>
                    <a:lnTo>
                      <a:pt x="164" y="19"/>
                    </a:lnTo>
                    <a:close/>
                    <a:moveTo>
                      <a:pt x="113" y="15"/>
                    </a:moveTo>
                    <a:lnTo>
                      <a:pt x="115" y="15"/>
                    </a:lnTo>
                    <a:lnTo>
                      <a:pt x="113" y="15"/>
                    </a:lnTo>
                    <a:close/>
                    <a:moveTo>
                      <a:pt x="176" y="87"/>
                    </a:moveTo>
                    <a:lnTo>
                      <a:pt x="176" y="88"/>
                    </a:lnTo>
                    <a:lnTo>
                      <a:pt x="176" y="87"/>
                    </a:lnTo>
                    <a:close/>
                    <a:moveTo>
                      <a:pt x="139" y="160"/>
                    </a:moveTo>
                    <a:lnTo>
                      <a:pt x="141" y="160"/>
                    </a:lnTo>
                    <a:lnTo>
                      <a:pt x="139" y="160"/>
                    </a:lnTo>
                    <a:close/>
                    <a:moveTo>
                      <a:pt x="180" y="209"/>
                    </a:moveTo>
                    <a:lnTo>
                      <a:pt x="181" y="209"/>
                    </a:lnTo>
                    <a:lnTo>
                      <a:pt x="181" y="211"/>
                    </a:lnTo>
                    <a:lnTo>
                      <a:pt x="180" y="211"/>
                    </a:lnTo>
                    <a:lnTo>
                      <a:pt x="180" y="209"/>
                    </a:lnTo>
                    <a:close/>
                    <a:moveTo>
                      <a:pt x="190" y="139"/>
                    </a:moveTo>
                    <a:lnTo>
                      <a:pt x="192" y="139"/>
                    </a:lnTo>
                    <a:lnTo>
                      <a:pt x="192" y="141"/>
                    </a:lnTo>
                    <a:lnTo>
                      <a:pt x="190" y="141"/>
                    </a:lnTo>
                    <a:lnTo>
                      <a:pt x="190" y="139"/>
                    </a:lnTo>
                    <a:close/>
                    <a:moveTo>
                      <a:pt x="159" y="192"/>
                    </a:moveTo>
                    <a:lnTo>
                      <a:pt x="161" y="192"/>
                    </a:lnTo>
                    <a:lnTo>
                      <a:pt x="159" y="192"/>
                    </a:lnTo>
                    <a:close/>
                    <a:moveTo>
                      <a:pt x="190" y="136"/>
                    </a:moveTo>
                    <a:lnTo>
                      <a:pt x="192" y="136"/>
                    </a:lnTo>
                    <a:lnTo>
                      <a:pt x="192" y="138"/>
                    </a:lnTo>
                    <a:lnTo>
                      <a:pt x="190" y="138"/>
                    </a:lnTo>
                    <a:lnTo>
                      <a:pt x="190" y="136"/>
                    </a:lnTo>
                    <a:close/>
                    <a:moveTo>
                      <a:pt x="175" y="194"/>
                    </a:moveTo>
                    <a:lnTo>
                      <a:pt x="175" y="196"/>
                    </a:lnTo>
                    <a:lnTo>
                      <a:pt x="175" y="194"/>
                    </a:lnTo>
                    <a:close/>
                    <a:moveTo>
                      <a:pt x="166" y="90"/>
                    </a:moveTo>
                    <a:lnTo>
                      <a:pt x="166" y="92"/>
                    </a:lnTo>
                    <a:lnTo>
                      <a:pt x="166" y="9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09" name="Freeform 60">
                <a:extLst>
                  <a:ext uri="{FF2B5EF4-FFF2-40B4-BE49-F238E27FC236}">
                    <a16:creationId xmlns:a16="http://schemas.microsoft.com/office/drawing/2014/main" id="{DE89BC14-69C1-44FA-8E06-1EE66C29AC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53051" y="3112959"/>
                <a:ext cx="439725" cy="460356"/>
              </a:xfrm>
              <a:custGeom>
                <a:avLst/>
                <a:gdLst>
                  <a:gd name="T0" fmla="*/ 168 w 277"/>
                  <a:gd name="T1" fmla="*/ 266 h 290"/>
                  <a:gd name="T2" fmla="*/ 86 w 277"/>
                  <a:gd name="T3" fmla="*/ 266 h 290"/>
                  <a:gd name="T4" fmla="*/ 54 w 277"/>
                  <a:gd name="T5" fmla="*/ 269 h 290"/>
                  <a:gd name="T6" fmla="*/ 44 w 277"/>
                  <a:gd name="T7" fmla="*/ 267 h 290"/>
                  <a:gd name="T8" fmla="*/ 37 w 277"/>
                  <a:gd name="T9" fmla="*/ 273 h 290"/>
                  <a:gd name="T10" fmla="*/ 30 w 277"/>
                  <a:gd name="T11" fmla="*/ 283 h 290"/>
                  <a:gd name="T12" fmla="*/ 24 w 277"/>
                  <a:gd name="T13" fmla="*/ 286 h 290"/>
                  <a:gd name="T14" fmla="*/ 15 w 277"/>
                  <a:gd name="T15" fmla="*/ 284 h 290"/>
                  <a:gd name="T16" fmla="*/ 12 w 277"/>
                  <a:gd name="T17" fmla="*/ 284 h 290"/>
                  <a:gd name="T18" fmla="*/ 0 w 277"/>
                  <a:gd name="T19" fmla="*/ 279 h 290"/>
                  <a:gd name="T20" fmla="*/ 0 w 277"/>
                  <a:gd name="T21" fmla="*/ 269 h 290"/>
                  <a:gd name="T22" fmla="*/ 1 w 277"/>
                  <a:gd name="T23" fmla="*/ 261 h 290"/>
                  <a:gd name="T24" fmla="*/ 3 w 277"/>
                  <a:gd name="T25" fmla="*/ 250 h 290"/>
                  <a:gd name="T26" fmla="*/ 1 w 277"/>
                  <a:gd name="T27" fmla="*/ 230 h 290"/>
                  <a:gd name="T28" fmla="*/ 8 w 277"/>
                  <a:gd name="T29" fmla="*/ 218 h 290"/>
                  <a:gd name="T30" fmla="*/ 10 w 277"/>
                  <a:gd name="T31" fmla="*/ 208 h 290"/>
                  <a:gd name="T32" fmla="*/ 15 w 277"/>
                  <a:gd name="T33" fmla="*/ 198 h 290"/>
                  <a:gd name="T34" fmla="*/ 18 w 277"/>
                  <a:gd name="T35" fmla="*/ 184 h 290"/>
                  <a:gd name="T36" fmla="*/ 20 w 277"/>
                  <a:gd name="T37" fmla="*/ 174 h 290"/>
                  <a:gd name="T38" fmla="*/ 27 w 277"/>
                  <a:gd name="T39" fmla="*/ 169 h 290"/>
                  <a:gd name="T40" fmla="*/ 32 w 277"/>
                  <a:gd name="T41" fmla="*/ 165 h 290"/>
                  <a:gd name="T42" fmla="*/ 34 w 277"/>
                  <a:gd name="T43" fmla="*/ 162 h 290"/>
                  <a:gd name="T44" fmla="*/ 37 w 277"/>
                  <a:gd name="T45" fmla="*/ 157 h 290"/>
                  <a:gd name="T46" fmla="*/ 47 w 277"/>
                  <a:gd name="T47" fmla="*/ 148 h 290"/>
                  <a:gd name="T48" fmla="*/ 85 w 277"/>
                  <a:gd name="T49" fmla="*/ 116 h 290"/>
                  <a:gd name="T50" fmla="*/ 78 w 277"/>
                  <a:gd name="T51" fmla="*/ 97 h 290"/>
                  <a:gd name="T52" fmla="*/ 69 w 277"/>
                  <a:gd name="T53" fmla="*/ 94 h 290"/>
                  <a:gd name="T54" fmla="*/ 64 w 277"/>
                  <a:gd name="T55" fmla="*/ 91 h 290"/>
                  <a:gd name="T56" fmla="*/ 61 w 277"/>
                  <a:gd name="T57" fmla="*/ 84 h 290"/>
                  <a:gd name="T58" fmla="*/ 68 w 277"/>
                  <a:gd name="T59" fmla="*/ 67 h 290"/>
                  <a:gd name="T60" fmla="*/ 63 w 277"/>
                  <a:gd name="T61" fmla="*/ 50 h 290"/>
                  <a:gd name="T62" fmla="*/ 69 w 277"/>
                  <a:gd name="T63" fmla="*/ 41 h 290"/>
                  <a:gd name="T64" fmla="*/ 66 w 277"/>
                  <a:gd name="T65" fmla="*/ 34 h 290"/>
                  <a:gd name="T66" fmla="*/ 76 w 277"/>
                  <a:gd name="T67" fmla="*/ 26 h 290"/>
                  <a:gd name="T68" fmla="*/ 98 w 277"/>
                  <a:gd name="T69" fmla="*/ 29 h 290"/>
                  <a:gd name="T70" fmla="*/ 114 w 277"/>
                  <a:gd name="T71" fmla="*/ 22 h 290"/>
                  <a:gd name="T72" fmla="*/ 120 w 277"/>
                  <a:gd name="T73" fmla="*/ 33 h 290"/>
                  <a:gd name="T74" fmla="*/ 134 w 277"/>
                  <a:gd name="T75" fmla="*/ 34 h 290"/>
                  <a:gd name="T76" fmla="*/ 170 w 277"/>
                  <a:gd name="T77" fmla="*/ 21 h 290"/>
                  <a:gd name="T78" fmla="*/ 216 w 277"/>
                  <a:gd name="T79" fmla="*/ 9 h 290"/>
                  <a:gd name="T80" fmla="*/ 226 w 277"/>
                  <a:gd name="T81" fmla="*/ 5 h 290"/>
                  <a:gd name="T82" fmla="*/ 231 w 277"/>
                  <a:gd name="T83" fmla="*/ 14 h 290"/>
                  <a:gd name="T84" fmla="*/ 236 w 277"/>
                  <a:gd name="T85" fmla="*/ 21 h 290"/>
                  <a:gd name="T86" fmla="*/ 233 w 277"/>
                  <a:gd name="T87" fmla="*/ 22 h 290"/>
                  <a:gd name="T88" fmla="*/ 239 w 277"/>
                  <a:gd name="T89" fmla="*/ 28 h 290"/>
                  <a:gd name="T90" fmla="*/ 248 w 277"/>
                  <a:gd name="T91" fmla="*/ 29 h 290"/>
                  <a:gd name="T92" fmla="*/ 245 w 277"/>
                  <a:gd name="T93" fmla="*/ 39 h 290"/>
                  <a:gd name="T94" fmla="*/ 250 w 277"/>
                  <a:gd name="T95" fmla="*/ 55 h 290"/>
                  <a:gd name="T96" fmla="*/ 256 w 277"/>
                  <a:gd name="T97" fmla="*/ 67 h 290"/>
                  <a:gd name="T98" fmla="*/ 263 w 277"/>
                  <a:gd name="T99" fmla="*/ 75 h 290"/>
                  <a:gd name="T100" fmla="*/ 270 w 277"/>
                  <a:gd name="T101" fmla="*/ 87 h 290"/>
                  <a:gd name="T102" fmla="*/ 273 w 277"/>
                  <a:gd name="T103" fmla="*/ 114 h 290"/>
                  <a:gd name="T104" fmla="*/ 273 w 277"/>
                  <a:gd name="T105" fmla="*/ 131 h 290"/>
                  <a:gd name="T106" fmla="*/ 268 w 277"/>
                  <a:gd name="T107" fmla="*/ 142 h 290"/>
                  <a:gd name="T108" fmla="*/ 267 w 277"/>
                  <a:gd name="T109" fmla="*/ 150 h 290"/>
                  <a:gd name="T110" fmla="*/ 258 w 277"/>
                  <a:gd name="T111" fmla="*/ 155 h 290"/>
                  <a:gd name="T112" fmla="*/ 250 w 277"/>
                  <a:gd name="T113" fmla="*/ 160 h 290"/>
                  <a:gd name="T114" fmla="*/ 245 w 277"/>
                  <a:gd name="T115" fmla="*/ 172 h 290"/>
                  <a:gd name="T116" fmla="*/ 239 w 277"/>
                  <a:gd name="T117" fmla="*/ 181 h 290"/>
                  <a:gd name="T118" fmla="*/ 231 w 277"/>
                  <a:gd name="T119" fmla="*/ 186 h 290"/>
                  <a:gd name="T120" fmla="*/ 229 w 277"/>
                  <a:gd name="T121" fmla="*/ 196 h 290"/>
                  <a:gd name="T122" fmla="*/ 221 w 277"/>
                  <a:gd name="T123" fmla="*/ 210 h 290"/>
                  <a:gd name="T124" fmla="*/ 221 w 277"/>
                  <a:gd name="T125" fmla="*/ 240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7" h="290">
                    <a:moveTo>
                      <a:pt x="221" y="266"/>
                    </a:moveTo>
                    <a:lnTo>
                      <a:pt x="207" y="266"/>
                    </a:lnTo>
                    <a:lnTo>
                      <a:pt x="200" y="266"/>
                    </a:lnTo>
                    <a:lnTo>
                      <a:pt x="168" y="266"/>
                    </a:lnTo>
                    <a:lnTo>
                      <a:pt x="161" y="266"/>
                    </a:lnTo>
                    <a:lnTo>
                      <a:pt x="124" y="266"/>
                    </a:lnTo>
                    <a:lnTo>
                      <a:pt x="107" y="266"/>
                    </a:lnTo>
                    <a:lnTo>
                      <a:pt x="86" y="266"/>
                    </a:lnTo>
                    <a:lnTo>
                      <a:pt x="63" y="266"/>
                    </a:lnTo>
                    <a:lnTo>
                      <a:pt x="61" y="264"/>
                    </a:lnTo>
                    <a:lnTo>
                      <a:pt x="58" y="266"/>
                    </a:lnTo>
                    <a:lnTo>
                      <a:pt x="54" y="269"/>
                    </a:lnTo>
                    <a:lnTo>
                      <a:pt x="52" y="269"/>
                    </a:lnTo>
                    <a:lnTo>
                      <a:pt x="49" y="269"/>
                    </a:lnTo>
                    <a:lnTo>
                      <a:pt x="46" y="267"/>
                    </a:lnTo>
                    <a:lnTo>
                      <a:pt x="44" y="267"/>
                    </a:lnTo>
                    <a:lnTo>
                      <a:pt x="44" y="269"/>
                    </a:lnTo>
                    <a:lnTo>
                      <a:pt x="41" y="269"/>
                    </a:lnTo>
                    <a:lnTo>
                      <a:pt x="39" y="271"/>
                    </a:lnTo>
                    <a:lnTo>
                      <a:pt x="37" y="273"/>
                    </a:lnTo>
                    <a:lnTo>
                      <a:pt x="35" y="276"/>
                    </a:lnTo>
                    <a:lnTo>
                      <a:pt x="32" y="279"/>
                    </a:lnTo>
                    <a:lnTo>
                      <a:pt x="30" y="279"/>
                    </a:lnTo>
                    <a:lnTo>
                      <a:pt x="30" y="283"/>
                    </a:lnTo>
                    <a:lnTo>
                      <a:pt x="29" y="284"/>
                    </a:lnTo>
                    <a:lnTo>
                      <a:pt x="25" y="284"/>
                    </a:lnTo>
                    <a:lnTo>
                      <a:pt x="25" y="288"/>
                    </a:lnTo>
                    <a:lnTo>
                      <a:pt x="24" y="286"/>
                    </a:lnTo>
                    <a:lnTo>
                      <a:pt x="22" y="288"/>
                    </a:lnTo>
                    <a:lnTo>
                      <a:pt x="18" y="290"/>
                    </a:lnTo>
                    <a:lnTo>
                      <a:pt x="17" y="288"/>
                    </a:lnTo>
                    <a:lnTo>
                      <a:pt x="15" y="284"/>
                    </a:lnTo>
                    <a:lnTo>
                      <a:pt x="15" y="283"/>
                    </a:lnTo>
                    <a:lnTo>
                      <a:pt x="13" y="281"/>
                    </a:lnTo>
                    <a:lnTo>
                      <a:pt x="13" y="283"/>
                    </a:lnTo>
                    <a:lnTo>
                      <a:pt x="12" y="284"/>
                    </a:lnTo>
                    <a:lnTo>
                      <a:pt x="8" y="283"/>
                    </a:lnTo>
                    <a:lnTo>
                      <a:pt x="5" y="284"/>
                    </a:lnTo>
                    <a:lnTo>
                      <a:pt x="1" y="284"/>
                    </a:lnTo>
                    <a:lnTo>
                      <a:pt x="0" y="279"/>
                    </a:lnTo>
                    <a:lnTo>
                      <a:pt x="1" y="278"/>
                    </a:lnTo>
                    <a:lnTo>
                      <a:pt x="0" y="274"/>
                    </a:lnTo>
                    <a:lnTo>
                      <a:pt x="0" y="271"/>
                    </a:lnTo>
                    <a:lnTo>
                      <a:pt x="0" y="269"/>
                    </a:lnTo>
                    <a:lnTo>
                      <a:pt x="0" y="266"/>
                    </a:lnTo>
                    <a:lnTo>
                      <a:pt x="1" y="264"/>
                    </a:lnTo>
                    <a:lnTo>
                      <a:pt x="0" y="261"/>
                    </a:lnTo>
                    <a:lnTo>
                      <a:pt x="1" y="261"/>
                    </a:lnTo>
                    <a:lnTo>
                      <a:pt x="3" y="261"/>
                    </a:lnTo>
                    <a:lnTo>
                      <a:pt x="3" y="259"/>
                    </a:lnTo>
                    <a:lnTo>
                      <a:pt x="3" y="257"/>
                    </a:lnTo>
                    <a:lnTo>
                      <a:pt x="3" y="250"/>
                    </a:lnTo>
                    <a:lnTo>
                      <a:pt x="5" y="247"/>
                    </a:lnTo>
                    <a:lnTo>
                      <a:pt x="5" y="242"/>
                    </a:lnTo>
                    <a:lnTo>
                      <a:pt x="7" y="237"/>
                    </a:lnTo>
                    <a:lnTo>
                      <a:pt x="1" y="230"/>
                    </a:lnTo>
                    <a:lnTo>
                      <a:pt x="7" y="225"/>
                    </a:lnTo>
                    <a:lnTo>
                      <a:pt x="8" y="223"/>
                    </a:lnTo>
                    <a:lnTo>
                      <a:pt x="8" y="222"/>
                    </a:lnTo>
                    <a:lnTo>
                      <a:pt x="8" y="218"/>
                    </a:lnTo>
                    <a:lnTo>
                      <a:pt x="8" y="216"/>
                    </a:lnTo>
                    <a:lnTo>
                      <a:pt x="8" y="215"/>
                    </a:lnTo>
                    <a:lnTo>
                      <a:pt x="8" y="211"/>
                    </a:lnTo>
                    <a:lnTo>
                      <a:pt x="10" y="208"/>
                    </a:lnTo>
                    <a:lnTo>
                      <a:pt x="13" y="206"/>
                    </a:lnTo>
                    <a:lnTo>
                      <a:pt x="13" y="203"/>
                    </a:lnTo>
                    <a:lnTo>
                      <a:pt x="15" y="199"/>
                    </a:lnTo>
                    <a:lnTo>
                      <a:pt x="15" y="198"/>
                    </a:lnTo>
                    <a:lnTo>
                      <a:pt x="18" y="196"/>
                    </a:lnTo>
                    <a:lnTo>
                      <a:pt x="20" y="193"/>
                    </a:lnTo>
                    <a:lnTo>
                      <a:pt x="18" y="189"/>
                    </a:lnTo>
                    <a:lnTo>
                      <a:pt x="18" y="184"/>
                    </a:lnTo>
                    <a:lnTo>
                      <a:pt x="17" y="182"/>
                    </a:lnTo>
                    <a:lnTo>
                      <a:pt x="18" y="179"/>
                    </a:lnTo>
                    <a:lnTo>
                      <a:pt x="18" y="177"/>
                    </a:lnTo>
                    <a:lnTo>
                      <a:pt x="20" y="174"/>
                    </a:lnTo>
                    <a:lnTo>
                      <a:pt x="18" y="174"/>
                    </a:lnTo>
                    <a:lnTo>
                      <a:pt x="20" y="174"/>
                    </a:lnTo>
                    <a:lnTo>
                      <a:pt x="20" y="172"/>
                    </a:lnTo>
                    <a:lnTo>
                      <a:pt x="27" y="169"/>
                    </a:lnTo>
                    <a:lnTo>
                      <a:pt x="30" y="170"/>
                    </a:lnTo>
                    <a:lnTo>
                      <a:pt x="30" y="169"/>
                    </a:lnTo>
                    <a:lnTo>
                      <a:pt x="30" y="167"/>
                    </a:lnTo>
                    <a:lnTo>
                      <a:pt x="32" y="165"/>
                    </a:lnTo>
                    <a:lnTo>
                      <a:pt x="34" y="165"/>
                    </a:lnTo>
                    <a:lnTo>
                      <a:pt x="32" y="165"/>
                    </a:lnTo>
                    <a:lnTo>
                      <a:pt x="34" y="164"/>
                    </a:lnTo>
                    <a:lnTo>
                      <a:pt x="34" y="162"/>
                    </a:lnTo>
                    <a:lnTo>
                      <a:pt x="34" y="159"/>
                    </a:lnTo>
                    <a:lnTo>
                      <a:pt x="34" y="157"/>
                    </a:lnTo>
                    <a:lnTo>
                      <a:pt x="37" y="155"/>
                    </a:lnTo>
                    <a:lnTo>
                      <a:pt x="37" y="157"/>
                    </a:lnTo>
                    <a:lnTo>
                      <a:pt x="39" y="157"/>
                    </a:lnTo>
                    <a:lnTo>
                      <a:pt x="41" y="153"/>
                    </a:lnTo>
                    <a:lnTo>
                      <a:pt x="44" y="152"/>
                    </a:lnTo>
                    <a:lnTo>
                      <a:pt x="47" y="148"/>
                    </a:lnTo>
                    <a:lnTo>
                      <a:pt x="52" y="147"/>
                    </a:lnTo>
                    <a:lnTo>
                      <a:pt x="59" y="138"/>
                    </a:lnTo>
                    <a:lnTo>
                      <a:pt x="75" y="125"/>
                    </a:lnTo>
                    <a:lnTo>
                      <a:pt x="85" y="116"/>
                    </a:lnTo>
                    <a:lnTo>
                      <a:pt x="90" y="106"/>
                    </a:lnTo>
                    <a:lnTo>
                      <a:pt x="86" y="102"/>
                    </a:lnTo>
                    <a:lnTo>
                      <a:pt x="85" y="99"/>
                    </a:lnTo>
                    <a:lnTo>
                      <a:pt x="78" y="97"/>
                    </a:lnTo>
                    <a:lnTo>
                      <a:pt x="76" y="96"/>
                    </a:lnTo>
                    <a:lnTo>
                      <a:pt x="75" y="92"/>
                    </a:lnTo>
                    <a:lnTo>
                      <a:pt x="71" y="92"/>
                    </a:lnTo>
                    <a:lnTo>
                      <a:pt x="69" y="94"/>
                    </a:lnTo>
                    <a:lnTo>
                      <a:pt x="68" y="96"/>
                    </a:lnTo>
                    <a:lnTo>
                      <a:pt x="66" y="94"/>
                    </a:lnTo>
                    <a:lnTo>
                      <a:pt x="66" y="92"/>
                    </a:lnTo>
                    <a:lnTo>
                      <a:pt x="64" y="91"/>
                    </a:lnTo>
                    <a:lnTo>
                      <a:pt x="59" y="91"/>
                    </a:lnTo>
                    <a:lnTo>
                      <a:pt x="59" y="89"/>
                    </a:lnTo>
                    <a:lnTo>
                      <a:pt x="61" y="87"/>
                    </a:lnTo>
                    <a:lnTo>
                      <a:pt x="61" y="84"/>
                    </a:lnTo>
                    <a:lnTo>
                      <a:pt x="63" y="80"/>
                    </a:lnTo>
                    <a:lnTo>
                      <a:pt x="63" y="79"/>
                    </a:lnTo>
                    <a:lnTo>
                      <a:pt x="68" y="70"/>
                    </a:lnTo>
                    <a:lnTo>
                      <a:pt x="68" y="67"/>
                    </a:lnTo>
                    <a:lnTo>
                      <a:pt x="66" y="65"/>
                    </a:lnTo>
                    <a:lnTo>
                      <a:pt x="61" y="60"/>
                    </a:lnTo>
                    <a:lnTo>
                      <a:pt x="64" y="51"/>
                    </a:lnTo>
                    <a:lnTo>
                      <a:pt x="63" y="50"/>
                    </a:lnTo>
                    <a:lnTo>
                      <a:pt x="64" y="48"/>
                    </a:lnTo>
                    <a:lnTo>
                      <a:pt x="66" y="48"/>
                    </a:lnTo>
                    <a:lnTo>
                      <a:pt x="68" y="45"/>
                    </a:lnTo>
                    <a:lnTo>
                      <a:pt x="69" y="41"/>
                    </a:lnTo>
                    <a:lnTo>
                      <a:pt x="69" y="38"/>
                    </a:lnTo>
                    <a:lnTo>
                      <a:pt x="68" y="36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71" y="28"/>
                    </a:lnTo>
                    <a:lnTo>
                      <a:pt x="73" y="26"/>
                    </a:lnTo>
                    <a:lnTo>
                      <a:pt x="75" y="28"/>
                    </a:lnTo>
                    <a:lnTo>
                      <a:pt x="76" y="26"/>
                    </a:lnTo>
                    <a:lnTo>
                      <a:pt x="78" y="26"/>
                    </a:lnTo>
                    <a:lnTo>
                      <a:pt x="81" y="22"/>
                    </a:lnTo>
                    <a:lnTo>
                      <a:pt x="88" y="22"/>
                    </a:lnTo>
                    <a:lnTo>
                      <a:pt x="98" y="29"/>
                    </a:lnTo>
                    <a:lnTo>
                      <a:pt x="98" y="31"/>
                    </a:lnTo>
                    <a:lnTo>
                      <a:pt x="102" y="28"/>
                    </a:lnTo>
                    <a:lnTo>
                      <a:pt x="109" y="26"/>
                    </a:lnTo>
                    <a:lnTo>
                      <a:pt x="114" y="22"/>
                    </a:lnTo>
                    <a:lnTo>
                      <a:pt x="114" y="21"/>
                    </a:lnTo>
                    <a:lnTo>
                      <a:pt x="117" y="22"/>
                    </a:lnTo>
                    <a:lnTo>
                      <a:pt x="120" y="29"/>
                    </a:lnTo>
                    <a:lnTo>
                      <a:pt x="120" y="33"/>
                    </a:lnTo>
                    <a:lnTo>
                      <a:pt x="126" y="33"/>
                    </a:lnTo>
                    <a:lnTo>
                      <a:pt x="127" y="36"/>
                    </a:lnTo>
                    <a:lnTo>
                      <a:pt x="134" y="38"/>
                    </a:lnTo>
                    <a:lnTo>
                      <a:pt x="134" y="34"/>
                    </a:lnTo>
                    <a:lnTo>
                      <a:pt x="134" y="33"/>
                    </a:lnTo>
                    <a:lnTo>
                      <a:pt x="144" y="26"/>
                    </a:lnTo>
                    <a:lnTo>
                      <a:pt x="160" y="24"/>
                    </a:lnTo>
                    <a:lnTo>
                      <a:pt x="170" y="21"/>
                    </a:lnTo>
                    <a:lnTo>
                      <a:pt x="175" y="17"/>
                    </a:lnTo>
                    <a:lnTo>
                      <a:pt x="183" y="22"/>
                    </a:lnTo>
                    <a:lnTo>
                      <a:pt x="200" y="24"/>
                    </a:lnTo>
                    <a:lnTo>
                      <a:pt x="216" y="9"/>
                    </a:lnTo>
                    <a:lnTo>
                      <a:pt x="224" y="0"/>
                    </a:lnTo>
                    <a:lnTo>
                      <a:pt x="226" y="2"/>
                    </a:lnTo>
                    <a:lnTo>
                      <a:pt x="228" y="5"/>
                    </a:lnTo>
                    <a:lnTo>
                      <a:pt x="226" y="5"/>
                    </a:lnTo>
                    <a:lnTo>
                      <a:pt x="229" y="9"/>
                    </a:lnTo>
                    <a:lnTo>
                      <a:pt x="229" y="11"/>
                    </a:lnTo>
                    <a:lnTo>
                      <a:pt x="228" y="11"/>
                    </a:lnTo>
                    <a:lnTo>
                      <a:pt x="231" y="14"/>
                    </a:lnTo>
                    <a:lnTo>
                      <a:pt x="229" y="17"/>
                    </a:lnTo>
                    <a:lnTo>
                      <a:pt x="229" y="19"/>
                    </a:lnTo>
                    <a:lnTo>
                      <a:pt x="234" y="17"/>
                    </a:lnTo>
                    <a:lnTo>
                      <a:pt x="236" y="21"/>
                    </a:lnTo>
                    <a:lnTo>
                      <a:pt x="233" y="21"/>
                    </a:lnTo>
                    <a:lnTo>
                      <a:pt x="233" y="22"/>
                    </a:lnTo>
                    <a:lnTo>
                      <a:pt x="234" y="22"/>
                    </a:lnTo>
                    <a:lnTo>
                      <a:pt x="233" y="22"/>
                    </a:lnTo>
                    <a:lnTo>
                      <a:pt x="233" y="24"/>
                    </a:lnTo>
                    <a:lnTo>
                      <a:pt x="236" y="22"/>
                    </a:lnTo>
                    <a:lnTo>
                      <a:pt x="239" y="26"/>
                    </a:lnTo>
                    <a:lnTo>
                      <a:pt x="239" y="28"/>
                    </a:lnTo>
                    <a:lnTo>
                      <a:pt x="241" y="26"/>
                    </a:lnTo>
                    <a:lnTo>
                      <a:pt x="243" y="26"/>
                    </a:lnTo>
                    <a:lnTo>
                      <a:pt x="245" y="28"/>
                    </a:lnTo>
                    <a:lnTo>
                      <a:pt x="248" y="29"/>
                    </a:lnTo>
                    <a:lnTo>
                      <a:pt x="246" y="36"/>
                    </a:lnTo>
                    <a:lnTo>
                      <a:pt x="246" y="38"/>
                    </a:lnTo>
                    <a:lnTo>
                      <a:pt x="245" y="38"/>
                    </a:lnTo>
                    <a:lnTo>
                      <a:pt x="245" y="39"/>
                    </a:lnTo>
                    <a:lnTo>
                      <a:pt x="245" y="43"/>
                    </a:lnTo>
                    <a:lnTo>
                      <a:pt x="246" y="48"/>
                    </a:lnTo>
                    <a:lnTo>
                      <a:pt x="248" y="53"/>
                    </a:lnTo>
                    <a:lnTo>
                      <a:pt x="250" y="55"/>
                    </a:lnTo>
                    <a:lnTo>
                      <a:pt x="251" y="55"/>
                    </a:lnTo>
                    <a:lnTo>
                      <a:pt x="253" y="58"/>
                    </a:lnTo>
                    <a:lnTo>
                      <a:pt x="255" y="67"/>
                    </a:lnTo>
                    <a:lnTo>
                      <a:pt x="256" y="67"/>
                    </a:lnTo>
                    <a:lnTo>
                      <a:pt x="258" y="70"/>
                    </a:lnTo>
                    <a:lnTo>
                      <a:pt x="260" y="68"/>
                    </a:lnTo>
                    <a:lnTo>
                      <a:pt x="263" y="72"/>
                    </a:lnTo>
                    <a:lnTo>
                      <a:pt x="263" y="75"/>
                    </a:lnTo>
                    <a:lnTo>
                      <a:pt x="263" y="79"/>
                    </a:lnTo>
                    <a:lnTo>
                      <a:pt x="268" y="84"/>
                    </a:lnTo>
                    <a:lnTo>
                      <a:pt x="270" y="84"/>
                    </a:lnTo>
                    <a:lnTo>
                      <a:pt x="270" y="87"/>
                    </a:lnTo>
                    <a:lnTo>
                      <a:pt x="272" y="87"/>
                    </a:lnTo>
                    <a:lnTo>
                      <a:pt x="273" y="91"/>
                    </a:lnTo>
                    <a:lnTo>
                      <a:pt x="270" y="92"/>
                    </a:lnTo>
                    <a:lnTo>
                      <a:pt x="273" y="114"/>
                    </a:lnTo>
                    <a:lnTo>
                      <a:pt x="277" y="118"/>
                    </a:lnTo>
                    <a:lnTo>
                      <a:pt x="275" y="123"/>
                    </a:lnTo>
                    <a:lnTo>
                      <a:pt x="275" y="131"/>
                    </a:lnTo>
                    <a:lnTo>
                      <a:pt x="273" y="131"/>
                    </a:lnTo>
                    <a:lnTo>
                      <a:pt x="272" y="135"/>
                    </a:lnTo>
                    <a:lnTo>
                      <a:pt x="270" y="136"/>
                    </a:lnTo>
                    <a:lnTo>
                      <a:pt x="268" y="138"/>
                    </a:lnTo>
                    <a:lnTo>
                      <a:pt x="268" y="142"/>
                    </a:lnTo>
                    <a:lnTo>
                      <a:pt x="265" y="143"/>
                    </a:lnTo>
                    <a:lnTo>
                      <a:pt x="265" y="145"/>
                    </a:lnTo>
                    <a:lnTo>
                      <a:pt x="267" y="148"/>
                    </a:lnTo>
                    <a:lnTo>
                      <a:pt x="267" y="150"/>
                    </a:lnTo>
                    <a:lnTo>
                      <a:pt x="265" y="152"/>
                    </a:lnTo>
                    <a:lnTo>
                      <a:pt x="265" y="153"/>
                    </a:lnTo>
                    <a:lnTo>
                      <a:pt x="258" y="153"/>
                    </a:lnTo>
                    <a:lnTo>
                      <a:pt x="258" y="155"/>
                    </a:lnTo>
                    <a:lnTo>
                      <a:pt x="255" y="157"/>
                    </a:lnTo>
                    <a:lnTo>
                      <a:pt x="253" y="159"/>
                    </a:lnTo>
                    <a:lnTo>
                      <a:pt x="251" y="159"/>
                    </a:lnTo>
                    <a:lnTo>
                      <a:pt x="250" y="160"/>
                    </a:lnTo>
                    <a:lnTo>
                      <a:pt x="250" y="167"/>
                    </a:lnTo>
                    <a:lnTo>
                      <a:pt x="248" y="169"/>
                    </a:lnTo>
                    <a:lnTo>
                      <a:pt x="246" y="170"/>
                    </a:lnTo>
                    <a:lnTo>
                      <a:pt x="245" y="172"/>
                    </a:lnTo>
                    <a:lnTo>
                      <a:pt x="246" y="174"/>
                    </a:lnTo>
                    <a:lnTo>
                      <a:pt x="241" y="176"/>
                    </a:lnTo>
                    <a:lnTo>
                      <a:pt x="241" y="179"/>
                    </a:lnTo>
                    <a:lnTo>
                      <a:pt x="239" y="181"/>
                    </a:lnTo>
                    <a:lnTo>
                      <a:pt x="239" y="182"/>
                    </a:lnTo>
                    <a:lnTo>
                      <a:pt x="234" y="182"/>
                    </a:lnTo>
                    <a:lnTo>
                      <a:pt x="234" y="184"/>
                    </a:lnTo>
                    <a:lnTo>
                      <a:pt x="231" y="186"/>
                    </a:lnTo>
                    <a:lnTo>
                      <a:pt x="231" y="187"/>
                    </a:lnTo>
                    <a:lnTo>
                      <a:pt x="231" y="191"/>
                    </a:lnTo>
                    <a:lnTo>
                      <a:pt x="229" y="191"/>
                    </a:lnTo>
                    <a:lnTo>
                      <a:pt x="229" y="196"/>
                    </a:lnTo>
                    <a:lnTo>
                      <a:pt x="229" y="198"/>
                    </a:lnTo>
                    <a:lnTo>
                      <a:pt x="228" y="198"/>
                    </a:lnTo>
                    <a:lnTo>
                      <a:pt x="226" y="201"/>
                    </a:lnTo>
                    <a:lnTo>
                      <a:pt x="221" y="210"/>
                    </a:lnTo>
                    <a:lnTo>
                      <a:pt x="224" y="222"/>
                    </a:lnTo>
                    <a:lnTo>
                      <a:pt x="224" y="225"/>
                    </a:lnTo>
                    <a:lnTo>
                      <a:pt x="221" y="239"/>
                    </a:lnTo>
                    <a:lnTo>
                      <a:pt x="221" y="240"/>
                    </a:lnTo>
                    <a:lnTo>
                      <a:pt x="221" y="261"/>
                    </a:lnTo>
                    <a:lnTo>
                      <a:pt x="221" y="266"/>
                    </a:lnTo>
                    <a:close/>
                  </a:path>
                </a:pathLst>
              </a:custGeom>
              <a:solidFill>
                <a:srgbClr val="2A1971"/>
              </a:solidFill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10" name="Freeform 61">
                <a:extLst>
                  <a:ext uri="{FF2B5EF4-FFF2-40B4-BE49-F238E27FC236}">
                    <a16:creationId xmlns:a16="http://schemas.microsoft.com/office/drawing/2014/main" id="{CCE3491E-0EE0-44BD-B6D0-077AF213D8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01898" y="1225499"/>
                <a:ext cx="677843" cy="557190"/>
              </a:xfrm>
              <a:custGeom>
                <a:avLst/>
                <a:gdLst>
                  <a:gd name="T0" fmla="*/ 0 w 427"/>
                  <a:gd name="T1" fmla="*/ 347 h 351"/>
                  <a:gd name="T2" fmla="*/ 0 w 427"/>
                  <a:gd name="T3" fmla="*/ 344 h 351"/>
                  <a:gd name="T4" fmla="*/ 3 w 427"/>
                  <a:gd name="T5" fmla="*/ 322 h 351"/>
                  <a:gd name="T6" fmla="*/ 7 w 427"/>
                  <a:gd name="T7" fmla="*/ 303 h 351"/>
                  <a:gd name="T8" fmla="*/ 7 w 427"/>
                  <a:gd name="T9" fmla="*/ 300 h 351"/>
                  <a:gd name="T10" fmla="*/ 10 w 427"/>
                  <a:gd name="T11" fmla="*/ 295 h 351"/>
                  <a:gd name="T12" fmla="*/ 15 w 427"/>
                  <a:gd name="T13" fmla="*/ 281 h 351"/>
                  <a:gd name="T14" fmla="*/ 22 w 427"/>
                  <a:gd name="T15" fmla="*/ 274 h 351"/>
                  <a:gd name="T16" fmla="*/ 30 w 427"/>
                  <a:gd name="T17" fmla="*/ 272 h 351"/>
                  <a:gd name="T18" fmla="*/ 34 w 427"/>
                  <a:gd name="T19" fmla="*/ 264 h 351"/>
                  <a:gd name="T20" fmla="*/ 39 w 427"/>
                  <a:gd name="T21" fmla="*/ 250 h 351"/>
                  <a:gd name="T22" fmla="*/ 41 w 427"/>
                  <a:gd name="T23" fmla="*/ 245 h 351"/>
                  <a:gd name="T24" fmla="*/ 42 w 427"/>
                  <a:gd name="T25" fmla="*/ 244 h 351"/>
                  <a:gd name="T26" fmla="*/ 47 w 427"/>
                  <a:gd name="T27" fmla="*/ 240 h 351"/>
                  <a:gd name="T28" fmla="*/ 47 w 427"/>
                  <a:gd name="T29" fmla="*/ 235 h 351"/>
                  <a:gd name="T30" fmla="*/ 49 w 427"/>
                  <a:gd name="T31" fmla="*/ 228 h 351"/>
                  <a:gd name="T32" fmla="*/ 53 w 427"/>
                  <a:gd name="T33" fmla="*/ 223 h 351"/>
                  <a:gd name="T34" fmla="*/ 56 w 427"/>
                  <a:gd name="T35" fmla="*/ 218 h 351"/>
                  <a:gd name="T36" fmla="*/ 58 w 427"/>
                  <a:gd name="T37" fmla="*/ 213 h 351"/>
                  <a:gd name="T38" fmla="*/ 61 w 427"/>
                  <a:gd name="T39" fmla="*/ 206 h 351"/>
                  <a:gd name="T40" fmla="*/ 66 w 427"/>
                  <a:gd name="T41" fmla="*/ 201 h 351"/>
                  <a:gd name="T42" fmla="*/ 68 w 427"/>
                  <a:gd name="T43" fmla="*/ 198 h 351"/>
                  <a:gd name="T44" fmla="*/ 68 w 427"/>
                  <a:gd name="T45" fmla="*/ 193 h 351"/>
                  <a:gd name="T46" fmla="*/ 66 w 427"/>
                  <a:gd name="T47" fmla="*/ 194 h 351"/>
                  <a:gd name="T48" fmla="*/ 61 w 427"/>
                  <a:gd name="T49" fmla="*/ 196 h 351"/>
                  <a:gd name="T50" fmla="*/ 58 w 427"/>
                  <a:gd name="T51" fmla="*/ 204 h 351"/>
                  <a:gd name="T52" fmla="*/ 56 w 427"/>
                  <a:gd name="T53" fmla="*/ 204 h 351"/>
                  <a:gd name="T54" fmla="*/ 61 w 427"/>
                  <a:gd name="T55" fmla="*/ 196 h 351"/>
                  <a:gd name="T56" fmla="*/ 76 w 427"/>
                  <a:gd name="T57" fmla="*/ 186 h 351"/>
                  <a:gd name="T58" fmla="*/ 90 w 427"/>
                  <a:gd name="T59" fmla="*/ 172 h 351"/>
                  <a:gd name="T60" fmla="*/ 98 w 427"/>
                  <a:gd name="T61" fmla="*/ 162 h 351"/>
                  <a:gd name="T62" fmla="*/ 107 w 427"/>
                  <a:gd name="T63" fmla="*/ 155 h 351"/>
                  <a:gd name="T64" fmla="*/ 112 w 427"/>
                  <a:gd name="T65" fmla="*/ 147 h 351"/>
                  <a:gd name="T66" fmla="*/ 115 w 427"/>
                  <a:gd name="T67" fmla="*/ 135 h 351"/>
                  <a:gd name="T68" fmla="*/ 114 w 427"/>
                  <a:gd name="T69" fmla="*/ 130 h 351"/>
                  <a:gd name="T70" fmla="*/ 117 w 427"/>
                  <a:gd name="T71" fmla="*/ 116 h 351"/>
                  <a:gd name="T72" fmla="*/ 124 w 427"/>
                  <a:gd name="T73" fmla="*/ 97 h 351"/>
                  <a:gd name="T74" fmla="*/ 132 w 427"/>
                  <a:gd name="T75" fmla="*/ 87 h 351"/>
                  <a:gd name="T76" fmla="*/ 131 w 427"/>
                  <a:gd name="T77" fmla="*/ 80 h 351"/>
                  <a:gd name="T78" fmla="*/ 136 w 427"/>
                  <a:gd name="T79" fmla="*/ 73 h 351"/>
                  <a:gd name="T80" fmla="*/ 144 w 427"/>
                  <a:gd name="T81" fmla="*/ 70 h 351"/>
                  <a:gd name="T82" fmla="*/ 155 w 427"/>
                  <a:gd name="T83" fmla="*/ 63 h 351"/>
                  <a:gd name="T84" fmla="*/ 173 w 427"/>
                  <a:gd name="T85" fmla="*/ 53 h 351"/>
                  <a:gd name="T86" fmla="*/ 180 w 427"/>
                  <a:gd name="T87" fmla="*/ 46 h 351"/>
                  <a:gd name="T88" fmla="*/ 187 w 427"/>
                  <a:gd name="T89" fmla="*/ 28 h 351"/>
                  <a:gd name="T90" fmla="*/ 199 w 427"/>
                  <a:gd name="T91" fmla="*/ 0 h 351"/>
                  <a:gd name="T92" fmla="*/ 228 w 427"/>
                  <a:gd name="T93" fmla="*/ 0 h 351"/>
                  <a:gd name="T94" fmla="*/ 267 w 427"/>
                  <a:gd name="T95" fmla="*/ 0 h 351"/>
                  <a:gd name="T96" fmla="*/ 308 w 427"/>
                  <a:gd name="T97" fmla="*/ 0 h 351"/>
                  <a:gd name="T98" fmla="*/ 352 w 427"/>
                  <a:gd name="T99" fmla="*/ 2 h 351"/>
                  <a:gd name="T100" fmla="*/ 427 w 427"/>
                  <a:gd name="T101" fmla="*/ 2 h 351"/>
                  <a:gd name="T102" fmla="*/ 427 w 427"/>
                  <a:gd name="T103" fmla="*/ 41 h 351"/>
                  <a:gd name="T104" fmla="*/ 427 w 427"/>
                  <a:gd name="T105" fmla="*/ 85 h 351"/>
                  <a:gd name="T106" fmla="*/ 258 w 427"/>
                  <a:gd name="T107" fmla="*/ 87 h 351"/>
                  <a:gd name="T108" fmla="*/ 258 w 427"/>
                  <a:gd name="T109" fmla="*/ 164 h 351"/>
                  <a:gd name="T110" fmla="*/ 251 w 427"/>
                  <a:gd name="T111" fmla="*/ 216 h 351"/>
                  <a:gd name="T112" fmla="*/ 229 w 427"/>
                  <a:gd name="T113" fmla="*/ 223 h 351"/>
                  <a:gd name="T114" fmla="*/ 207 w 427"/>
                  <a:gd name="T115" fmla="*/ 238 h 351"/>
                  <a:gd name="T116" fmla="*/ 200 w 427"/>
                  <a:gd name="T117" fmla="*/ 252 h 351"/>
                  <a:gd name="T118" fmla="*/ 206 w 427"/>
                  <a:gd name="T119" fmla="*/ 307 h 351"/>
                  <a:gd name="T120" fmla="*/ 146 w 427"/>
                  <a:gd name="T121" fmla="*/ 322 h 351"/>
                  <a:gd name="T122" fmla="*/ 68 w 427"/>
                  <a:gd name="T123" fmla="*/ 322 h 351"/>
                  <a:gd name="T124" fmla="*/ 2 w 427"/>
                  <a:gd name="T125" fmla="*/ 344 h 3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27" h="351">
                    <a:moveTo>
                      <a:pt x="3" y="351"/>
                    </a:moveTo>
                    <a:lnTo>
                      <a:pt x="0" y="347"/>
                    </a:lnTo>
                    <a:lnTo>
                      <a:pt x="2" y="346"/>
                    </a:lnTo>
                    <a:lnTo>
                      <a:pt x="0" y="344"/>
                    </a:lnTo>
                    <a:lnTo>
                      <a:pt x="2" y="339"/>
                    </a:lnTo>
                    <a:lnTo>
                      <a:pt x="3" y="322"/>
                    </a:lnTo>
                    <a:lnTo>
                      <a:pt x="7" y="312"/>
                    </a:lnTo>
                    <a:lnTo>
                      <a:pt x="7" y="303"/>
                    </a:lnTo>
                    <a:lnTo>
                      <a:pt x="8" y="301"/>
                    </a:lnTo>
                    <a:lnTo>
                      <a:pt x="7" y="300"/>
                    </a:lnTo>
                    <a:lnTo>
                      <a:pt x="7" y="298"/>
                    </a:lnTo>
                    <a:lnTo>
                      <a:pt x="10" y="295"/>
                    </a:lnTo>
                    <a:lnTo>
                      <a:pt x="10" y="291"/>
                    </a:lnTo>
                    <a:lnTo>
                      <a:pt x="15" y="281"/>
                    </a:lnTo>
                    <a:lnTo>
                      <a:pt x="17" y="279"/>
                    </a:lnTo>
                    <a:lnTo>
                      <a:pt x="22" y="274"/>
                    </a:lnTo>
                    <a:lnTo>
                      <a:pt x="24" y="276"/>
                    </a:lnTo>
                    <a:lnTo>
                      <a:pt x="30" y="272"/>
                    </a:lnTo>
                    <a:lnTo>
                      <a:pt x="32" y="269"/>
                    </a:lnTo>
                    <a:lnTo>
                      <a:pt x="34" y="264"/>
                    </a:lnTo>
                    <a:lnTo>
                      <a:pt x="37" y="261"/>
                    </a:lnTo>
                    <a:lnTo>
                      <a:pt x="39" y="250"/>
                    </a:lnTo>
                    <a:lnTo>
                      <a:pt x="41" y="247"/>
                    </a:lnTo>
                    <a:lnTo>
                      <a:pt x="41" y="245"/>
                    </a:lnTo>
                    <a:lnTo>
                      <a:pt x="41" y="244"/>
                    </a:lnTo>
                    <a:lnTo>
                      <a:pt x="42" y="244"/>
                    </a:lnTo>
                    <a:lnTo>
                      <a:pt x="46" y="242"/>
                    </a:lnTo>
                    <a:lnTo>
                      <a:pt x="47" y="240"/>
                    </a:lnTo>
                    <a:lnTo>
                      <a:pt x="49" y="238"/>
                    </a:lnTo>
                    <a:lnTo>
                      <a:pt x="47" y="235"/>
                    </a:lnTo>
                    <a:lnTo>
                      <a:pt x="46" y="233"/>
                    </a:lnTo>
                    <a:lnTo>
                      <a:pt x="49" y="228"/>
                    </a:lnTo>
                    <a:lnTo>
                      <a:pt x="49" y="227"/>
                    </a:lnTo>
                    <a:lnTo>
                      <a:pt x="53" y="223"/>
                    </a:lnTo>
                    <a:lnTo>
                      <a:pt x="53" y="221"/>
                    </a:lnTo>
                    <a:lnTo>
                      <a:pt x="56" y="218"/>
                    </a:lnTo>
                    <a:lnTo>
                      <a:pt x="58" y="215"/>
                    </a:lnTo>
                    <a:lnTo>
                      <a:pt x="58" y="213"/>
                    </a:lnTo>
                    <a:lnTo>
                      <a:pt x="61" y="210"/>
                    </a:lnTo>
                    <a:lnTo>
                      <a:pt x="61" y="206"/>
                    </a:lnTo>
                    <a:lnTo>
                      <a:pt x="63" y="206"/>
                    </a:lnTo>
                    <a:lnTo>
                      <a:pt x="66" y="201"/>
                    </a:lnTo>
                    <a:lnTo>
                      <a:pt x="70" y="196"/>
                    </a:lnTo>
                    <a:lnTo>
                      <a:pt x="68" y="198"/>
                    </a:lnTo>
                    <a:lnTo>
                      <a:pt x="70" y="194"/>
                    </a:lnTo>
                    <a:lnTo>
                      <a:pt x="68" y="193"/>
                    </a:lnTo>
                    <a:lnTo>
                      <a:pt x="68" y="191"/>
                    </a:lnTo>
                    <a:lnTo>
                      <a:pt x="66" y="194"/>
                    </a:lnTo>
                    <a:lnTo>
                      <a:pt x="64" y="194"/>
                    </a:lnTo>
                    <a:lnTo>
                      <a:pt x="61" y="196"/>
                    </a:lnTo>
                    <a:lnTo>
                      <a:pt x="59" y="203"/>
                    </a:lnTo>
                    <a:lnTo>
                      <a:pt x="58" y="204"/>
                    </a:lnTo>
                    <a:lnTo>
                      <a:pt x="56" y="206"/>
                    </a:lnTo>
                    <a:lnTo>
                      <a:pt x="56" y="204"/>
                    </a:lnTo>
                    <a:lnTo>
                      <a:pt x="59" y="201"/>
                    </a:lnTo>
                    <a:lnTo>
                      <a:pt x="61" y="196"/>
                    </a:lnTo>
                    <a:lnTo>
                      <a:pt x="66" y="191"/>
                    </a:lnTo>
                    <a:lnTo>
                      <a:pt x="76" y="186"/>
                    </a:lnTo>
                    <a:lnTo>
                      <a:pt x="76" y="182"/>
                    </a:lnTo>
                    <a:lnTo>
                      <a:pt x="90" y="172"/>
                    </a:lnTo>
                    <a:lnTo>
                      <a:pt x="95" y="165"/>
                    </a:lnTo>
                    <a:lnTo>
                      <a:pt x="98" y="162"/>
                    </a:lnTo>
                    <a:lnTo>
                      <a:pt x="105" y="159"/>
                    </a:lnTo>
                    <a:lnTo>
                      <a:pt x="107" y="155"/>
                    </a:lnTo>
                    <a:lnTo>
                      <a:pt x="112" y="152"/>
                    </a:lnTo>
                    <a:lnTo>
                      <a:pt x="112" y="147"/>
                    </a:lnTo>
                    <a:lnTo>
                      <a:pt x="115" y="142"/>
                    </a:lnTo>
                    <a:lnTo>
                      <a:pt x="115" y="135"/>
                    </a:lnTo>
                    <a:lnTo>
                      <a:pt x="114" y="133"/>
                    </a:lnTo>
                    <a:lnTo>
                      <a:pt x="114" y="130"/>
                    </a:lnTo>
                    <a:lnTo>
                      <a:pt x="115" y="121"/>
                    </a:lnTo>
                    <a:lnTo>
                      <a:pt x="117" y="116"/>
                    </a:lnTo>
                    <a:lnTo>
                      <a:pt x="122" y="109"/>
                    </a:lnTo>
                    <a:lnTo>
                      <a:pt x="124" y="97"/>
                    </a:lnTo>
                    <a:lnTo>
                      <a:pt x="127" y="94"/>
                    </a:lnTo>
                    <a:lnTo>
                      <a:pt x="132" y="87"/>
                    </a:lnTo>
                    <a:lnTo>
                      <a:pt x="132" y="82"/>
                    </a:lnTo>
                    <a:lnTo>
                      <a:pt x="131" y="80"/>
                    </a:lnTo>
                    <a:lnTo>
                      <a:pt x="132" y="77"/>
                    </a:lnTo>
                    <a:lnTo>
                      <a:pt x="136" y="73"/>
                    </a:lnTo>
                    <a:lnTo>
                      <a:pt x="141" y="72"/>
                    </a:lnTo>
                    <a:lnTo>
                      <a:pt x="144" y="70"/>
                    </a:lnTo>
                    <a:lnTo>
                      <a:pt x="148" y="65"/>
                    </a:lnTo>
                    <a:lnTo>
                      <a:pt x="155" y="63"/>
                    </a:lnTo>
                    <a:lnTo>
                      <a:pt x="158" y="62"/>
                    </a:lnTo>
                    <a:lnTo>
                      <a:pt x="173" y="53"/>
                    </a:lnTo>
                    <a:lnTo>
                      <a:pt x="178" y="50"/>
                    </a:lnTo>
                    <a:lnTo>
                      <a:pt x="180" y="46"/>
                    </a:lnTo>
                    <a:lnTo>
                      <a:pt x="187" y="31"/>
                    </a:lnTo>
                    <a:lnTo>
                      <a:pt x="187" y="28"/>
                    </a:lnTo>
                    <a:lnTo>
                      <a:pt x="194" y="16"/>
                    </a:lnTo>
                    <a:lnTo>
                      <a:pt x="199" y="0"/>
                    </a:lnTo>
                    <a:lnTo>
                      <a:pt x="209" y="0"/>
                    </a:lnTo>
                    <a:lnTo>
                      <a:pt x="228" y="0"/>
                    </a:lnTo>
                    <a:lnTo>
                      <a:pt x="258" y="0"/>
                    </a:lnTo>
                    <a:lnTo>
                      <a:pt x="267" y="0"/>
                    </a:lnTo>
                    <a:lnTo>
                      <a:pt x="279" y="0"/>
                    </a:lnTo>
                    <a:lnTo>
                      <a:pt x="308" y="0"/>
                    </a:lnTo>
                    <a:lnTo>
                      <a:pt x="325" y="0"/>
                    </a:lnTo>
                    <a:lnTo>
                      <a:pt x="352" y="2"/>
                    </a:lnTo>
                    <a:lnTo>
                      <a:pt x="396" y="2"/>
                    </a:lnTo>
                    <a:lnTo>
                      <a:pt x="427" y="2"/>
                    </a:lnTo>
                    <a:lnTo>
                      <a:pt x="427" y="19"/>
                    </a:lnTo>
                    <a:lnTo>
                      <a:pt x="427" y="41"/>
                    </a:lnTo>
                    <a:lnTo>
                      <a:pt x="427" y="56"/>
                    </a:lnTo>
                    <a:lnTo>
                      <a:pt x="427" y="85"/>
                    </a:lnTo>
                    <a:lnTo>
                      <a:pt x="316" y="85"/>
                    </a:lnTo>
                    <a:lnTo>
                      <a:pt x="258" y="87"/>
                    </a:lnTo>
                    <a:lnTo>
                      <a:pt x="258" y="136"/>
                    </a:lnTo>
                    <a:lnTo>
                      <a:pt x="258" y="164"/>
                    </a:lnTo>
                    <a:lnTo>
                      <a:pt x="258" y="215"/>
                    </a:lnTo>
                    <a:lnTo>
                      <a:pt x="251" y="216"/>
                    </a:lnTo>
                    <a:lnTo>
                      <a:pt x="241" y="221"/>
                    </a:lnTo>
                    <a:lnTo>
                      <a:pt x="229" y="223"/>
                    </a:lnTo>
                    <a:lnTo>
                      <a:pt x="209" y="235"/>
                    </a:lnTo>
                    <a:lnTo>
                      <a:pt x="207" y="238"/>
                    </a:lnTo>
                    <a:lnTo>
                      <a:pt x="202" y="244"/>
                    </a:lnTo>
                    <a:lnTo>
                      <a:pt x="200" y="252"/>
                    </a:lnTo>
                    <a:lnTo>
                      <a:pt x="200" y="257"/>
                    </a:lnTo>
                    <a:lnTo>
                      <a:pt x="206" y="307"/>
                    </a:lnTo>
                    <a:lnTo>
                      <a:pt x="207" y="324"/>
                    </a:lnTo>
                    <a:lnTo>
                      <a:pt x="146" y="322"/>
                    </a:lnTo>
                    <a:lnTo>
                      <a:pt x="117" y="322"/>
                    </a:lnTo>
                    <a:lnTo>
                      <a:pt x="68" y="322"/>
                    </a:lnTo>
                    <a:lnTo>
                      <a:pt x="8" y="322"/>
                    </a:lnTo>
                    <a:lnTo>
                      <a:pt x="2" y="344"/>
                    </a:lnTo>
                    <a:lnTo>
                      <a:pt x="3" y="351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11" name="Freeform 62">
                <a:extLst>
                  <a:ext uri="{FF2B5EF4-FFF2-40B4-BE49-F238E27FC236}">
                    <a16:creationId xmlns:a16="http://schemas.microsoft.com/office/drawing/2014/main" id="{013851B0-47B5-49BE-8BBB-775EACC6717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345058" y="4114629"/>
                <a:ext cx="939774" cy="792130"/>
              </a:xfrm>
              <a:custGeom>
                <a:avLst/>
                <a:gdLst>
                  <a:gd name="T0" fmla="*/ 563 w 592"/>
                  <a:gd name="T1" fmla="*/ 70 h 499"/>
                  <a:gd name="T2" fmla="*/ 578 w 592"/>
                  <a:gd name="T3" fmla="*/ 97 h 499"/>
                  <a:gd name="T4" fmla="*/ 588 w 592"/>
                  <a:gd name="T5" fmla="*/ 123 h 499"/>
                  <a:gd name="T6" fmla="*/ 571 w 592"/>
                  <a:gd name="T7" fmla="*/ 135 h 499"/>
                  <a:gd name="T8" fmla="*/ 571 w 592"/>
                  <a:gd name="T9" fmla="*/ 160 h 499"/>
                  <a:gd name="T10" fmla="*/ 573 w 592"/>
                  <a:gd name="T11" fmla="*/ 177 h 499"/>
                  <a:gd name="T12" fmla="*/ 575 w 592"/>
                  <a:gd name="T13" fmla="*/ 206 h 499"/>
                  <a:gd name="T14" fmla="*/ 577 w 592"/>
                  <a:gd name="T15" fmla="*/ 220 h 499"/>
                  <a:gd name="T16" fmla="*/ 554 w 592"/>
                  <a:gd name="T17" fmla="*/ 230 h 499"/>
                  <a:gd name="T18" fmla="*/ 549 w 592"/>
                  <a:gd name="T19" fmla="*/ 266 h 499"/>
                  <a:gd name="T20" fmla="*/ 549 w 592"/>
                  <a:gd name="T21" fmla="*/ 278 h 499"/>
                  <a:gd name="T22" fmla="*/ 558 w 592"/>
                  <a:gd name="T23" fmla="*/ 296 h 499"/>
                  <a:gd name="T24" fmla="*/ 529 w 592"/>
                  <a:gd name="T25" fmla="*/ 307 h 499"/>
                  <a:gd name="T26" fmla="*/ 417 w 592"/>
                  <a:gd name="T27" fmla="*/ 344 h 499"/>
                  <a:gd name="T28" fmla="*/ 418 w 592"/>
                  <a:gd name="T29" fmla="*/ 376 h 499"/>
                  <a:gd name="T30" fmla="*/ 373 w 592"/>
                  <a:gd name="T31" fmla="*/ 380 h 499"/>
                  <a:gd name="T32" fmla="*/ 347 w 592"/>
                  <a:gd name="T33" fmla="*/ 407 h 499"/>
                  <a:gd name="T34" fmla="*/ 294 w 592"/>
                  <a:gd name="T35" fmla="*/ 444 h 499"/>
                  <a:gd name="T36" fmla="*/ 254 w 592"/>
                  <a:gd name="T37" fmla="*/ 494 h 499"/>
                  <a:gd name="T38" fmla="*/ 223 w 592"/>
                  <a:gd name="T39" fmla="*/ 492 h 499"/>
                  <a:gd name="T40" fmla="*/ 196 w 592"/>
                  <a:gd name="T41" fmla="*/ 494 h 499"/>
                  <a:gd name="T42" fmla="*/ 170 w 592"/>
                  <a:gd name="T43" fmla="*/ 487 h 499"/>
                  <a:gd name="T44" fmla="*/ 157 w 592"/>
                  <a:gd name="T45" fmla="*/ 478 h 499"/>
                  <a:gd name="T46" fmla="*/ 141 w 592"/>
                  <a:gd name="T47" fmla="*/ 472 h 499"/>
                  <a:gd name="T48" fmla="*/ 114 w 592"/>
                  <a:gd name="T49" fmla="*/ 470 h 499"/>
                  <a:gd name="T50" fmla="*/ 56 w 592"/>
                  <a:gd name="T51" fmla="*/ 467 h 499"/>
                  <a:gd name="T52" fmla="*/ 27 w 592"/>
                  <a:gd name="T53" fmla="*/ 439 h 499"/>
                  <a:gd name="T54" fmla="*/ 5 w 592"/>
                  <a:gd name="T55" fmla="*/ 419 h 499"/>
                  <a:gd name="T56" fmla="*/ 0 w 592"/>
                  <a:gd name="T57" fmla="*/ 278 h 499"/>
                  <a:gd name="T58" fmla="*/ 97 w 592"/>
                  <a:gd name="T59" fmla="*/ 227 h 499"/>
                  <a:gd name="T60" fmla="*/ 101 w 592"/>
                  <a:gd name="T61" fmla="*/ 199 h 499"/>
                  <a:gd name="T62" fmla="*/ 102 w 592"/>
                  <a:gd name="T63" fmla="*/ 148 h 499"/>
                  <a:gd name="T64" fmla="*/ 114 w 592"/>
                  <a:gd name="T65" fmla="*/ 143 h 499"/>
                  <a:gd name="T66" fmla="*/ 135 w 592"/>
                  <a:gd name="T67" fmla="*/ 160 h 499"/>
                  <a:gd name="T68" fmla="*/ 169 w 592"/>
                  <a:gd name="T69" fmla="*/ 154 h 499"/>
                  <a:gd name="T70" fmla="*/ 172 w 592"/>
                  <a:gd name="T71" fmla="*/ 174 h 499"/>
                  <a:gd name="T72" fmla="*/ 197 w 592"/>
                  <a:gd name="T73" fmla="*/ 186 h 499"/>
                  <a:gd name="T74" fmla="*/ 233 w 592"/>
                  <a:gd name="T75" fmla="*/ 191 h 499"/>
                  <a:gd name="T76" fmla="*/ 259 w 592"/>
                  <a:gd name="T77" fmla="*/ 171 h 499"/>
                  <a:gd name="T78" fmla="*/ 279 w 592"/>
                  <a:gd name="T79" fmla="*/ 198 h 499"/>
                  <a:gd name="T80" fmla="*/ 301 w 592"/>
                  <a:gd name="T81" fmla="*/ 208 h 499"/>
                  <a:gd name="T82" fmla="*/ 320 w 592"/>
                  <a:gd name="T83" fmla="*/ 213 h 499"/>
                  <a:gd name="T84" fmla="*/ 333 w 592"/>
                  <a:gd name="T85" fmla="*/ 237 h 499"/>
                  <a:gd name="T86" fmla="*/ 347 w 592"/>
                  <a:gd name="T87" fmla="*/ 247 h 499"/>
                  <a:gd name="T88" fmla="*/ 366 w 592"/>
                  <a:gd name="T89" fmla="*/ 264 h 499"/>
                  <a:gd name="T90" fmla="*/ 388 w 592"/>
                  <a:gd name="T91" fmla="*/ 257 h 499"/>
                  <a:gd name="T92" fmla="*/ 396 w 592"/>
                  <a:gd name="T93" fmla="*/ 199 h 499"/>
                  <a:gd name="T94" fmla="*/ 381 w 592"/>
                  <a:gd name="T95" fmla="*/ 211 h 499"/>
                  <a:gd name="T96" fmla="*/ 361 w 592"/>
                  <a:gd name="T97" fmla="*/ 211 h 499"/>
                  <a:gd name="T98" fmla="*/ 339 w 592"/>
                  <a:gd name="T99" fmla="*/ 191 h 499"/>
                  <a:gd name="T100" fmla="*/ 327 w 592"/>
                  <a:gd name="T101" fmla="*/ 177 h 499"/>
                  <a:gd name="T102" fmla="*/ 328 w 592"/>
                  <a:gd name="T103" fmla="*/ 155 h 499"/>
                  <a:gd name="T104" fmla="*/ 335 w 592"/>
                  <a:gd name="T105" fmla="*/ 128 h 499"/>
                  <a:gd name="T106" fmla="*/ 337 w 592"/>
                  <a:gd name="T107" fmla="*/ 116 h 499"/>
                  <a:gd name="T108" fmla="*/ 339 w 592"/>
                  <a:gd name="T109" fmla="*/ 84 h 499"/>
                  <a:gd name="T110" fmla="*/ 352 w 592"/>
                  <a:gd name="T111" fmla="*/ 12 h 499"/>
                  <a:gd name="T112" fmla="*/ 459 w 592"/>
                  <a:gd name="T113" fmla="*/ 19 h 499"/>
                  <a:gd name="T114" fmla="*/ 481 w 592"/>
                  <a:gd name="T115" fmla="*/ 24 h 499"/>
                  <a:gd name="T116" fmla="*/ 497 w 592"/>
                  <a:gd name="T117" fmla="*/ 34 h 499"/>
                  <a:gd name="T118" fmla="*/ 520 w 592"/>
                  <a:gd name="T119" fmla="*/ 46 h 499"/>
                  <a:gd name="T120" fmla="*/ 551 w 592"/>
                  <a:gd name="T121" fmla="*/ 58 h 4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92" h="499">
                    <a:moveTo>
                      <a:pt x="554" y="60"/>
                    </a:moveTo>
                    <a:lnTo>
                      <a:pt x="554" y="62"/>
                    </a:lnTo>
                    <a:lnTo>
                      <a:pt x="554" y="63"/>
                    </a:lnTo>
                    <a:lnTo>
                      <a:pt x="556" y="63"/>
                    </a:lnTo>
                    <a:lnTo>
                      <a:pt x="558" y="65"/>
                    </a:lnTo>
                    <a:lnTo>
                      <a:pt x="558" y="72"/>
                    </a:lnTo>
                    <a:lnTo>
                      <a:pt x="560" y="72"/>
                    </a:lnTo>
                    <a:lnTo>
                      <a:pt x="563" y="74"/>
                    </a:lnTo>
                    <a:lnTo>
                      <a:pt x="563" y="72"/>
                    </a:lnTo>
                    <a:lnTo>
                      <a:pt x="563" y="70"/>
                    </a:lnTo>
                    <a:lnTo>
                      <a:pt x="566" y="70"/>
                    </a:lnTo>
                    <a:lnTo>
                      <a:pt x="568" y="74"/>
                    </a:lnTo>
                    <a:lnTo>
                      <a:pt x="568" y="77"/>
                    </a:lnTo>
                    <a:lnTo>
                      <a:pt x="571" y="79"/>
                    </a:lnTo>
                    <a:lnTo>
                      <a:pt x="571" y="80"/>
                    </a:lnTo>
                    <a:lnTo>
                      <a:pt x="575" y="82"/>
                    </a:lnTo>
                    <a:lnTo>
                      <a:pt x="577" y="86"/>
                    </a:lnTo>
                    <a:lnTo>
                      <a:pt x="575" y="87"/>
                    </a:lnTo>
                    <a:lnTo>
                      <a:pt x="573" y="94"/>
                    </a:lnTo>
                    <a:lnTo>
                      <a:pt x="578" y="97"/>
                    </a:lnTo>
                    <a:lnTo>
                      <a:pt x="580" y="99"/>
                    </a:lnTo>
                    <a:lnTo>
                      <a:pt x="585" y="103"/>
                    </a:lnTo>
                    <a:lnTo>
                      <a:pt x="583" y="106"/>
                    </a:lnTo>
                    <a:lnTo>
                      <a:pt x="585" y="109"/>
                    </a:lnTo>
                    <a:lnTo>
                      <a:pt x="587" y="113"/>
                    </a:lnTo>
                    <a:lnTo>
                      <a:pt x="588" y="114"/>
                    </a:lnTo>
                    <a:lnTo>
                      <a:pt x="588" y="116"/>
                    </a:lnTo>
                    <a:lnTo>
                      <a:pt x="590" y="118"/>
                    </a:lnTo>
                    <a:lnTo>
                      <a:pt x="592" y="120"/>
                    </a:lnTo>
                    <a:lnTo>
                      <a:pt x="588" y="123"/>
                    </a:lnTo>
                    <a:lnTo>
                      <a:pt x="587" y="123"/>
                    </a:lnTo>
                    <a:lnTo>
                      <a:pt x="585" y="128"/>
                    </a:lnTo>
                    <a:lnTo>
                      <a:pt x="583" y="128"/>
                    </a:lnTo>
                    <a:lnTo>
                      <a:pt x="583" y="130"/>
                    </a:lnTo>
                    <a:lnTo>
                      <a:pt x="580" y="131"/>
                    </a:lnTo>
                    <a:lnTo>
                      <a:pt x="578" y="131"/>
                    </a:lnTo>
                    <a:lnTo>
                      <a:pt x="575" y="133"/>
                    </a:lnTo>
                    <a:lnTo>
                      <a:pt x="573" y="133"/>
                    </a:lnTo>
                    <a:lnTo>
                      <a:pt x="573" y="135"/>
                    </a:lnTo>
                    <a:lnTo>
                      <a:pt x="571" y="135"/>
                    </a:lnTo>
                    <a:lnTo>
                      <a:pt x="570" y="135"/>
                    </a:lnTo>
                    <a:lnTo>
                      <a:pt x="570" y="137"/>
                    </a:lnTo>
                    <a:lnTo>
                      <a:pt x="571" y="137"/>
                    </a:lnTo>
                    <a:lnTo>
                      <a:pt x="573" y="145"/>
                    </a:lnTo>
                    <a:lnTo>
                      <a:pt x="578" y="148"/>
                    </a:lnTo>
                    <a:lnTo>
                      <a:pt x="577" y="154"/>
                    </a:lnTo>
                    <a:lnTo>
                      <a:pt x="575" y="154"/>
                    </a:lnTo>
                    <a:lnTo>
                      <a:pt x="573" y="159"/>
                    </a:lnTo>
                    <a:lnTo>
                      <a:pt x="573" y="160"/>
                    </a:lnTo>
                    <a:lnTo>
                      <a:pt x="571" y="160"/>
                    </a:lnTo>
                    <a:lnTo>
                      <a:pt x="571" y="164"/>
                    </a:lnTo>
                    <a:lnTo>
                      <a:pt x="570" y="162"/>
                    </a:lnTo>
                    <a:lnTo>
                      <a:pt x="568" y="162"/>
                    </a:lnTo>
                    <a:lnTo>
                      <a:pt x="570" y="164"/>
                    </a:lnTo>
                    <a:lnTo>
                      <a:pt x="570" y="167"/>
                    </a:lnTo>
                    <a:lnTo>
                      <a:pt x="568" y="169"/>
                    </a:lnTo>
                    <a:lnTo>
                      <a:pt x="568" y="171"/>
                    </a:lnTo>
                    <a:lnTo>
                      <a:pt x="571" y="171"/>
                    </a:lnTo>
                    <a:lnTo>
                      <a:pt x="573" y="171"/>
                    </a:lnTo>
                    <a:lnTo>
                      <a:pt x="573" y="177"/>
                    </a:lnTo>
                    <a:lnTo>
                      <a:pt x="573" y="181"/>
                    </a:lnTo>
                    <a:lnTo>
                      <a:pt x="573" y="184"/>
                    </a:lnTo>
                    <a:lnTo>
                      <a:pt x="573" y="188"/>
                    </a:lnTo>
                    <a:lnTo>
                      <a:pt x="573" y="191"/>
                    </a:lnTo>
                    <a:lnTo>
                      <a:pt x="571" y="194"/>
                    </a:lnTo>
                    <a:lnTo>
                      <a:pt x="570" y="198"/>
                    </a:lnTo>
                    <a:lnTo>
                      <a:pt x="571" y="199"/>
                    </a:lnTo>
                    <a:lnTo>
                      <a:pt x="573" y="199"/>
                    </a:lnTo>
                    <a:lnTo>
                      <a:pt x="573" y="205"/>
                    </a:lnTo>
                    <a:lnTo>
                      <a:pt x="575" y="206"/>
                    </a:lnTo>
                    <a:lnTo>
                      <a:pt x="575" y="208"/>
                    </a:lnTo>
                    <a:lnTo>
                      <a:pt x="577" y="210"/>
                    </a:lnTo>
                    <a:lnTo>
                      <a:pt x="582" y="208"/>
                    </a:lnTo>
                    <a:lnTo>
                      <a:pt x="583" y="210"/>
                    </a:lnTo>
                    <a:lnTo>
                      <a:pt x="583" y="208"/>
                    </a:lnTo>
                    <a:lnTo>
                      <a:pt x="585" y="210"/>
                    </a:lnTo>
                    <a:lnTo>
                      <a:pt x="582" y="213"/>
                    </a:lnTo>
                    <a:lnTo>
                      <a:pt x="582" y="215"/>
                    </a:lnTo>
                    <a:lnTo>
                      <a:pt x="578" y="217"/>
                    </a:lnTo>
                    <a:lnTo>
                      <a:pt x="577" y="220"/>
                    </a:lnTo>
                    <a:lnTo>
                      <a:pt x="575" y="220"/>
                    </a:lnTo>
                    <a:lnTo>
                      <a:pt x="573" y="218"/>
                    </a:lnTo>
                    <a:lnTo>
                      <a:pt x="571" y="218"/>
                    </a:lnTo>
                    <a:lnTo>
                      <a:pt x="566" y="223"/>
                    </a:lnTo>
                    <a:lnTo>
                      <a:pt x="565" y="222"/>
                    </a:lnTo>
                    <a:lnTo>
                      <a:pt x="563" y="223"/>
                    </a:lnTo>
                    <a:lnTo>
                      <a:pt x="561" y="222"/>
                    </a:lnTo>
                    <a:lnTo>
                      <a:pt x="560" y="223"/>
                    </a:lnTo>
                    <a:lnTo>
                      <a:pt x="556" y="228"/>
                    </a:lnTo>
                    <a:lnTo>
                      <a:pt x="554" y="230"/>
                    </a:lnTo>
                    <a:lnTo>
                      <a:pt x="554" y="235"/>
                    </a:lnTo>
                    <a:lnTo>
                      <a:pt x="558" y="237"/>
                    </a:lnTo>
                    <a:lnTo>
                      <a:pt x="556" y="249"/>
                    </a:lnTo>
                    <a:lnTo>
                      <a:pt x="556" y="251"/>
                    </a:lnTo>
                    <a:lnTo>
                      <a:pt x="558" y="254"/>
                    </a:lnTo>
                    <a:lnTo>
                      <a:pt x="554" y="256"/>
                    </a:lnTo>
                    <a:lnTo>
                      <a:pt x="553" y="261"/>
                    </a:lnTo>
                    <a:lnTo>
                      <a:pt x="553" y="262"/>
                    </a:lnTo>
                    <a:lnTo>
                      <a:pt x="551" y="266"/>
                    </a:lnTo>
                    <a:lnTo>
                      <a:pt x="549" y="266"/>
                    </a:lnTo>
                    <a:lnTo>
                      <a:pt x="549" y="268"/>
                    </a:lnTo>
                    <a:lnTo>
                      <a:pt x="546" y="271"/>
                    </a:lnTo>
                    <a:lnTo>
                      <a:pt x="544" y="273"/>
                    </a:lnTo>
                    <a:lnTo>
                      <a:pt x="541" y="271"/>
                    </a:lnTo>
                    <a:lnTo>
                      <a:pt x="541" y="273"/>
                    </a:lnTo>
                    <a:lnTo>
                      <a:pt x="543" y="274"/>
                    </a:lnTo>
                    <a:lnTo>
                      <a:pt x="546" y="274"/>
                    </a:lnTo>
                    <a:lnTo>
                      <a:pt x="548" y="276"/>
                    </a:lnTo>
                    <a:lnTo>
                      <a:pt x="546" y="276"/>
                    </a:lnTo>
                    <a:lnTo>
                      <a:pt x="549" y="278"/>
                    </a:lnTo>
                    <a:lnTo>
                      <a:pt x="546" y="279"/>
                    </a:lnTo>
                    <a:lnTo>
                      <a:pt x="546" y="281"/>
                    </a:lnTo>
                    <a:lnTo>
                      <a:pt x="548" y="283"/>
                    </a:lnTo>
                    <a:lnTo>
                      <a:pt x="549" y="283"/>
                    </a:lnTo>
                    <a:lnTo>
                      <a:pt x="551" y="285"/>
                    </a:lnTo>
                    <a:lnTo>
                      <a:pt x="554" y="288"/>
                    </a:lnTo>
                    <a:lnTo>
                      <a:pt x="554" y="290"/>
                    </a:lnTo>
                    <a:lnTo>
                      <a:pt x="556" y="291"/>
                    </a:lnTo>
                    <a:lnTo>
                      <a:pt x="556" y="293"/>
                    </a:lnTo>
                    <a:lnTo>
                      <a:pt x="558" y="296"/>
                    </a:lnTo>
                    <a:lnTo>
                      <a:pt x="560" y="295"/>
                    </a:lnTo>
                    <a:lnTo>
                      <a:pt x="560" y="293"/>
                    </a:lnTo>
                    <a:lnTo>
                      <a:pt x="563" y="291"/>
                    </a:lnTo>
                    <a:lnTo>
                      <a:pt x="565" y="290"/>
                    </a:lnTo>
                    <a:lnTo>
                      <a:pt x="566" y="290"/>
                    </a:lnTo>
                    <a:lnTo>
                      <a:pt x="566" y="291"/>
                    </a:lnTo>
                    <a:lnTo>
                      <a:pt x="568" y="293"/>
                    </a:lnTo>
                    <a:lnTo>
                      <a:pt x="558" y="296"/>
                    </a:lnTo>
                    <a:lnTo>
                      <a:pt x="539" y="303"/>
                    </a:lnTo>
                    <a:lnTo>
                      <a:pt x="529" y="307"/>
                    </a:lnTo>
                    <a:lnTo>
                      <a:pt x="520" y="308"/>
                    </a:lnTo>
                    <a:lnTo>
                      <a:pt x="503" y="313"/>
                    </a:lnTo>
                    <a:lnTo>
                      <a:pt x="497" y="317"/>
                    </a:lnTo>
                    <a:lnTo>
                      <a:pt x="490" y="319"/>
                    </a:lnTo>
                    <a:lnTo>
                      <a:pt x="481" y="324"/>
                    </a:lnTo>
                    <a:lnTo>
                      <a:pt x="469" y="327"/>
                    </a:lnTo>
                    <a:lnTo>
                      <a:pt x="459" y="330"/>
                    </a:lnTo>
                    <a:lnTo>
                      <a:pt x="444" y="332"/>
                    </a:lnTo>
                    <a:lnTo>
                      <a:pt x="425" y="341"/>
                    </a:lnTo>
                    <a:lnTo>
                      <a:pt x="417" y="344"/>
                    </a:lnTo>
                    <a:lnTo>
                      <a:pt x="417" y="346"/>
                    </a:lnTo>
                    <a:lnTo>
                      <a:pt x="417" y="347"/>
                    </a:lnTo>
                    <a:lnTo>
                      <a:pt x="418" y="354"/>
                    </a:lnTo>
                    <a:lnTo>
                      <a:pt x="424" y="361"/>
                    </a:lnTo>
                    <a:lnTo>
                      <a:pt x="424" y="366"/>
                    </a:lnTo>
                    <a:lnTo>
                      <a:pt x="425" y="368"/>
                    </a:lnTo>
                    <a:lnTo>
                      <a:pt x="424" y="371"/>
                    </a:lnTo>
                    <a:lnTo>
                      <a:pt x="427" y="375"/>
                    </a:lnTo>
                    <a:lnTo>
                      <a:pt x="424" y="376"/>
                    </a:lnTo>
                    <a:lnTo>
                      <a:pt x="418" y="376"/>
                    </a:lnTo>
                    <a:lnTo>
                      <a:pt x="418" y="375"/>
                    </a:lnTo>
                    <a:lnTo>
                      <a:pt x="415" y="378"/>
                    </a:lnTo>
                    <a:lnTo>
                      <a:pt x="413" y="375"/>
                    </a:lnTo>
                    <a:lnTo>
                      <a:pt x="403" y="376"/>
                    </a:lnTo>
                    <a:lnTo>
                      <a:pt x="396" y="375"/>
                    </a:lnTo>
                    <a:lnTo>
                      <a:pt x="386" y="378"/>
                    </a:lnTo>
                    <a:lnTo>
                      <a:pt x="384" y="376"/>
                    </a:lnTo>
                    <a:lnTo>
                      <a:pt x="381" y="378"/>
                    </a:lnTo>
                    <a:lnTo>
                      <a:pt x="376" y="378"/>
                    </a:lnTo>
                    <a:lnTo>
                      <a:pt x="373" y="380"/>
                    </a:lnTo>
                    <a:lnTo>
                      <a:pt x="369" y="382"/>
                    </a:lnTo>
                    <a:lnTo>
                      <a:pt x="366" y="383"/>
                    </a:lnTo>
                    <a:lnTo>
                      <a:pt x="357" y="390"/>
                    </a:lnTo>
                    <a:lnTo>
                      <a:pt x="356" y="392"/>
                    </a:lnTo>
                    <a:lnTo>
                      <a:pt x="350" y="392"/>
                    </a:lnTo>
                    <a:lnTo>
                      <a:pt x="347" y="397"/>
                    </a:lnTo>
                    <a:lnTo>
                      <a:pt x="347" y="400"/>
                    </a:lnTo>
                    <a:lnTo>
                      <a:pt x="345" y="404"/>
                    </a:lnTo>
                    <a:lnTo>
                      <a:pt x="347" y="405"/>
                    </a:lnTo>
                    <a:lnTo>
                      <a:pt x="347" y="407"/>
                    </a:lnTo>
                    <a:lnTo>
                      <a:pt x="345" y="410"/>
                    </a:lnTo>
                    <a:lnTo>
                      <a:pt x="347" y="410"/>
                    </a:lnTo>
                    <a:lnTo>
                      <a:pt x="347" y="414"/>
                    </a:lnTo>
                    <a:lnTo>
                      <a:pt x="345" y="417"/>
                    </a:lnTo>
                    <a:lnTo>
                      <a:pt x="345" y="419"/>
                    </a:lnTo>
                    <a:lnTo>
                      <a:pt x="342" y="422"/>
                    </a:lnTo>
                    <a:lnTo>
                      <a:pt x="337" y="422"/>
                    </a:lnTo>
                    <a:lnTo>
                      <a:pt x="316" y="431"/>
                    </a:lnTo>
                    <a:lnTo>
                      <a:pt x="311" y="436"/>
                    </a:lnTo>
                    <a:lnTo>
                      <a:pt x="294" y="444"/>
                    </a:lnTo>
                    <a:lnTo>
                      <a:pt x="286" y="455"/>
                    </a:lnTo>
                    <a:lnTo>
                      <a:pt x="284" y="463"/>
                    </a:lnTo>
                    <a:lnTo>
                      <a:pt x="281" y="467"/>
                    </a:lnTo>
                    <a:lnTo>
                      <a:pt x="274" y="470"/>
                    </a:lnTo>
                    <a:lnTo>
                      <a:pt x="265" y="478"/>
                    </a:lnTo>
                    <a:lnTo>
                      <a:pt x="260" y="485"/>
                    </a:lnTo>
                    <a:lnTo>
                      <a:pt x="260" y="489"/>
                    </a:lnTo>
                    <a:lnTo>
                      <a:pt x="257" y="490"/>
                    </a:lnTo>
                    <a:lnTo>
                      <a:pt x="255" y="494"/>
                    </a:lnTo>
                    <a:lnTo>
                      <a:pt x="254" y="494"/>
                    </a:lnTo>
                    <a:lnTo>
                      <a:pt x="248" y="495"/>
                    </a:lnTo>
                    <a:lnTo>
                      <a:pt x="245" y="495"/>
                    </a:lnTo>
                    <a:lnTo>
                      <a:pt x="243" y="497"/>
                    </a:lnTo>
                    <a:lnTo>
                      <a:pt x="240" y="497"/>
                    </a:lnTo>
                    <a:lnTo>
                      <a:pt x="238" y="499"/>
                    </a:lnTo>
                    <a:lnTo>
                      <a:pt x="235" y="499"/>
                    </a:lnTo>
                    <a:lnTo>
                      <a:pt x="233" y="499"/>
                    </a:lnTo>
                    <a:lnTo>
                      <a:pt x="231" y="495"/>
                    </a:lnTo>
                    <a:lnTo>
                      <a:pt x="228" y="495"/>
                    </a:lnTo>
                    <a:lnTo>
                      <a:pt x="223" y="492"/>
                    </a:lnTo>
                    <a:lnTo>
                      <a:pt x="218" y="492"/>
                    </a:lnTo>
                    <a:lnTo>
                      <a:pt x="216" y="492"/>
                    </a:lnTo>
                    <a:lnTo>
                      <a:pt x="214" y="492"/>
                    </a:lnTo>
                    <a:lnTo>
                      <a:pt x="213" y="490"/>
                    </a:lnTo>
                    <a:lnTo>
                      <a:pt x="208" y="492"/>
                    </a:lnTo>
                    <a:lnTo>
                      <a:pt x="208" y="494"/>
                    </a:lnTo>
                    <a:lnTo>
                      <a:pt x="208" y="495"/>
                    </a:lnTo>
                    <a:lnTo>
                      <a:pt x="203" y="494"/>
                    </a:lnTo>
                    <a:lnTo>
                      <a:pt x="201" y="495"/>
                    </a:lnTo>
                    <a:lnTo>
                      <a:pt x="196" y="494"/>
                    </a:lnTo>
                    <a:lnTo>
                      <a:pt x="194" y="490"/>
                    </a:lnTo>
                    <a:lnTo>
                      <a:pt x="192" y="490"/>
                    </a:lnTo>
                    <a:lnTo>
                      <a:pt x="191" y="489"/>
                    </a:lnTo>
                    <a:lnTo>
                      <a:pt x="187" y="487"/>
                    </a:lnTo>
                    <a:lnTo>
                      <a:pt x="184" y="487"/>
                    </a:lnTo>
                    <a:lnTo>
                      <a:pt x="180" y="487"/>
                    </a:lnTo>
                    <a:lnTo>
                      <a:pt x="179" y="489"/>
                    </a:lnTo>
                    <a:lnTo>
                      <a:pt x="175" y="487"/>
                    </a:lnTo>
                    <a:lnTo>
                      <a:pt x="172" y="489"/>
                    </a:lnTo>
                    <a:lnTo>
                      <a:pt x="170" y="487"/>
                    </a:lnTo>
                    <a:lnTo>
                      <a:pt x="169" y="487"/>
                    </a:lnTo>
                    <a:lnTo>
                      <a:pt x="165" y="485"/>
                    </a:lnTo>
                    <a:lnTo>
                      <a:pt x="163" y="484"/>
                    </a:lnTo>
                    <a:lnTo>
                      <a:pt x="162" y="484"/>
                    </a:lnTo>
                    <a:lnTo>
                      <a:pt x="160" y="482"/>
                    </a:lnTo>
                    <a:lnTo>
                      <a:pt x="160" y="480"/>
                    </a:lnTo>
                    <a:lnTo>
                      <a:pt x="158" y="482"/>
                    </a:lnTo>
                    <a:lnTo>
                      <a:pt x="158" y="480"/>
                    </a:lnTo>
                    <a:lnTo>
                      <a:pt x="157" y="480"/>
                    </a:lnTo>
                    <a:lnTo>
                      <a:pt x="157" y="478"/>
                    </a:lnTo>
                    <a:lnTo>
                      <a:pt x="155" y="477"/>
                    </a:lnTo>
                    <a:lnTo>
                      <a:pt x="153" y="477"/>
                    </a:lnTo>
                    <a:lnTo>
                      <a:pt x="155" y="475"/>
                    </a:lnTo>
                    <a:lnTo>
                      <a:pt x="152" y="475"/>
                    </a:lnTo>
                    <a:lnTo>
                      <a:pt x="152" y="473"/>
                    </a:lnTo>
                    <a:lnTo>
                      <a:pt x="148" y="473"/>
                    </a:lnTo>
                    <a:lnTo>
                      <a:pt x="146" y="473"/>
                    </a:lnTo>
                    <a:lnTo>
                      <a:pt x="146" y="472"/>
                    </a:lnTo>
                    <a:lnTo>
                      <a:pt x="143" y="472"/>
                    </a:lnTo>
                    <a:lnTo>
                      <a:pt x="141" y="472"/>
                    </a:lnTo>
                    <a:lnTo>
                      <a:pt x="141" y="470"/>
                    </a:lnTo>
                    <a:lnTo>
                      <a:pt x="140" y="472"/>
                    </a:lnTo>
                    <a:lnTo>
                      <a:pt x="136" y="470"/>
                    </a:lnTo>
                    <a:lnTo>
                      <a:pt x="129" y="472"/>
                    </a:lnTo>
                    <a:lnTo>
                      <a:pt x="129" y="470"/>
                    </a:lnTo>
                    <a:lnTo>
                      <a:pt x="128" y="472"/>
                    </a:lnTo>
                    <a:lnTo>
                      <a:pt x="124" y="470"/>
                    </a:lnTo>
                    <a:lnTo>
                      <a:pt x="121" y="468"/>
                    </a:lnTo>
                    <a:lnTo>
                      <a:pt x="118" y="470"/>
                    </a:lnTo>
                    <a:lnTo>
                      <a:pt x="114" y="470"/>
                    </a:lnTo>
                    <a:lnTo>
                      <a:pt x="114" y="468"/>
                    </a:lnTo>
                    <a:lnTo>
                      <a:pt x="94" y="473"/>
                    </a:lnTo>
                    <a:lnTo>
                      <a:pt x="73" y="477"/>
                    </a:lnTo>
                    <a:lnTo>
                      <a:pt x="72" y="475"/>
                    </a:lnTo>
                    <a:lnTo>
                      <a:pt x="70" y="475"/>
                    </a:lnTo>
                    <a:lnTo>
                      <a:pt x="65" y="472"/>
                    </a:lnTo>
                    <a:lnTo>
                      <a:pt x="63" y="473"/>
                    </a:lnTo>
                    <a:lnTo>
                      <a:pt x="60" y="470"/>
                    </a:lnTo>
                    <a:lnTo>
                      <a:pt x="58" y="468"/>
                    </a:lnTo>
                    <a:lnTo>
                      <a:pt x="56" y="467"/>
                    </a:lnTo>
                    <a:lnTo>
                      <a:pt x="55" y="465"/>
                    </a:lnTo>
                    <a:lnTo>
                      <a:pt x="53" y="461"/>
                    </a:lnTo>
                    <a:lnTo>
                      <a:pt x="53" y="463"/>
                    </a:lnTo>
                    <a:lnTo>
                      <a:pt x="50" y="458"/>
                    </a:lnTo>
                    <a:lnTo>
                      <a:pt x="44" y="455"/>
                    </a:lnTo>
                    <a:lnTo>
                      <a:pt x="41" y="453"/>
                    </a:lnTo>
                    <a:lnTo>
                      <a:pt x="39" y="451"/>
                    </a:lnTo>
                    <a:lnTo>
                      <a:pt x="38" y="450"/>
                    </a:lnTo>
                    <a:lnTo>
                      <a:pt x="36" y="448"/>
                    </a:lnTo>
                    <a:lnTo>
                      <a:pt x="27" y="439"/>
                    </a:lnTo>
                    <a:lnTo>
                      <a:pt x="24" y="436"/>
                    </a:lnTo>
                    <a:lnTo>
                      <a:pt x="19" y="429"/>
                    </a:lnTo>
                    <a:lnTo>
                      <a:pt x="17" y="429"/>
                    </a:lnTo>
                    <a:lnTo>
                      <a:pt x="16" y="427"/>
                    </a:lnTo>
                    <a:lnTo>
                      <a:pt x="14" y="426"/>
                    </a:lnTo>
                    <a:lnTo>
                      <a:pt x="12" y="424"/>
                    </a:lnTo>
                    <a:lnTo>
                      <a:pt x="10" y="424"/>
                    </a:lnTo>
                    <a:lnTo>
                      <a:pt x="9" y="421"/>
                    </a:lnTo>
                    <a:lnTo>
                      <a:pt x="7" y="419"/>
                    </a:lnTo>
                    <a:lnTo>
                      <a:pt x="5" y="419"/>
                    </a:lnTo>
                    <a:lnTo>
                      <a:pt x="7" y="419"/>
                    </a:lnTo>
                    <a:lnTo>
                      <a:pt x="7" y="417"/>
                    </a:lnTo>
                    <a:lnTo>
                      <a:pt x="7" y="416"/>
                    </a:lnTo>
                    <a:lnTo>
                      <a:pt x="5" y="412"/>
                    </a:lnTo>
                    <a:lnTo>
                      <a:pt x="4" y="409"/>
                    </a:lnTo>
                    <a:lnTo>
                      <a:pt x="4" y="407"/>
                    </a:lnTo>
                    <a:lnTo>
                      <a:pt x="0" y="405"/>
                    </a:lnTo>
                    <a:lnTo>
                      <a:pt x="0" y="404"/>
                    </a:lnTo>
                    <a:lnTo>
                      <a:pt x="0" y="363"/>
                    </a:lnTo>
                    <a:lnTo>
                      <a:pt x="0" y="278"/>
                    </a:lnTo>
                    <a:lnTo>
                      <a:pt x="0" y="264"/>
                    </a:lnTo>
                    <a:lnTo>
                      <a:pt x="0" y="242"/>
                    </a:lnTo>
                    <a:lnTo>
                      <a:pt x="36" y="242"/>
                    </a:lnTo>
                    <a:lnTo>
                      <a:pt x="104" y="242"/>
                    </a:lnTo>
                    <a:lnTo>
                      <a:pt x="102" y="239"/>
                    </a:lnTo>
                    <a:lnTo>
                      <a:pt x="101" y="237"/>
                    </a:lnTo>
                    <a:lnTo>
                      <a:pt x="97" y="237"/>
                    </a:lnTo>
                    <a:lnTo>
                      <a:pt x="95" y="234"/>
                    </a:lnTo>
                    <a:lnTo>
                      <a:pt x="95" y="230"/>
                    </a:lnTo>
                    <a:lnTo>
                      <a:pt x="97" y="227"/>
                    </a:lnTo>
                    <a:lnTo>
                      <a:pt x="97" y="225"/>
                    </a:lnTo>
                    <a:lnTo>
                      <a:pt x="99" y="222"/>
                    </a:lnTo>
                    <a:lnTo>
                      <a:pt x="99" y="218"/>
                    </a:lnTo>
                    <a:lnTo>
                      <a:pt x="102" y="215"/>
                    </a:lnTo>
                    <a:lnTo>
                      <a:pt x="104" y="213"/>
                    </a:lnTo>
                    <a:lnTo>
                      <a:pt x="106" y="210"/>
                    </a:lnTo>
                    <a:lnTo>
                      <a:pt x="104" y="208"/>
                    </a:lnTo>
                    <a:lnTo>
                      <a:pt x="104" y="205"/>
                    </a:lnTo>
                    <a:lnTo>
                      <a:pt x="101" y="203"/>
                    </a:lnTo>
                    <a:lnTo>
                      <a:pt x="101" y="199"/>
                    </a:lnTo>
                    <a:lnTo>
                      <a:pt x="101" y="184"/>
                    </a:lnTo>
                    <a:lnTo>
                      <a:pt x="102" y="182"/>
                    </a:lnTo>
                    <a:lnTo>
                      <a:pt x="101" y="176"/>
                    </a:lnTo>
                    <a:lnTo>
                      <a:pt x="99" y="174"/>
                    </a:lnTo>
                    <a:lnTo>
                      <a:pt x="101" y="174"/>
                    </a:lnTo>
                    <a:lnTo>
                      <a:pt x="102" y="167"/>
                    </a:lnTo>
                    <a:lnTo>
                      <a:pt x="102" y="164"/>
                    </a:lnTo>
                    <a:lnTo>
                      <a:pt x="106" y="162"/>
                    </a:lnTo>
                    <a:lnTo>
                      <a:pt x="102" y="155"/>
                    </a:lnTo>
                    <a:lnTo>
                      <a:pt x="102" y="148"/>
                    </a:lnTo>
                    <a:lnTo>
                      <a:pt x="102" y="147"/>
                    </a:lnTo>
                    <a:lnTo>
                      <a:pt x="102" y="142"/>
                    </a:lnTo>
                    <a:lnTo>
                      <a:pt x="102" y="140"/>
                    </a:lnTo>
                    <a:lnTo>
                      <a:pt x="101" y="137"/>
                    </a:lnTo>
                    <a:lnTo>
                      <a:pt x="101" y="135"/>
                    </a:lnTo>
                    <a:lnTo>
                      <a:pt x="104" y="135"/>
                    </a:lnTo>
                    <a:lnTo>
                      <a:pt x="107" y="137"/>
                    </a:lnTo>
                    <a:lnTo>
                      <a:pt x="109" y="143"/>
                    </a:lnTo>
                    <a:lnTo>
                      <a:pt x="111" y="142"/>
                    </a:lnTo>
                    <a:lnTo>
                      <a:pt x="114" y="143"/>
                    </a:lnTo>
                    <a:lnTo>
                      <a:pt x="118" y="143"/>
                    </a:lnTo>
                    <a:lnTo>
                      <a:pt x="121" y="145"/>
                    </a:lnTo>
                    <a:lnTo>
                      <a:pt x="121" y="154"/>
                    </a:lnTo>
                    <a:lnTo>
                      <a:pt x="119" y="159"/>
                    </a:lnTo>
                    <a:lnTo>
                      <a:pt x="116" y="160"/>
                    </a:lnTo>
                    <a:lnTo>
                      <a:pt x="121" y="162"/>
                    </a:lnTo>
                    <a:lnTo>
                      <a:pt x="123" y="164"/>
                    </a:lnTo>
                    <a:lnTo>
                      <a:pt x="131" y="164"/>
                    </a:lnTo>
                    <a:lnTo>
                      <a:pt x="131" y="162"/>
                    </a:lnTo>
                    <a:lnTo>
                      <a:pt x="135" y="160"/>
                    </a:lnTo>
                    <a:lnTo>
                      <a:pt x="136" y="159"/>
                    </a:lnTo>
                    <a:lnTo>
                      <a:pt x="138" y="157"/>
                    </a:lnTo>
                    <a:lnTo>
                      <a:pt x="140" y="157"/>
                    </a:lnTo>
                    <a:lnTo>
                      <a:pt x="145" y="155"/>
                    </a:lnTo>
                    <a:lnTo>
                      <a:pt x="145" y="154"/>
                    </a:lnTo>
                    <a:lnTo>
                      <a:pt x="157" y="154"/>
                    </a:lnTo>
                    <a:lnTo>
                      <a:pt x="163" y="152"/>
                    </a:lnTo>
                    <a:lnTo>
                      <a:pt x="167" y="150"/>
                    </a:lnTo>
                    <a:lnTo>
                      <a:pt x="170" y="150"/>
                    </a:lnTo>
                    <a:lnTo>
                      <a:pt x="169" y="154"/>
                    </a:lnTo>
                    <a:lnTo>
                      <a:pt x="169" y="155"/>
                    </a:lnTo>
                    <a:lnTo>
                      <a:pt x="167" y="157"/>
                    </a:lnTo>
                    <a:lnTo>
                      <a:pt x="167" y="159"/>
                    </a:lnTo>
                    <a:lnTo>
                      <a:pt x="165" y="160"/>
                    </a:lnTo>
                    <a:lnTo>
                      <a:pt x="169" y="165"/>
                    </a:lnTo>
                    <a:lnTo>
                      <a:pt x="167" y="167"/>
                    </a:lnTo>
                    <a:lnTo>
                      <a:pt x="167" y="169"/>
                    </a:lnTo>
                    <a:lnTo>
                      <a:pt x="169" y="172"/>
                    </a:lnTo>
                    <a:lnTo>
                      <a:pt x="170" y="174"/>
                    </a:lnTo>
                    <a:lnTo>
                      <a:pt x="172" y="174"/>
                    </a:lnTo>
                    <a:lnTo>
                      <a:pt x="174" y="176"/>
                    </a:lnTo>
                    <a:lnTo>
                      <a:pt x="177" y="176"/>
                    </a:lnTo>
                    <a:lnTo>
                      <a:pt x="177" y="177"/>
                    </a:lnTo>
                    <a:lnTo>
                      <a:pt x="177" y="181"/>
                    </a:lnTo>
                    <a:lnTo>
                      <a:pt x="186" y="177"/>
                    </a:lnTo>
                    <a:lnTo>
                      <a:pt x="186" y="181"/>
                    </a:lnTo>
                    <a:lnTo>
                      <a:pt x="189" y="182"/>
                    </a:lnTo>
                    <a:lnTo>
                      <a:pt x="192" y="182"/>
                    </a:lnTo>
                    <a:lnTo>
                      <a:pt x="196" y="182"/>
                    </a:lnTo>
                    <a:lnTo>
                      <a:pt x="197" y="186"/>
                    </a:lnTo>
                    <a:lnTo>
                      <a:pt x="201" y="186"/>
                    </a:lnTo>
                    <a:lnTo>
                      <a:pt x="203" y="189"/>
                    </a:lnTo>
                    <a:lnTo>
                      <a:pt x="213" y="188"/>
                    </a:lnTo>
                    <a:lnTo>
                      <a:pt x="218" y="189"/>
                    </a:lnTo>
                    <a:lnTo>
                      <a:pt x="220" y="189"/>
                    </a:lnTo>
                    <a:lnTo>
                      <a:pt x="223" y="188"/>
                    </a:lnTo>
                    <a:lnTo>
                      <a:pt x="226" y="188"/>
                    </a:lnTo>
                    <a:lnTo>
                      <a:pt x="228" y="189"/>
                    </a:lnTo>
                    <a:lnTo>
                      <a:pt x="230" y="191"/>
                    </a:lnTo>
                    <a:lnTo>
                      <a:pt x="233" y="191"/>
                    </a:lnTo>
                    <a:lnTo>
                      <a:pt x="238" y="191"/>
                    </a:lnTo>
                    <a:lnTo>
                      <a:pt x="242" y="189"/>
                    </a:lnTo>
                    <a:lnTo>
                      <a:pt x="243" y="191"/>
                    </a:lnTo>
                    <a:lnTo>
                      <a:pt x="247" y="191"/>
                    </a:lnTo>
                    <a:lnTo>
                      <a:pt x="250" y="188"/>
                    </a:lnTo>
                    <a:lnTo>
                      <a:pt x="254" y="184"/>
                    </a:lnTo>
                    <a:lnTo>
                      <a:pt x="254" y="181"/>
                    </a:lnTo>
                    <a:lnTo>
                      <a:pt x="255" y="177"/>
                    </a:lnTo>
                    <a:lnTo>
                      <a:pt x="254" y="172"/>
                    </a:lnTo>
                    <a:lnTo>
                      <a:pt x="259" y="171"/>
                    </a:lnTo>
                    <a:lnTo>
                      <a:pt x="260" y="172"/>
                    </a:lnTo>
                    <a:lnTo>
                      <a:pt x="264" y="171"/>
                    </a:lnTo>
                    <a:lnTo>
                      <a:pt x="265" y="174"/>
                    </a:lnTo>
                    <a:lnTo>
                      <a:pt x="264" y="181"/>
                    </a:lnTo>
                    <a:lnTo>
                      <a:pt x="267" y="182"/>
                    </a:lnTo>
                    <a:lnTo>
                      <a:pt x="271" y="184"/>
                    </a:lnTo>
                    <a:lnTo>
                      <a:pt x="277" y="189"/>
                    </a:lnTo>
                    <a:lnTo>
                      <a:pt x="277" y="193"/>
                    </a:lnTo>
                    <a:lnTo>
                      <a:pt x="279" y="196"/>
                    </a:lnTo>
                    <a:lnTo>
                      <a:pt x="279" y="198"/>
                    </a:lnTo>
                    <a:lnTo>
                      <a:pt x="281" y="201"/>
                    </a:lnTo>
                    <a:lnTo>
                      <a:pt x="284" y="203"/>
                    </a:lnTo>
                    <a:lnTo>
                      <a:pt x="286" y="205"/>
                    </a:lnTo>
                    <a:lnTo>
                      <a:pt x="291" y="206"/>
                    </a:lnTo>
                    <a:lnTo>
                      <a:pt x="293" y="205"/>
                    </a:lnTo>
                    <a:lnTo>
                      <a:pt x="294" y="205"/>
                    </a:lnTo>
                    <a:lnTo>
                      <a:pt x="294" y="203"/>
                    </a:lnTo>
                    <a:lnTo>
                      <a:pt x="299" y="205"/>
                    </a:lnTo>
                    <a:lnTo>
                      <a:pt x="299" y="206"/>
                    </a:lnTo>
                    <a:lnTo>
                      <a:pt x="301" y="208"/>
                    </a:lnTo>
                    <a:lnTo>
                      <a:pt x="301" y="210"/>
                    </a:lnTo>
                    <a:lnTo>
                      <a:pt x="303" y="208"/>
                    </a:lnTo>
                    <a:lnTo>
                      <a:pt x="305" y="210"/>
                    </a:lnTo>
                    <a:lnTo>
                      <a:pt x="308" y="210"/>
                    </a:lnTo>
                    <a:lnTo>
                      <a:pt x="310" y="213"/>
                    </a:lnTo>
                    <a:lnTo>
                      <a:pt x="313" y="211"/>
                    </a:lnTo>
                    <a:lnTo>
                      <a:pt x="315" y="213"/>
                    </a:lnTo>
                    <a:lnTo>
                      <a:pt x="316" y="213"/>
                    </a:lnTo>
                    <a:lnTo>
                      <a:pt x="318" y="213"/>
                    </a:lnTo>
                    <a:lnTo>
                      <a:pt x="320" y="213"/>
                    </a:lnTo>
                    <a:lnTo>
                      <a:pt x="325" y="217"/>
                    </a:lnTo>
                    <a:lnTo>
                      <a:pt x="327" y="218"/>
                    </a:lnTo>
                    <a:lnTo>
                      <a:pt x="327" y="220"/>
                    </a:lnTo>
                    <a:lnTo>
                      <a:pt x="330" y="223"/>
                    </a:lnTo>
                    <a:lnTo>
                      <a:pt x="330" y="227"/>
                    </a:lnTo>
                    <a:lnTo>
                      <a:pt x="328" y="227"/>
                    </a:lnTo>
                    <a:lnTo>
                      <a:pt x="327" y="228"/>
                    </a:lnTo>
                    <a:lnTo>
                      <a:pt x="332" y="234"/>
                    </a:lnTo>
                    <a:lnTo>
                      <a:pt x="332" y="237"/>
                    </a:lnTo>
                    <a:lnTo>
                      <a:pt x="333" y="237"/>
                    </a:lnTo>
                    <a:lnTo>
                      <a:pt x="335" y="234"/>
                    </a:lnTo>
                    <a:lnTo>
                      <a:pt x="337" y="234"/>
                    </a:lnTo>
                    <a:lnTo>
                      <a:pt x="340" y="237"/>
                    </a:lnTo>
                    <a:lnTo>
                      <a:pt x="342" y="239"/>
                    </a:lnTo>
                    <a:lnTo>
                      <a:pt x="344" y="239"/>
                    </a:lnTo>
                    <a:lnTo>
                      <a:pt x="344" y="240"/>
                    </a:lnTo>
                    <a:lnTo>
                      <a:pt x="345" y="242"/>
                    </a:lnTo>
                    <a:lnTo>
                      <a:pt x="347" y="245"/>
                    </a:lnTo>
                    <a:lnTo>
                      <a:pt x="345" y="247"/>
                    </a:lnTo>
                    <a:lnTo>
                      <a:pt x="347" y="247"/>
                    </a:lnTo>
                    <a:lnTo>
                      <a:pt x="347" y="251"/>
                    </a:lnTo>
                    <a:lnTo>
                      <a:pt x="350" y="251"/>
                    </a:lnTo>
                    <a:lnTo>
                      <a:pt x="352" y="261"/>
                    </a:lnTo>
                    <a:lnTo>
                      <a:pt x="354" y="261"/>
                    </a:lnTo>
                    <a:lnTo>
                      <a:pt x="354" y="264"/>
                    </a:lnTo>
                    <a:lnTo>
                      <a:pt x="356" y="264"/>
                    </a:lnTo>
                    <a:lnTo>
                      <a:pt x="361" y="261"/>
                    </a:lnTo>
                    <a:lnTo>
                      <a:pt x="362" y="262"/>
                    </a:lnTo>
                    <a:lnTo>
                      <a:pt x="364" y="264"/>
                    </a:lnTo>
                    <a:lnTo>
                      <a:pt x="366" y="264"/>
                    </a:lnTo>
                    <a:lnTo>
                      <a:pt x="369" y="261"/>
                    </a:lnTo>
                    <a:lnTo>
                      <a:pt x="371" y="259"/>
                    </a:lnTo>
                    <a:lnTo>
                      <a:pt x="373" y="261"/>
                    </a:lnTo>
                    <a:lnTo>
                      <a:pt x="373" y="259"/>
                    </a:lnTo>
                    <a:lnTo>
                      <a:pt x="376" y="259"/>
                    </a:lnTo>
                    <a:lnTo>
                      <a:pt x="381" y="254"/>
                    </a:lnTo>
                    <a:lnTo>
                      <a:pt x="384" y="254"/>
                    </a:lnTo>
                    <a:lnTo>
                      <a:pt x="388" y="254"/>
                    </a:lnTo>
                    <a:lnTo>
                      <a:pt x="390" y="256"/>
                    </a:lnTo>
                    <a:lnTo>
                      <a:pt x="388" y="257"/>
                    </a:lnTo>
                    <a:lnTo>
                      <a:pt x="388" y="259"/>
                    </a:lnTo>
                    <a:lnTo>
                      <a:pt x="384" y="261"/>
                    </a:lnTo>
                    <a:lnTo>
                      <a:pt x="386" y="262"/>
                    </a:lnTo>
                    <a:lnTo>
                      <a:pt x="388" y="264"/>
                    </a:lnTo>
                    <a:lnTo>
                      <a:pt x="391" y="266"/>
                    </a:lnTo>
                    <a:lnTo>
                      <a:pt x="395" y="264"/>
                    </a:lnTo>
                    <a:lnTo>
                      <a:pt x="396" y="266"/>
                    </a:lnTo>
                    <a:lnTo>
                      <a:pt x="396" y="249"/>
                    </a:lnTo>
                    <a:lnTo>
                      <a:pt x="396" y="208"/>
                    </a:lnTo>
                    <a:lnTo>
                      <a:pt x="396" y="199"/>
                    </a:lnTo>
                    <a:lnTo>
                      <a:pt x="393" y="199"/>
                    </a:lnTo>
                    <a:lnTo>
                      <a:pt x="391" y="201"/>
                    </a:lnTo>
                    <a:lnTo>
                      <a:pt x="390" y="203"/>
                    </a:lnTo>
                    <a:lnTo>
                      <a:pt x="388" y="203"/>
                    </a:lnTo>
                    <a:lnTo>
                      <a:pt x="383" y="201"/>
                    </a:lnTo>
                    <a:lnTo>
                      <a:pt x="381" y="203"/>
                    </a:lnTo>
                    <a:lnTo>
                      <a:pt x="379" y="205"/>
                    </a:lnTo>
                    <a:lnTo>
                      <a:pt x="378" y="208"/>
                    </a:lnTo>
                    <a:lnTo>
                      <a:pt x="379" y="211"/>
                    </a:lnTo>
                    <a:lnTo>
                      <a:pt x="381" y="211"/>
                    </a:lnTo>
                    <a:lnTo>
                      <a:pt x="381" y="213"/>
                    </a:lnTo>
                    <a:lnTo>
                      <a:pt x="379" y="215"/>
                    </a:lnTo>
                    <a:lnTo>
                      <a:pt x="374" y="213"/>
                    </a:lnTo>
                    <a:lnTo>
                      <a:pt x="371" y="213"/>
                    </a:lnTo>
                    <a:lnTo>
                      <a:pt x="369" y="213"/>
                    </a:lnTo>
                    <a:lnTo>
                      <a:pt x="369" y="211"/>
                    </a:lnTo>
                    <a:lnTo>
                      <a:pt x="367" y="210"/>
                    </a:lnTo>
                    <a:lnTo>
                      <a:pt x="367" y="211"/>
                    </a:lnTo>
                    <a:lnTo>
                      <a:pt x="364" y="210"/>
                    </a:lnTo>
                    <a:lnTo>
                      <a:pt x="361" y="211"/>
                    </a:lnTo>
                    <a:lnTo>
                      <a:pt x="359" y="211"/>
                    </a:lnTo>
                    <a:lnTo>
                      <a:pt x="357" y="211"/>
                    </a:lnTo>
                    <a:lnTo>
                      <a:pt x="356" y="206"/>
                    </a:lnTo>
                    <a:lnTo>
                      <a:pt x="350" y="201"/>
                    </a:lnTo>
                    <a:lnTo>
                      <a:pt x="347" y="199"/>
                    </a:lnTo>
                    <a:lnTo>
                      <a:pt x="345" y="196"/>
                    </a:lnTo>
                    <a:lnTo>
                      <a:pt x="344" y="194"/>
                    </a:lnTo>
                    <a:lnTo>
                      <a:pt x="342" y="191"/>
                    </a:lnTo>
                    <a:lnTo>
                      <a:pt x="340" y="191"/>
                    </a:lnTo>
                    <a:lnTo>
                      <a:pt x="339" y="191"/>
                    </a:lnTo>
                    <a:lnTo>
                      <a:pt x="335" y="189"/>
                    </a:lnTo>
                    <a:lnTo>
                      <a:pt x="335" y="188"/>
                    </a:lnTo>
                    <a:lnTo>
                      <a:pt x="333" y="188"/>
                    </a:lnTo>
                    <a:lnTo>
                      <a:pt x="328" y="186"/>
                    </a:lnTo>
                    <a:lnTo>
                      <a:pt x="328" y="182"/>
                    </a:lnTo>
                    <a:lnTo>
                      <a:pt x="327" y="184"/>
                    </a:lnTo>
                    <a:lnTo>
                      <a:pt x="327" y="182"/>
                    </a:lnTo>
                    <a:lnTo>
                      <a:pt x="327" y="181"/>
                    </a:lnTo>
                    <a:lnTo>
                      <a:pt x="325" y="177"/>
                    </a:lnTo>
                    <a:lnTo>
                      <a:pt x="327" y="177"/>
                    </a:lnTo>
                    <a:lnTo>
                      <a:pt x="325" y="176"/>
                    </a:lnTo>
                    <a:lnTo>
                      <a:pt x="325" y="174"/>
                    </a:lnTo>
                    <a:lnTo>
                      <a:pt x="323" y="171"/>
                    </a:lnTo>
                    <a:lnTo>
                      <a:pt x="323" y="169"/>
                    </a:lnTo>
                    <a:lnTo>
                      <a:pt x="323" y="165"/>
                    </a:lnTo>
                    <a:lnTo>
                      <a:pt x="325" y="162"/>
                    </a:lnTo>
                    <a:lnTo>
                      <a:pt x="325" y="160"/>
                    </a:lnTo>
                    <a:lnTo>
                      <a:pt x="327" y="160"/>
                    </a:lnTo>
                    <a:lnTo>
                      <a:pt x="327" y="155"/>
                    </a:lnTo>
                    <a:lnTo>
                      <a:pt x="328" y="155"/>
                    </a:lnTo>
                    <a:lnTo>
                      <a:pt x="328" y="154"/>
                    </a:lnTo>
                    <a:lnTo>
                      <a:pt x="328" y="152"/>
                    </a:lnTo>
                    <a:lnTo>
                      <a:pt x="328" y="148"/>
                    </a:lnTo>
                    <a:lnTo>
                      <a:pt x="328" y="147"/>
                    </a:lnTo>
                    <a:lnTo>
                      <a:pt x="330" y="142"/>
                    </a:lnTo>
                    <a:lnTo>
                      <a:pt x="330" y="140"/>
                    </a:lnTo>
                    <a:lnTo>
                      <a:pt x="332" y="138"/>
                    </a:lnTo>
                    <a:lnTo>
                      <a:pt x="332" y="133"/>
                    </a:lnTo>
                    <a:lnTo>
                      <a:pt x="335" y="130"/>
                    </a:lnTo>
                    <a:lnTo>
                      <a:pt x="335" y="128"/>
                    </a:lnTo>
                    <a:lnTo>
                      <a:pt x="335" y="126"/>
                    </a:lnTo>
                    <a:lnTo>
                      <a:pt x="337" y="126"/>
                    </a:lnTo>
                    <a:lnTo>
                      <a:pt x="337" y="125"/>
                    </a:lnTo>
                    <a:lnTo>
                      <a:pt x="339" y="125"/>
                    </a:lnTo>
                    <a:lnTo>
                      <a:pt x="339" y="123"/>
                    </a:lnTo>
                    <a:lnTo>
                      <a:pt x="337" y="121"/>
                    </a:lnTo>
                    <a:lnTo>
                      <a:pt x="339" y="120"/>
                    </a:lnTo>
                    <a:lnTo>
                      <a:pt x="337" y="118"/>
                    </a:lnTo>
                    <a:lnTo>
                      <a:pt x="335" y="116"/>
                    </a:lnTo>
                    <a:lnTo>
                      <a:pt x="337" y="116"/>
                    </a:lnTo>
                    <a:lnTo>
                      <a:pt x="335" y="114"/>
                    </a:lnTo>
                    <a:lnTo>
                      <a:pt x="337" y="113"/>
                    </a:lnTo>
                    <a:lnTo>
                      <a:pt x="335" y="109"/>
                    </a:lnTo>
                    <a:lnTo>
                      <a:pt x="335" y="106"/>
                    </a:lnTo>
                    <a:lnTo>
                      <a:pt x="333" y="103"/>
                    </a:lnTo>
                    <a:lnTo>
                      <a:pt x="335" y="99"/>
                    </a:lnTo>
                    <a:lnTo>
                      <a:pt x="335" y="94"/>
                    </a:lnTo>
                    <a:lnTo>
                      <a:pt x="337" y="92"/>
                    </a:lnTo>
                    <a:lnTo>
                      <a:pt x="335" y="91"/>
                    </a:lnTo>
                    <a:lnTo>
                      <a:pt x="339" y="84"/>
                    </a:lnTo>
                    <a:lnTo>
                      <a:pt x="340" y="80"/>
                    </a:lnTo>
                    <a:lnTo>
                      <a:pt x="339" y="74"/>
                    </a:lnTo>
                    <a:lnTo>
                      <a:pt x="339" y="69"/>
                    </a:lnTo>
                    <a:lnTo>
                      <a:pt x="335" y="63"/>
                    </a:lnTo>
                    <a:lnTo>
                      <a:pt x="335" y="62"/>
                    </a:lnTo>
                    <a:lnTo>
                      <a:pt x="330" y="57"/>
                    </a:lnTo>
                    <a:lnTo>
                      <a:pt x="332" y="53"/>
                    </a:lnTo>
                    <a:lnTo>
                      <a:pt x="349" y="28"/>
                    </a:lnTo>
                    <a:lnTo>
                      <a:pt x="350" y="14"/>
                    </a:lnTo>
                    <a:lnTo>
                      <a:pt x="352" y="12"/>
                    </a:lnTo>
                    <a:lnTo>
                      <a:pt x="354" y="12"/>
                    </a:lnTo>
                    <a:lnTo>
                      <a:pt x="371" y="11"/>
                    </a:lnTo>
                    <a:lnTo>
                      <a:pt x="388" y="7"/>
                    </a:lnTo>
                    <a:lnTo>
                      <a:pt x="398" y="6"/>
                    </a:lnTo>
                    <a:lnTo>
                      <a:pt x="405" y="6"/>
                    </a:lnTo>
                    <a:lnTo>
                      <a:pt x="420" y="4"/>
                    </a:lnTo>
                    <a:lnTo>
                      <a:pt x="434" y="2"/>
                    </a:lnTo>
                    <a:lnTo>
                      <a:pt x="446" y="0"/>
                    </a:lnTo>
                    <a:lnTo>
                      <a:pt x="452" y="12"/>
                    </a:lnTo>
                    <a:lnTo>
                      <a:pt x="459" y="19"/>
                    </a:lnTo>
                    <a:lnTo>
                      <a:pt x="463" y="21"/>
                    </a:lnTo>
                    <a:lnTo>
                      <a:pt x="466" y="19"/>
                    </a:lnTo>
                    <a:lnTo>
                      <a:pt x="468" y="19"/>
                    </a:lnTo>
                    <a:lnTo>
                      <a:pt x="469" y="21"/>
                    </a:lnTo>
                    <a:lnTo>
                      <a:pt x="471" y="19"/>
                    </a:lnTo>
                    <a:lnTo>
                      <a:pt x="473" y="21"/>
                    </a:lnTo>
                    <a:lnTo>
                      <a:pt x="475" y="19"/>
                    </a:lnTo>
                    <a:lnTo>
                      <a:pt x="476" y="21"/>
                    </a:lnTo>
                    <a:lnTo>
                      <a:pt x="480" y="21"/>
                    </a:lnTo>
                    <a:lnTo>
                      <a:pt x="481" y="24"/>
                    </a:lnTo>
                    <a:lnTo>
                      <a:pt x="483" y="24"/>
                    </a:lnTo>
                    <a:lnTo>
                      <a:pt x="485" y="24"/>
                    </a:lnTo>
                    <a:lnTo>
                      <a:pt x="485" y="28"/>
                    </a:lnTo>
                    <a:lnTo>
                      <a:pt x="485" y="29"/>
                    </a:lnTo>
                    <a:lnTo>
                      <a:pt x="485" y="31"/>
                    </a:lnTo>
                    <a:lnTo>
                      <a:pt x="488" y="33"/>
                    </a:lnTo>
                    <a:lnTo>
                      <a:pt x="490" y="36"/>
                    </a:lnTo>
                    <a:lnTo>
                      <a:pt x="493" y="36"/>
                    </a:lnTo>
                    <a:lnTo>
                      <a:pt x="495" y="34"/>
                    </a:lnTo>
                    <a:lnTo>
                      <a:pt x="497" y="34"/>
                    </a:lnTo>
                    <a:lnTo>
                      <a:pt x="502" y="34"/>
                    </a:lnTo>
                    <a:lnTo>
                      <a:pt x="503" y="36"/>
                    </a:lnTo>
                    <a:lnTo>
                      <a:pt x="503" y="38"/>
                    </a:lnTo>
                    <a:lnTo>
                      <a:pt x="503" y="41"/>
                    </a:lnTo>
                    <a:lnTo>
                      <a:pt x="505" y="43"/>
                    </a:lnTo>
                    <a:lnTo>
                      <a:pt x="507" y="43"/>
                    </a:lnTo>
                    <a:lnTo>
                      <a:pt x="510" y="41"/>
                    </a:lnTo>
                    <a:lnTo>
                      <a:pt x="514" y="43"/>
                    </a:lnTo>
                    <a:lnTo>
                      <a:pt x="517" y="45"/>
                    </a:lnTo>
                    <a:lnTo>
                      <a:pt x="520" y="46"/>
                    </a:lnTo>
                    <a:lnTo>
                      <a:pt x="529" y="46"/>
                    </a:lnTo>
                    <a:lnTo>
                      <a:pt x="531" y="46"/>
                    </a:lnTo>
                    <a:lnTo>
                      <a:pt x="531" y="48"/>
                    </a:lnTo>
                    <a:lnTo>
                      <a:pt x="534" y="53"/>
                    </a:lnTo>
                    <a:lnTo>
                      <a:pt x="536" y="53"/>
                    </a:lnTo>
                    <a:lnTo>
                      <a:pt x="537" y="53"/>
                    </a:lnTo>
                    <a:lnTo>
                      <a:pt x="543" y="53"/>
                    </a:lnTo>
                    <a:lnTo>
                      <a:pt x="544" y="55"/>
                    </a:lnTo>
                    <a:lnTo>
                      <a:pt x="549" y="58"/>
                    </a:lnTo>
                    <a:lnTo>
                      <a:pt x="551" y="58"/>
                    </a:lnTo>
                    <a:lnTo>
                      <a:pt x="551" y="60"/>
                    </a:lnTo>
                    <a:lnTo>
                      <a:pt x="553" y="58"/>
                    </a:lnTo>
                    <a:lnTo>
                      <a:pt x="553" y="60"/>
                    </a:lnTo>
                    <a:lnTo>
                      <a:pt x="554" y="6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12" name="Freeform 63">
                <a:extLst>
                  <a:ext uri="{FF2B5EF4-FFF2-40B4-BE49-F238E27FC236}">
                    <a16:creationId xmlns:a16="http://schemas.microsoft.com/office/drawing/2014/main" id="{B36AA493-40A2-4668-BCD6-33397304D07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603813" y="4709920"/>
                <a:ext cx="630219" cy="547665"/>
              </a:xfrm>
              <a:custGeom>
                <a:avLst/>
                <a:gdLst>
                  <a:gd name="T0" fmla="*/ 295 w 397"/>
                  <a:gd name="T1" fmla="*/ 20 h 345"/>
                  <a:gd name="T2" fmla="*/ 310 w 397"/>
                  <a:gd name="T3" fmla="*/ 22 h 345"/>
                  <a:gd name="T4" fmla="*/ 318 w 397"/>
                  <a:gd name="T5" fmla="*/ 29 h 345"/>
                  <a:gd name="T6" fmla="*/ 335 w 397"/>
                  <a:gd name="T7" fmla="*/ 35 h 345"/>
                  <a:gd name="T8" fmla="*/ 380 w 397"/>
                  <a:gd name="T9" fmla="*/ 51 h 345"/>
                  <a:gd name="T10" fmla="*/ 393 w 397"/>
                  <a:gd name="T11" fmla="*/ 56 h 345"/>
                  <a:gd name="T12" fmla="*/ 397 w 397"/>
                  <a:gd name="T13" fmla="*/ 88 h 345"/>
                  <a:gd name="T14" fmla="*/ 397 w 397"/>
                  <a:gd name="T15" fmla="*/ 100 h 345"/>
                  <a:gd name="T16" fmla="*/ 391 w 397"/>
                  <a:gd name="T17" fmla="*/ 112 h 345"/>
                  <a:gd name="T18" fmla="*/ 391 w 397"/>
                  <a:gd name="T19" fmla="*/ 122 h 345"/>
                  <a:gd name="T20" fmla="*/ 395 w 397"/>
                  <a:gd name="T21" fmla="*/ 144 h 345"/>
                  <a:gd name="T22" fmla="*/ 390 w 397"/>
                  <a:gd name="T23" fmla="*/ 160 h 345"/>
                  <a:gd name="T24" fmla="*/ 381 w 397"/>
                  <a:gd name="T25" fmla="*/ 173 h 345"/>
                  <a:gd name="T26" fmla="*/ 383 w 397"/>
                  <a:gd name="T27" fmla="*/ 195 h 345"/>
                  <a:gd name="T28" fmla="*/ 388 w 397"/>
                  <a:gd name="T29" fmla="*/ 206 h 345"/>
                  <a:gd name="T30" fmla="*/ 397 w 397"/>
                  <a:gd name="T31" fmla="*/ 212 h 345"/>
                  <a:gd name="T32" fmla="*/ 388 w 397"/>
                  <a:gd name="T33" fmla="*/ 228 h 345"/>
                  <a:gd name="T34" fmla="*/ 385 w 397"/>
                  <a:gd name="T35" fmla="*/ 240 h 345"/>
                  <a:gd name="T36" fmla="*/ 369 w 397"/>
                  <a:gd name="T37" fmla="*/ 268 h 345"/>
                  <a:gd name="T38" fmla="*/ 364 w 397"/>
                  <a:gd name="T39" fmla="*/ 289 h 345"/>
                  <a:gd name="T40" fmla="*/ 308 w 397"/>
                  <a:gd name="T41" fmla="*/ 345 h 345"/>
                  <a:gd name="T42" fmla="*/ 291 w 397"/>
                  <a:gd name="T43" fmla="*/ 340 h 345"/>
                  <a:gd name="T44" fmla="*/ 272 w 397"/>
                  <a:gd name="T45" fmla="*/ 340 h 345"/>
                  <a:gd name="T46" fmla="*/ 249 w 397"/>
                  <a:gd name="T47" fmla="*/ 340 h 345"/>
                  <a:gd name="T48" fmla="*/ 237 w 397"/>
                  <a:gd name="T49" fmla="*/ 333 h 345"/>
                  <a:gd name="T50" fmla="*/ 218 w 397"/>
                  <a:gd name="T51" fmla="*/ 333 h 345"/>
                  <a:gd name="T52" fmla="*/ 199 w 397"/>
                  <a:gd name="T53" fmla="*/ 326 h 345"/>
                  <a:gd name="T54" fmla="*/ 194 w 397"/>
                  <a:gd name="T55" fmla="*/ 314 h 345"/>
                  <a:gd name="T56" fmla="*/ 167 w 397"/>
                  <a:gd name="T57" fmla="*/ 306 h 345"/>
                  <a:gd name="T58" fmla="*/ 142 w 397"/>
                  <a:gd name="T59" fmla="*/ 299 h 345"/>
                  <a:gd name="T60" fmla="*/ 136 w 397"/>
                  <a:gd name="T61" fmla="*/ 291 h 345"/>
                  <a:gd name="T62" fmla="*/ 126 w 397"/>
                  <a:gd name="T63" fmla="*/ 275 h 345"/>
                  <a:gd name="T64" fmla="*/ 126 w 397"/>
                  <a:gd name="T65" fmla="*/ 265 h 345"/>
                  <a:gd name="T66" fmla="*/ 126 w 397"/>
                  <a:gd name="T67" fmla="*/ 248 h 345"/>
                  <a:gd name="T68" fmla="*/ 113 w 397"/>
                  <a:gd name="T69" fmla="*/ 246 h 345"/>
                  <a:gd name="T70" fmla="*/ 96 w 397"/>
                  <a:gd name="T71" fmla="*/ 226 h 345"/>
                  <a:gd name="T72" fmla="*/ 79 w 397"/>
                  <a:gd name="T73" fmla="*/ 219 h 345"/>
                  <a:gd name="T74" fmla="*/ 60 w 397"/>
                  <a:gd name="T75" fmla="*/ 206 h 345"/>
                  <a:gd name="T76" fmla="*/ 46 w 397"/>
                  <a:gd name="T77" fmla="*/ 194 h 345"/>
                  <a:gd name="T78" fmla="*/ 36 w 397"/>
                  <a:gd name="T79" fmla="*/ 166 h 345"/>
                  <a:gd name="T80" fmla="*/ 24 w 397"/>
                  <a:gd name="T81" fmla="*/ 149 h 345"/>
                  <a:gd name="T82" fmla="*/ 6 w 397"/>
                  <a:gd name="T83" fmla="*/ 124 h 345"/>
                  <a:gd name="T84" fmla="*/ 7 w 397"/>
                  <a:gd name="T85" fmla="*/ 112 h 345"/>
                  <a:gd name="T86" fmla="*/ 24 w 397"/>
                  <a:gd name="T87" fmla="*/ 112 h 345"/>
                  <a:gd name="T88" fmla="*/ 40 w 397"/>
                  <a:gd name="T89" fmla="*/ 119 h 345"/>
                  <a:gd name="T90" fmla="*/ 53 w 397"/>
                  <a:gd name="T91" fmla="*/ 117 h 345"/>
                  <a:gd name="T92" fmla="*/ 72 w 397"/>
                  <a:gd name="T93" fmla="*/ 124 h 345"/>
                  <a:gd name="T94" fmla="*/ 91 w 397"/>
                  <a:gd name="T95" fmla="*/ 119 h 345"/>
                  <a:gd name="T96" fmla="*/ 111 w 397"/>
                  <a:gd name="T97" fmla="*/ 95 h 345"/>
                  <a:gd name="T98" fmla="*/ 153 w 397"/>
                  <a:gd name="T99" fmla="*/ 56 h 345"/>
                  <a:gd name="T100" fmla="*/ 184 w 397"/>
                  <a:gd name="T101" fmla="*/ 35 h 345"/>
                  <a:gd name="T102" fmla="*/ 184 w 397"/>
                  <a:gd name="T103" fmla="*/ 22 h 345"/>
                  <a:gd name="T104" fmla="*/ 210 w 397"/>
                  <a:gd name="T105" fmla="*/ 5 h 345"/>
                  <a:gd name="T106" fmla="*/ 240 w 397"/>
                  <a:gd name="T107" fmla="*/ 1 h 345"/>
                  <a:gd name="T108" fmla="*/ 264 w 397"/>
                  <a:gd name="T109" fmla="*/ 0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97" h="345">
                    <a:moveTo>
                      <a:pt x="264" y="0"/>
                    </a:moveTo>
                    <a:lnTo>
                      <a:pt x="264" y="20"/>
                    </a:lnTo>
                    <a:lnTo>
                      <a:pt x="269" y="20"/>
                    </a:lnTo>
                    <a:lnTo>
                      <a:pt x="288" y="20"/>
                    </a:lnTo>
                    <a:lnTo>
                      <a:pt x="293" y="22"/>
                    </a:lnTo>
                    <a:lnTo>
                      <a:pt x="295" y="20"/>
                    </a:lnTo>
                    <a:lnTo>
                      <a:pt x="300" y="18"/>
                    </a:lnTo>
                    <a:lnTo>
                      <a:pt x="301" y="18"/>
                    </a:lnTo>
                    <a:lnTo>
                      <a:pt x="301" y="20"/>
                    </a:lnTo>
                    <a:lnTo>
                      <a:pt x="306" y="20"/>
                    </a:lnTo>
                    <a:lnTo>
                      <a:pt x="308" y="20"/>
                    </a:lnTo>
                    <a:lnTo>
                      <a:pt x="310" y="22"/>
                    </a:lnTo>
                    <a:lnTo>
                      <a:pt x="310" y="24"/>
                    </a:lnTo>
                    <a:lnTo>
                      <a:pt x="313" y="25"/>
                    </a:lnTo>
                    <a:lnTo>
                      <a:pt x="313" y="27"/>
                    </a:lnTo>
                    <a:lnTo>
                      <a:pt x="315" y="27"/>
                    </a:lnTo>
                    <a:lnTo>
                      <a:pt x="318" y="27"/>
                    </a:lnTo>
                    <a:lnTo>
                      <a:pt x="318" y="29"/>
                    </a:lnTo>
                    <a:lnTo>
                      <a:pt x="318" y="27"/>
                    </a:lnTo>
                    <a:lnTo>
                      <a:pt x="322" y="29"/>
                    </a:lnTo>
                    <a:lnTo>
                      <a:pt x="325" y="29"/>
                    </a:lnTo>
                    <a:lnTo>
                      <a:pt x="330" y="30"/>
                    </a:lnTo>
                    <a:lnTo>
                      <a:pt x="334" y="34"/>
                    </a:lnTo>
                    <a:lnTo>
                      <a:pt x="335" y="35"/>
                    </a:lnTo>
                    <a:lnTo>
                      <a:pt x="339" y="37"/>
                    </a:lnTo>
                    <a:lnTo>
                      <a:pt x="339" y="41"/>
                    </a:lnTo>
                    <a:lnTo>
                      <a:pt x="346" y="42"/>
                    </a:lnTo>
                    <a:lnTo>
                      <a:pt x="359" y="42"/>
                    </a:lnTo>
                    <a:lnTo>
                      <a:pt x="373" y="47"/>
                    </a:lnTo>
                    <a:lnTo>
                      <a:pt x="380" y="51"/>
                    </a:lnTo>
                    <a:lnTo>
                      <a:pt x="378" y="54"/>
                    </a:lnTo>
                    <a:lnTo>
                      <a:pt x="381" y="56"/>
                    </a:lnTo>
                    <a:lnTo>
                      <a:pt x="386" y="54"/>
                    </a:lnTo>
                    <a:lnTo>
                      <a:pt x="388" y="56"/>
                    </a:lnTo>
                    <a:lnTo>
                      <a:pt x="390" y="54"/>
                    </a:lnTo>
                    <a:lnTo>
                      <a:pt x="393" y="56"/>
                    </a:lnTo>
                    <a:lnTo>
                      <a:pt x="390" y="64"/>
                    </a:lnTo>
                    <a:lnTo>
                      <a:pt x="386" y="66"/>
                    </a:lnTo>
                    <a:lnTo>
                      <a:pt x="391" y="75"/>
                    </a:lnTo>
                    <a:lnTo>
                      <a:pt x="393" y="80"/>
                    </a:lnTo>
                    <a:lnTo>
                      <a:pt x="393" y="85"/>
                    </a:lnTo>
                    <a:lnTo>
                      <a:pt x="397" y="88"/>
                    </a:lnTo>
                    <a:lnTo>
                      <a:pt x="395" y="90"/>
                    </a:lnTo>
                    <a:lnTo>
                      <a:pt x="393" y="93"/>
                    </a:lnTo>
                    <a:lnTo>
                      <a:pt x="391" y="95"/>
                    </a:lnTo>
                    <a:lnTo>
                      <a:pt x="393" y="98"/>
                    </a:lnTo>
                    <a:lnTo>
                      <a:pt x="395" y="98"/>
                    </a:lnTo>
                    <a:lnTo>
                      <a:pt x="397" y="100"/>
                    </a:lnTo>
                    <a:lnTo>
                      <a:pt x="395" y="105"/>
                    </a:lnTo>
                    <a:lnTo>
                      <a:pt x="395" y="107"/>
                    </a:lnTo>
                    <a:lnTo>
                      <a:pt x="395" y="109"/>
                    </a:lnTo>
                    <a:lnTo>
                      <a:pt x="395" y="110"/>
                    </a:lnTo>
                    <a:lnTo>
                      <a:pt x="393" y="110"/>
                    </a:lnTo>
                    <a:lnTo>
                      <a:pt x="391" y="112"/>
                    </a:lnTo>
                    <a:lnTo>
                      <a:pt x="391" y="115"/>
                    </a:lnTo>
                    <a:lnTo>
                      <a:pt x="393" y="117"/>
                    </a:lnTo>
                    <a:lnTo>
                      <a:pt x="393" y="119"/>
                    </a:lnTo>
                    <a:lnTo>
                      <a:pt x="391" y="119"/>
                    </a:lnTo>
                    <a:lnTo>
                      <a:pt x="391" y="120"/>
                    </a:lnTo>
                    <a:lnTo>
                      <a:pt x="391" y="122"/>
                    </a:lnTo>
                    <a:lnTo>
                      <a:pt x="393" y="127"/>
                    </a:lnTo>
                    <a:lnTo>
                      <a:pt x="393" y="129"/>
                    </a:lnTo>
                    <a:lnTo>
                      <a:pt x="393" y="136"/>
                    </a:lnTo>
                    <a:lnTo>
                      <a:pt x="397" y="139"/>
                    </a:lnTo>
                    <a:lnTo>
                      <a:pt x="395" y="141"/>
                    </a:lnTo>
                    <a:lnTo>
                      <a:pt x="395" y="144"/>
                    </a:lnTo>
                    <a:lnTo>
                      <a:pt x="393" y="146"/>
                    </a:lnTo>
                    <a:lnTo>
                      <a:pt x="391" y="144"/>
                    </a:lnTo>
                    <a:lnTo>
                      <a:pt x="388" y="146"/>
                    </a:lnTo>
                    <a:lnTo>
                      <a:pt x="388" y="151"/>
                    </a:lnTo>
                    <a:lnTo>
                      <a:pt x="391" y="155"/>
                    </a:lnTo>
                    <a:lnTo>
                      <a:pt x="390" y="160"/>
                    </a:lnTo>
                    <a:lnTo>
                      <a:pt x="388" y="161"/>
                    </a:lnTo>
                    <a:lnTo>
                      <a:pt x="385" y="160"/>
                    </a:lnTo>
                    <a:lnTo>
                      <a:pt x="380" y="163"/>
                    </a:lnTo>
                    <a:lnTo>
                      <a:pt x="380" y="168"/>
                    </a:lnTo>
                    <a:lnTo>
                      <a:pt x="380" y="173"/>
                    </a:lnTo>
                    <a:lnTo>
                      <a:pt x="381" y="173"/>
                    </a:lnTo>
                    <a:lnTo>
                      <a:pt x="383" y="172"/>
                    </a:lnTo>
                    <a:lnTo>
                      <a:pt x="385" y="172"/>
                    </a:lnTo>
                    <a:lnTo>
                      <a:pt x="388" y="177"/>
                    </a:lnTo>
                    <a:lnTo>
                      <a:pt x="386" y="187"/>
                    </a:lnTo>
                    <a:lnTo>
                      <a:pt x="383" y="190"/>
                    </a:lnTo>
                    <a:lnTo>
                      <a:pt x="383" y="195"/>
                    </a:lnTo>
                    <a:lnTo>
                      <a:pt x="386" y="195"/>
                    </a:lnTo>
                    <a:lnTo>
                      <a:pt x="386" y="197"/>
                    </a:lnTo>
                    <a:lnTo>
                      <a:pt x="386" y="199"/>
                    </a:lnTo>
                    <a:lnTo>
                      <a:pt x="386" y="202"/>
                    </a:lnTo>
                    <a:lnTo>
                      <a:pt x="385" y="206"/>
                    </a:lnTo>
                    <a:lnTo>
                      <a:pt x="388" y="206"/>
                    </a:lnTo>
                    <a:lnTo>
                      <a:pt x="391" y="206"/>
                    </a:lnTo>
                    <a:lnTo>
                      <a:pt x="393" y="206"/>
                    </a:lnTo>
                    <a:lnTo>
                      <a:pt x="391" y="207"/>
                    </a:lnTo>
                    <a:lnTo>
                      <a:pt x="391" y="209"/>
                    </a:lnTo>
                    <a:lnTo>
                      <a:pt x="395" y="211"/>
                    </a:lnTo>
                    <a:lnTo>
                      <a:pt x="397" y="212"/>
                    </a:lnTo>
                    <a:lnTo>
                      <a:pt x="395" y="216"/>
                    </a:lnTo>
                    <a:lnTo>
                      <a:pt x="395" y="223"/>
                    </a:lnTo>
                    <a:lnTo>
                      <a:pt x="393" y="224"/>
                    </a:lnTo>
                    <a:lnTo>
                      <a:pt x="390" y="224"/>
                    </a:lnTo>
                    <a:lnTo>
                      <a:pt x="390" y="228"/>
                    </a:lnTo>
                    <a:lnTo>
                      <a:pt x="388" y="228"/>
                    </a:lnTo>
                    <a:lnTo>
                      <a:pt x="386" y="229"/>
                    </a:lnTo>
                    <a:lnTo>
                      <a:pt x="388" y="231"/>
                    </a:lnTo>
                    <a:lnTo>
                      <a:pt x="386" y="233"/>
                    </a:lnTo>
                    <a:lnTo>
                      <a:pt x="386" y="234"/>
                    </a:lnTo>
                    <a:lnTo>
                      <a:pt x="386" y="236"/>
                    </a:lnTo>
                    <a:lnTo>
                      <a:pt x="385" y="240"/>
                    </a:lnTo>
                    <a:lnTo>
                      <a:pt x="383" y="241"/>
                    </a:lnTo>
                    <a:lnTo>
                      <a:pt x="378" y="250"/>
                    </a:lnTo>
                    <a:lnTo>
                      <a:pt x="373" y="251"/>
                    </a:lnTo>
                    <a:lnTo>
                      <a:pt x="368" y="253"/>
                    </a:lnTo>
                    <a:lnTo>
                      <a:pt x="368" y="263"/>
                    </a:lnTo>
                    <a:lnTo>
                      <a:pt x="369" y="268"/>
                    </a:lnTo>
                    <a:lnTo>
                      <a:pt x="366" y="275"/>
                    </a:lnTo>
                    <a:lnTo>
                      <a:pt x="361" y="280"/>
                    </a:lnTo>
                    <a:lnTo>
                      <a:pt x="364" y="282"/>
                    </a:lnTo>
                    <a:lnTo>
                      <a:pt x="363" y="282"/>
                    </a:lnTo>
                    <a:lnTo>
                      <a:pt x="368" y="289"/>
                    </a:lnTo>
                    <a:lnTo>
                      <a:pt x="364" y="289"/>
                    </a:lnTo>
                    <a:lnTo>
                      <a:pt x="359" y="294"/>
                    </a:lnTo>
                    <a:lnTo>
                      <a:pt x="342" y="311"/>
                    </a:lnTo>
                    <a:lnTo>
                      <a:pt x="327" y="326"/>
                    </a:lnTo>
                    <a:lnTo>
                      <a:pt x="318" y="335"/>
                    </a:lnTo>
                    <a:lnTo>
                      <a:pt x="318" y="337"/>
                    </a:lnTo>
                    <a:lnTo>
                      <a:pt x="308" y="345"/>
                    </a:lnTo>
                    <a:lnTo>
                      <a:pt x="306" y="342"/>
                    </a:lnTo>
                    <a:lnTo>
                      <a:pt x="303" y="342"/>
                    </a:lnTo>
                    <a:lnTo>
                      <a:pt x="301" y="340"/>
                    </a:lnTo>
                    <a:lnTo>
                      <a:pt x="298" y="342"/>
                    </a:lnTo>
                    <a:lnTo>
                      <a:pt x="293" y="340"/>
                    </a:lnTo>
                    <a:lnTo>
                      <a:pt x="291" y="340"/>
                    </a:lnTo>
                    <a:lnTo>
                      <a:pt x="289" y="338"/>
                    </a:lnTo>
                    <a:lnTo>
                      <a:pt x="284" y="338"/>
                    </a:lnTo>
                    <a:lnTo>
                      <a:pt x="278" y="340"/>
                    </a:lnTo>
                    <a:lnTo>
                      <a:pt x="276" y="340"/>
                    </a:lnTo>
                    <a:lnTo>
                      <a:pt x="274" y="340"/>
                    </a:lnTo>
                    <a:lnTo>
                      <a:pt x="272" y="340"/>
                    </a:lnTo>
                    <a:lnTo>
                      <a:pt x="271" y="340"/>
                    </a:lnTo>
                    <a:lnTo>
                      <a:pt x="267" y="340"/>
                    </a:lnTo>
                    <a:lnTo>
                      <a:pt x="261" y="342"/>
                    </a:lnTo>
                    <a:lnTo>
                      <a:pt x="257" y="342"/>
                    </a:lnTo>
                    <a:lnTo>
                      <a:pt x="254" y="338"/>
                    </a:lnTo>
                    <a:lnTo>
                      <a:pt x="249" y="340"/>
                    </a:lnTo>
                    <a:lnTo>
                      <a:pt x="245" y="337"/>
                    </a:lnTo>
                    <a:lnTo>
                      <a:pt x="244" y="337"/>
                    </a:lnTo>
                    <a:lnTo>
                      <a:pt x="244" y="335"/>
                    </a:lnTo>
                    <a:lnTo>
                      <a:pt x="240" y="335"/>
                    </a:lnTo>
                    <a:lnTo>
                      <a:pt x="238" y="333"/>
                    </a:lnTo>
                    <a:lnTo>
                      <a:pt x="237" y="333"/>
                    </a:lnTo>
                    <a:lnTo>
                      <a:pt x="230" y="330"/>
                    </a:lnTo>
                    <a:lnTo>
                      <a:pt x="225" y="330"/>
                    </a:lnTo>
                    <a:lnTo>
                      <a:pt x="221" y="331"/>
                    </a:lnTo>
                    <a:lnTo>
                      <a:pt x="221" y="330"/>
                    </a:lnTo>
                    <a:lnTo>
                      <a:pt x="218" y="331"/>
                    </a:lnTo>
                    <a:lnTo>
                      <a:pt x="218" y="333"/>
                    </a:lnTo>
                    <a:lnTo>
                      <a:pt x="215" y="331"/>
                    </a:lnTo>
                    <a:lnTo>
                      <a:pt x="210" y="333"/>
                    </a:lnTo>
                    <a:lnTo>
                      <a:pt x="206" y="330"/>
                    </a:lnTo>
                    <a:lnTo>
                      <a:pt x="204" y="328"/>
                    </a:lnTo>
                    <a:lnTo>
                      <a:pt x="204" y="326"/>
                    </a:lnTo>
                    <a:lnTo>
                      <a:pt x="199" y="326"/>
                    </a:lnTo>
                    <a:lnTo>
                      <a:pt x="198" y="326"/>
                    </a:lnTo>
                    <a:lnTo>
                      <a:pt x="194" y="325"/>
                    </a:lnTo>
                    <a:lnTo>
                      <a:pt x="193" y="321"/>
                    </a:lnTo>
                    <a:lnTo>
                      <a:pt x="193" y="320"/>
                    </a:lnTo>
                    <a:lnTo>
                      <a:pt x="193" y="316"/>
                    </a:lnTo>
                    <a:lnTo>
                      <a:pt x="194" y="314"/>
                    </a:lnTo>
                    <a:lnTo>
                      <a:pt x="193" y="313"/>
                    </a:lnTo>
                    <a:lnTo>
                      <a:pt x="191" y="311"/>
                    </a:lnTo>
                    <a:lnTo>
                      <a:pt x="189" y="313"/>
                    </a:lnTo>
                    <a:lnTo>
                      <a:pt x="184" y="311"/>
                    </a:lnTo>
                    <a:lnTo>
                      <a:pt x="170" y="304"/>
                    </a:lnTo>
                    <a:lnTo>
                      <a:pt x="167" y="306"/>
                    </a:lnTo>
                    <a:lnTo>
                      <a:pt x="159" y="302"/>
                    </a:lnTo>
                    <a:lnTo>
                      <a:pt x="155" y="302"/>
                    </a:lnTo>
                    <a:lnTo>
                      <a:pt x="150" y="302"/>
                    </a:lnTo>
                    <a:lnTo>
                      <a:pt x="142" y="302"/>
                    </a:lnTo>
                    <a:lnTo>
                      <a:pt x="140" y="299"/>
                    </a:lnTo>
                    <a:lnTo>
                      <a:pt x="142" y="299"/>
                    </a:lnTo>
                    <a:lnTo>
                      <a:pt x="140" y="299"/>
                    </a:lnTo>
                    <a:lnTo>
                      <a:pt x="140" y="297"/>
                    </a:lnTo>
                    <a:lnTo>
                      <a:pt x="138" y="297"/>
                    </a:lnTo>
                    <a:lnTo>
                      <a:pt x="140" y="296"/>
                    </a:lnTo>
                    <a:lnTo>
                      <a:pt x="138" y="294"/>
                    </a:lnTo>
                    <a:lnTo>
                      <a:pt x="136" y="291"/>
                    </a:lnTo>
                    <a:lnTo>
                      <a:pt x="136" y="289"/>
                    </a:lnTo>
                    <a:lnTo>
                      <a:pt x="131" y="282"/>
                    </a:lnTo>
                    <a:lnTo>
                      <a:pt x="128" y="280"/>
                    </a:lnTo>
                    <a:lnTo>
                      <a:pt x="125" y="277"/>
                    </a:lnTo>
                    <a:lnTo>
                      <a:pt x="125" y="275"/>
                    </a:lnTo>
                    <a:lnTo>
                      <a:pt x="126" y="275"/>
                    </a:lnTo>
                    <a:lnTo>
                      <a:pt x="125" y="274"/>
                    </a:lnTo>
                    <a:lnTo>
                      <a:pt x="126" y="270"/>
                    </a:lnTo>
                    <a:lnTo>
                      <a:pt x="125" y="270"/>
                    </a:lnTo>
                    <a:lnTo>
                      <a:pt x="126" y="268"/>
                    </a:lnTo>
                    <a:lnTo>
                      <a:pt x="125" y="265"/>
                    </a:lnTo>
                    <a:lnTo>
                      <a:pt x="126" y="265"/>
                    </a:lnTo>
                    <a:lnTo>
                      <a:pt x="128" y="260"/>
                    </a:lnTo>
                    <a:lnTo>
                      <a:pt x="128" y="258"/>
                    </a:lnTo>
                    <a:lnTo>
                      <a:pt x="126" y="255"/>
                    </a:lnTo>
                    <a:lnTo>
                      <a:pt x="126" y="253"/>
                    </a:lnTo>
                    <a:lnTo>
                      <a:pt x="126" y="250"/>
                    </a:lnTo>
                    <a:lnTo>
                      <a:pt x="126" y="248"/>
                    </a:lnTo>
                    <a:lnTo>
                      <a:pt x="125" y="246"/>
                    </a:lnTo>
                    <a:lnTo>
                      <a:pt x="123" y="248"/>
                    </a:lnTo>
                    <a:lnTo>
                      <a:pt x="121" y="246"/>
                    </a:lnTo>
                    <a:lnTo>
                      <a:pt x="119" y="246"/>
                    </a:lnTo>
                    <a:lnTo>
                      <a:pt x="114" y="246"/>
                    </a:lnTo>
                    <a:lnTo>
                      <a:pt x="113" y="246"/>
                    </a:lnTo>
                    <a:lnTo>
                      <a:pt x="109" y="246"/>
                    </a:lnTo>
                    <a:lnTo>
                      <a:pt x="104" y="248"/>
                    </a:lnTo>
                    <a:lnTo>
                      <a:pt x="106" y="238"/>
                    </a:lnTo>
                    <a:lnTo>
                      <a:pt x="102" y="228"/>
                    </a:lnTo>
                    <a:lnTo>
                      <a:pt x="101" y="226"/>
                    </a:lnTo>
                    <a:lnTo>
                      <a:pt x="96" y="226"/>
                    </a:lnTo>
                    <a:lnTo>
                      <a:pt x="94" y="224"/>
                    </a:lnTo>
                    <a:lnTo>
                      <a:pt x="92" y="223"/>
                    </a:lnTo>
                    <a:lnTo>
                      <a:pt x="87" y="223"/>
                    </a:lnTo>
                    <a:lnTo>
                      <a:pt x="85" y="221"/>
                    </a:lnTo>
                    <a:lnTo>
                      <a:pt x="80" y="221"/>
                    </a:lnTo>
                    <a:lnTo>
                      <a:pt x="79" y="219"/>
                    </a:lnTo>
                    <a:lnTo>
                      <a:pt x="77" y="219"/>
                    </a:lnTo>
                    <a:lnTo>
                      <a:pt x="75" y="216"/>
                    </a:lnTo>
                    <a:lnTo>
                      <a:pt x="70" y="216"/>
                    </a:lnTo>
                    <a:lnTo>
                      <a:pt x="68" y="211"/>
                    </a:lnTo>
                    <a:lnTo>
                      <a:pt x="62" y="209"/>
                    </a:lnTo>
                    <a:lnTo>
                      <a:pt x="60" y="206"/>
                    </a:lnTo>
                    <a:lnTo>
                      <a:pt x="57" y="206"/>
                    </a:lnTo>
                    <a:lnTo>
                      <a:pt x="58" y="202"/>
                    </a:lnTo>
                    <a:lnTo>
                      <a:pt x="55" y="200"/>
                    </a:lnTo>
                    <a:lnTo>
                      <a:pt x="51" y="200"/>
                    </a:lnTo>
                    <a:lnTo>
                      <a:pt x="48" y="199"/>
                    </a:lnTo>
                    <a:lnTo>
                      <a:pt x="46" y="194"/>
                    </a:lnTo>
                    <a:lnTo>
                      <a:pt x="43" y="185"/>
                    </a:lnTo>
                    <a:lnTo>
                      <a:pt x="38" y="177"/>
                    </a:lnTo>
                    <a:lnTo>
                      <a:pt x="38" y="175"/>
                    </a:lnTo>
                    <a:lnTo>
                      <a:pt x="40" y="173"/>
                    </a:lnTo>
                    <a:lnTo>
                      <a:pt x="38" y="170"/>
                    </a:lnTo>
                    <a:lnTo>
                      <a:pt x="36" y="166"/>
                    </a:lnTo>
                    <a:lnTo>
                      <a:pt x="31" y="163"/>
                    </a:lnTo>
                    <a:lnTo>
                      <a:pt x="29" y="160"/>
                    </a:lnTo>
                    <a:lnTo>
                      <a:pt x="29" y="158"/>
                    </a:lnTo>
                    <a:lnTo>
                      <a:pt x="29" y="156"/>
                    </a:lnTo>
                    <a:lnTo>
                      <a:pt x="28" y="153"/>
                    </a:lnTo>
                    <a:lnTo>
                      <a:pt x="24" y="149"/>
                    </a:lnTo>
                    <a:lnTo>
                      <a:pt x="21" y="146"/>
                    </a:lnTo>
                    <a:lnTo>
                      <a:pt x="19" y="144"/>
                    </a:lnTo>
                    <a:lnTo>
                      <a:pt x="16" y="141"/>
                    </a:lnTo>
                    <a:lnTo>
                      <a:pt x="11" y="129"/>
                    </a:lnTo>
                    <a:lnTo>
                      <a:pt x="7" y="126"/>
                    </a:lnTo>
                    <a:lnTo>
                      <a:pt x="6" y="124"/>
                    </a:lnTo>
                    <a:lnTo>
                      <a:pt x="4" y="122"/>
                    </a:lnTo>
                    <a:lnTo>
                      <a:pt x="2" y="119"/>
                    </a:lnTo>
                    <a:lnTo>
                      <a:pt x="0" y="115"/>
                    </a:lnTo>
                    <a:lnTo>
                      <a:pt x="2" y="110"/>
                    </a:lnTo>
                    <a:lnTo>
                      <a:pt x="6" y="112"/>
                    </a:lnTo>
                    <a:lnTo>
                      <a:pt x="7" y="112"/>
                    </a:lnTo>
                    <a:lnTo>
                      <a:pt x="9" y="114"/>
                    </a:lnTo>
                    <a:lnTo>
                      <a:pt x="12" y="112"/>
                    </a:lnTo>
                    <a:lnTo>
                      <a:pt x="16" y="114"/>
                    </a:lnTo>
                    <a:lnTo>
                      <a:pt x="17" y="112"/>
                    </a:lnTo>
                    <a:lnTo>
                      <a:pt x="21" y="112"/>
                    </a:lnTo>
                    <a:lnTo>
                      <a:pt x="24" y="112"/>
                    </a:lnTo>
                    <a:lnTo>
                      <a:pt x="28" y="114"/>
                    </a:lnTo>
                    <a:lnTo>
                      <a:pt x="29" y="115"/>
                    </a:lnTo>
                    <a:lnTo>
                      <a:pt x="31" y="115"/>
                    </a:lnTo>
                    <a:lnTo>
                      <a:pt x="33" y="119"/>
                    </a:lnTo>
                    <a:lnTo>
                      <a:pt x="38" y="120"/>
                    </a:lnTo>
                    <a:lnTo>
                      <a:pt x="40" y="119"/>
                    </a:lnTo>
                    <a:lnTo>
                      <a:pt x="45" y="120"/>
                    </a:lnTo>
                    <a:lnTo>
                      <a:pt x="45" y="119"/>
                    </a:lnTo>
                    <a:lnTo>
                      <a:pt x="45" y="117"/>
                    </a:lnTo>
                    <a:lnTo>
                      <a:pt x="50" y="115"/>
                    </a:lnTo>
                    <a:lnTo>
                      <a:pt x="51" y="117"/>
                    </a:lnTo>
                    <a:lnTo>
                      <a:pt x="53" y="117"/>
                    </a:lnTo>
                    <a:lnTo>
                      <a:pt x="55" y="117"/>
                    </a:lnTo>
                    <a:lnTo>
                      <a:pt x="60" y="117"/>
                    </a:lnTo>
                    <a:lnTo>
                      <a:pt x="65" y="120"/>
                    </a:lnTo>
                    <a:lnTo>
                      <a:pt x="68" y="120"/>
                    </a:lnTo>
                    <a:lnTo>
                      <a:pt x="70" y="124"/>
                    </a:lnTo>
                    <a:lnTo>
                      <a:pt x="72" y="124"/>
                    </a:lnTo>
                    <a:lnTo>
                      <a:pt x="75" y="124"/>
                    </a:lnTo>
                    <a:lnTo>
                      <a:pt x="77" y="122"/>
                    </a:lnTo>
                    <a:lnTo>
                      <a:pt x="80" y="122"/>
                    </a:lnTo>
                    <a:lnTo>
                      <a:pt x="82" y="120"/>
                    </a:lnTo>
                    <a:lnTo>
                      <a:pt x="85" y="120"/>
                    </a:lnTo>
                    <a:lnTo>
                      <a:pt x="91" y="119"/>
                    </a:lnTo>
                    <a:lnTo>
                      <a:pt x="92" y="119"/>
                    </a:lnTo>
                    <a:lnTo>
                      <a:pt x="94" y="115"/>
                    </a:lnTo>
                    <a:lnTo>
                      <a:pt x="97" y="114"/>
                    </a:lnTo>
                    <a:lnTo>
                      <a:pt x="97" y="110"/>
                    </a:lnTo>
                    <a:lnTo>
                      <a:pt x="102" y="103"/>
                    </a:lnTo>
                    <a:lnTo>
                      <a:pt x="111" y="95"/>
                    </a:lnTo>
                    <a:lnTo>
                      <a:pt x="118" y="92"/>
                    </a:lnTo>
                    <a:lnTo>
                      <a:pt x="121" y="88"/>
                    </a:lnTo>
                    <a:lnTo>
                      <a:pt x="123" y="80"/>
                    </a:lnTo>
                    <a:lnTo>
                      <a:pt x="131" y="69"/>
                    </a:lnTo>
                    <a:lnTo>
                      <a:pt x="148" y="61"/>
                    </a:lnTo>
                    <a:lnTo>
                      <a:pt x="153" y="56"/>
                    </a:lnTo>
                    <a:lnTo>
                      <a:pt x="174" y="47"/>
                    </a:lnTo>
                    <a:lnTo>
                      <a:pt x="179" y="47"/>
                    </a:lnTo>
                    <a:lnTo>
                      <a:pt x="182" y="44"/>
                    </a:lnTo>
                    <a:lnTo>
                      <a:pt x="182" y="42"/>
                    </a:lnTo>
                    <a:lnTo>
                      <a:pt x="184" y="39"/>
                    </a:lnTo>
                    <a:lnTo>
                      <a:pt x="184" y="35"/>
                    </a:lnTo>
                    <a:lnTo>
                      <a:pt x="182" y="35"/>
                    </a:lnTo>
                    <a:lnTo>
                      <a:pt x="184" y="32"/>
                    </a:lnTo>
                    <a:lnTo>
                      <a:pt x="184" y="30"/>
                    </a:lnTo>
                    <a:lnTo>
                      <a:pt x="182" y="29"/>
                    </a:lnTo>
                    <a:lnTo>
                      <a:pt x="184" y="25"/>
                    </a:lnTo>
                    <a:lnTo>
                      <a:pt x="184" y="22"/>
                    </a:lnTo>
                    <a:lnTo>
                      <a:pt x="187" y="17"/>
                    </a:lnTo>
                    <a:lnTo>
                      <a:pt x="193" y="17"/>
                    </a:lnTo>
                    <a:lnTo>
                      <a:pt x="194" y="15"/>
                    </a:lnTo>
                    <a:lnTo>
                      <a:pt x="203" y="8"/>
                    </a:lnTo>
                    <a:lnTo>
                      <a:pt x="206" y="7"/>
                    </a:lnTo>
                    <a:lnTo>
                      <a:pt x="210" y="5"/>
                    </a:lnTo>
                    <a:lnTo>
                      <a:pt x="213" y="3"/>
                    </a:lnTo>
                    <a:lnTo>
                      <a:pt x="218" y="3"/>
                    </a:lnTo>
                    <a:lnTo>
                      <a:pt x="221" y="1"/>
                    </a:lnTo>
                    <a:lnTo>
                      <a:pt x="223" y="3"/>
                    </a:lnTo>
                    <a:lnTo>
                      <a:pt x="233" y="0"/>
                    </a:lnTo>
                    <a:lnTo>
                      <a:pt x="240" y="1"/>
                    </a:lnTo>
                    <a:lnTo>
                      <a:pt x="250" y="0"/>
                    </a:lnTo>
                    <a:lnTo>
                      <a:pt x="252" y="3"/>
                    </a:lnTo>
                    <a:lnTo>
                      <a:pt x="255" y="0"/>
                    </a:lnTo>
                    <a:lnTo>
                      <a:pt x="255" y="1"/>
                    </a:lnTo>
                    <a:lnTo>
                      <a:pt x="261" y="1"/>
                    </a:lnTo>
                    <a:lnTo>
                      <a:pt x="264" y="0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13" name="Freeform 64">
                <a:extLst>
                  <a:ext uri="{FF2B5EF4-FFF2-40B4-BE49-F238E27FC236}">
                    <a16:creationId xmlns:a16="http://schemas.microsoft.com/office/drawing/2014/main" id="{695F15EF-14A1-4F8E-8EFC-AFB525189CB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11625" y="4730750"/>
                <a:ext cx="11112" cy="11113"/>
              </a:xfrm>
              <a:custGeom>
                <a:avLst/>
                <a:gdLst>
                  <a:gd name="T0" fmla="*/ 7 w 7"/>
                  <a:gd name="T1" fmla="*/ 2 h 7"/>
                  <a:gd name="T2" fmla="*/ 7 w 7"/>
                  <a:gd name="T3" fmla="*/ 4 h 7"/>
                  <a:gd name="T4" fmla="*/ 1 w 7"/>
                  <a:gd name="T5" fmla="*/ 7 h 7"/>
                  <a:gd name="T6" fmla="*/ 0 w 7"/>
                  <a:gd name="T7" fmla="*/ 5 h 7"/>
                  <a:gd name="T8" fmla="*/ 3 w 7"/>
                  <a:gd name="T9" fmla="*/ 0 h 7"/>
                  <a:gd name="T10" fmla="*/ 7 w 7"/>
                  <a:gd name="T11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7" y="2"/>
                    </a:moveTo>
                    <a:lnTo>
                      <a:pt x="7" y="4"/>
                    </a:lnTo>
                    <a:lnTo>
                      <a:pt x="1" y="7"/>
                    </a:lnTo>
                    <a:lnTo>
                      <a:pt x="0" y="5"/>
                    </a:lnTo>
                    <a:lnTo>
                      <a:pt x="3" y="0"/>
                    </a:lnTo>
                    <a:lnTo>
                      <a:pt x="7" y="2"/>
                    </a:lnTo>
                    <a:close/>
                  </a:path>
                </a:pathLst>
              </a:custGeom>
              <a:grpFill/>
              <a:ln w="6350"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</p:grpSp>
        <p:sp>
          <p:nvSpPr>
            <p:cNvPr id="52" name="Freeform 6">
              <a:extLst>
                <a:ext uri="{FF2B5EF4-FFF2-40B4-BE49-F238E27FC236}">
                  <a16:creationId xmlns:a16="http://schemas.microsoft.com/office/drawing/2014/main" id="{A21AAB3F-C8C4-4B3B-866C-EAAC883600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5472" y="2762587"/>
              <a:ext cx="171306" cy="243244"/>
            </a:xfrm>
            <a:custGeom>
              <a:avLst/>
              <a:gdLst>
                <a:gd name="T0" fmla="*/ 1367 w 3038"/>
                <a:gd name="T1" fmla="*/ 4170 h 4336"/>
                <a:gd name="T2" fmla="*/ 124 w 3038"/>
                <a:gd name="T3" fmla="*/ 2007 h 4336"/>
                <a:gd name="T4" fmla="*/ 278 w 3038"/>
                <a:gd name="T5" fmla="*/ 750 h 4336"/>
                <a:gd name="T6" fmla="*/ 739 w 3038"/>
                <a:gd name="T7" fmla="*/ 289 h 4336"/>
                <a:gd name="T8" fmla="*/ 2059 w 3038"/>
                <a:gd name="T9" fmla="*/ 174 h 4336"/>
                <a:gd name="T10" fmla="*/ 2857 w 3038"/>
                <a:gd name="T11" fmla="*/ 965 h 4336"/>
                <a:gd name="T12" fmla="*/ 2726 w 3038"/>
                <a:gd name="T13" fmla="*/ 2505 h 4336"/>
                <a:gd name="T14" fmla="*/ 1896 w 3038"/>
                <a:gd name="T15" fmla="*/ 3874 h 4336"/>
                <a:gd name="T16" fmla="*/ 1513 w 3038"/>
                <a:gd name="T17" fmla="*/ 4336 h 4336"/>
                <a:gd name="T18" fmla="*/ 1367 w 3038"/>
                <a:gd name="T19" fmla="*/ 4170 h 4336"/>
                <a:gd name="T20" fmla="*/ 1669 w 3038"/>
                <a:gd name="T21" fmla="*/ 2129 h 4336"/>
                <a:gd name="T22" fmla="*/ 2118 w 3038"/>
                <a:gd name="T23" fmla="*/ 1679 h 4336"/>
                <a:gd name="T24" fmla="*/ 1513 w 3038"/>
                <a:gd name="T25" fmla="*/ 899 h 4336"/>
                <a:gd name="T26" fmla="*/ 888 w 3038"/>
                <a:gd name="T27" fmla="*/ 1524 h 4336"/>
                <a:gd name="T28" fmla="*/ 1669 w 3038"/>
                <a:gd name="T29" fmla="*/ 2129 h 4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38" h="4336">
                  <a:moveTo>
                    <a:pt x="1367" y="4170"/>
                  </a:moveTo>
                  <a:cubicBezTo>
                    <a:pt x="742" y="3420"/>
                    <a:pt x="281" y="2617"/>
                    <a:pt x="124" y="2007"/>
                  </a:cubicBezTo>
                  <a:cubicBezTo>
                    <a:pt x="0" y="1524"/>
                    <a:pt x="50" y="1121"/>
                    <a:pt x="278" y="750"/>
                  </a:cubicBezTo>
                  <a:cubicBezTo>
                    <a:pt x="368" y="604"/>
                    <a:pt x="593" y="379"/>
                    <a:pt x="739" y="289"/>
                  </a:cubicBezTo>
                  <a:cubicBezTo>
                    <a:pt x="1140" y="42"/>
                    <a:pt x="1623" y="0"/>
                    <a:pt x="2059" y="174"/>
                  </a:cubicBezTo>
                  <a:cubicBezTo>
                    <a:pt x="2408" y="313"/>
                    <a:pt x="2715" y="617"/>
                    <a:pt x="2857" y="965"/>
                  </a:cubicBezTo>
                  <a:cubicBezTo>
                    <a:pt x="3038" y="1409"/>
                    <a:pt x="2999" y="1872"/>
                    <a:pt x="2726" y="2505"/>
                  </a:cubicBezTo>
                  <a:cubicBezTo>
                    <a:pt x="2555" y="2901"/>
                    <a:pt x="2233" y="3433"/>
                    <a:pt x="1896" y="3874"/>
                  </a:cubicBezTo>
                  <a:cubicBezTo>
                    <a:pt x="1776" y="4031"/>
                    <a:pt x="1523" y="4336"/>
                    <a:pt x="1513" y="4336"/>
                  </a:cubicBezTo>
                  <a:cubicBezTo>
                    <a:pt x="1509" y="4336"/>
                    <a:pt x="1443" y="4261"/>
                    <a:pt x="1367" y="4170"/>
                  </a:cubicBezTo>
                  <a:close/>
                  <a:moveTo>
                    <a:pt x="1669" y="2129"/>
                  </a:moveTo>
                  <a:cubicBezTo>
                    <a:pt x="1881" y="2074"/>
                    <a:pt x="2063" y="1892"/>
                    <a:pt x="2118" y="1679"/>
                  </a:cubicBezTo>
                  <a:cubicBezTo>
                    <a:pt x="2220" y="1289"/>
                    <a:pt x="1917" y="899"/>
                    <a:pt x="1513" y="899"/>
                  </a:cubicBezTo>
                  <a:cubicBezTo>
                    <a:pt x="1171" y="899"/>
                    <a:pt x="888" y="1182"/>
                    <a:pt x="888" y="1524"/>
                  </a:cubicBezTo>
                  <a:cubicBezTo>
                    <a:pt x="888" y="1927"/>
                    <a:pt x="1279" y="2231"/>
                    <a:pt x="1669" y="2129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E0377B50-7D2A-4B1C-8BB8-02145B9EBB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72732" y="3211161"/>
              <a:ext cx="171306" cy="243244"/>
            </a:xfrm>
            <a:custGeom>
              <a:avLst/>
              <a:gdLst>
                <a:gd name="T0" fmla="*/ 1367 w 3038"/>
                <a:gd name="T1" fmla="*/ 4170 h 4336"/>
                <a:gd name="T2" fmla="*/ 124 w 3038"/>
                <a:gd name="T3" fmla="*/ 2007 h 4336"/>
                <a:gd name="T4" fmla="*/ 278 w 3038"/>
                <a:gd name="T5" fmla="*/ 750 h 4336"/>
                <a:gd name="T6" fmla="*/ 739 w 3038"/>
                <a:gd name="T7" fmla="*/ 289 h 4336"/>
                <a:gd name="T8" fmla="*/ 2059 w 3038"/>
                <a:gd name="T9" fmla="*/ 174 h 4336"/>
                <a:gd name="T10" fmla="*/ 2857 w 3038"/>
                <a:gd name="T11" fmla="*/ 965 h 4336"/>
                <a:gd name="T12" fmla="*/ 2726 w 3038"/>
                <a:gd name="T13" fmla="*/ 2505 h 4336"/>
                <a:gd name="T14" fmla="*/ 1896 w 3038"/>
                <a:gd name="T15" fmla="*/ 3874 h 4336"/>
                <a:gd name="T16" fmla="*/ 1513 w 3038"/>
                <a:gd name="T17" fmla="*/ 4336 h 4336"/>
                <a:gd name="T18" fmla="*/ 1367 w 3038"/>
                <a:gd name="T19" fmla="*/ 4170 h 4336"/>
                <a:gd name="T20" fmla="*/ 1669 w 3038"/>
                <a:gd name="T21" fmla="*/ 2129 h 4336"/>
                <a:gd name="T22" fmla="*/ 2118 w 3038"/>
                <a:gd name="T23" fmla="*/ 1679 h 4336"/>
                <a:gd name="T24" fmla="*/ 1513 w 3038"/>
                <a:gd name="T25" fmla="*/ 899 h 4336"/>
                <a:gd name="T26" fmla="*/ 888 w 3038"/>
                <a:gd name="T27" fmla="*/ 1524 h 4336"/>
                <a:gd name="T28" fmla="*/ 1669 w 3038"/>
                <a:gd name="T29" fmla="*/ 2129 h 4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38" h="4336">
                  <a:moveTo>
                    <a:pt x="1367" y="4170"/>
                  </a:moveTo>
                  <a:cubicBezTo>
                    <a:pt x="742" y="3420"/>
                    <a:pt x="281" y="2617"/>
                    <a:pt x="124" y="2007"/>
                  </a:cubicBezTo>
                  <a:cubicBezTo>
                    <a:pt x="0" y="1524"/>
                    <a:pt x="50" y="1121"/>
                    <a:pt x="278" y="750"/>
                  </a:cubicBezTo>
                  <a:cubicBezTo>
                    <a:pt x="368" y="604"/>
                    <a:pt x="593" y="379"/>
                    <a:pt x="739" y="289"/>
                  </a:cubicBezTo>
                  <a:cubicBezTo>
                    <a:pt x="1140" y="42"/>
                    <a:pt x="1623" y="0"/>
                    <a:pt x="2059" y="174"/>
                  </a:cubicBezTo>
                  <a:cubicBezTo>
                    <a:pt x="2408" y="313"/>
                    <a:pt x="2715" y="617"/>
                    <a:pt x="2857" y="965"/>
                  </a:cubicBezTo>
                  <a:cubicBezTo>
                    <a:pt x="3038" y="1409"/>
                    <a:pt x="2999" y="1872"/>
                    <a:pt x="2726" y="2505"/>
                  </a:cubicBezTo>
                  <a:cubicBezTo>
                    <a:pt x="2555" y="2901"/>
                    <a:pt x="2233" y="3433"/>
                    <a:pt x="1896" y="3874"/>
                  </a:cubicBezTo>
                  <a:cubicBezTo>
                    <a:pt x="1776" y="4031"/>
                    <a:pt x="1523" y="4336"/>
                    <a:pt x="1513" y="4336"/>
                  </a:cubicBezTo>
                  <a:cubicBezTo>
                    <a:pt x="1509" y="4336"/>
                    <a:pt x="1443" y="4261"/>
                    <a:pt x="1367" y="4170"/>
                  </a:cubicBezTo>
                  <a:close/>
                  <a:moveTo>
                    <a:pt x="1669" y="2129"/>
                  </a:moveTo>
                  <a:cubicBezTo>
                    <a:pt x="1881" y="2074"/>
                    <a:pt x="2063" y="1892"/>
                    <a:pt x="2118" y="1679"/>
                  </a:cubicBezTo>
                  <a:cubicBezTo>
                    <a:pt x="2220" y="1289"/>
                    <a:pt x="1917" y="899"/>
                    <a:pt x="1513" y="899"/>
                  </a:cubicBezTo>
                  <a:cubicBezTo>
                    <a:pt x="1171" y="899"/>
                    <a:pt x="888" y="1182"/>
                    <a:pt x="888" y="1524"/>
                  </a:cubicBezTo>
                  <a:cubicBezTo>
                    <a:pt x="888" y="1927"/>
                    <a:pt x="1279" y="2231"/>
                    <a:pt x="1669" y="2129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FC5B30B2-B9A6-4EF0-8D4C-D4EFC8CF0B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08234" y="3918527"/>
              <a:ext cx="171306" cy="243244"/>
            </a:xfrm>
            <a:custGeom>
              <a:avLst/>
              <a:gdLst>
                <a:gd name="T0" fmla="*/ 1367 w 3038"/>
                <a:gd name="T1" fmla="*/ 4170 h 4336"/>
                <a:gd name="T2" fmla="*/ 124 w 3038"/>
                <a:gd name="T3" fmla="*/ 2007 h 4336"/>
                <a:gd name="T4" fmla="*/ 278 w 3038"/>
                <a:gd name="T5" fmla="*/ 750 h 4336"/>
                <a:gd name="T6" fmla="*/ 739 w 3038"/>
                <a:gd name="T7" fmla="*/ 289 h 4336"/>
                <a:gd name="T8" fmla="*/ 2059 w 3038"/>
                <a:gd name="T9" fmla="*/ 174 h 4336"/>
                <a:gd name="T10" fmla="*/ 2857 w 3038"/>
                <a:gd name="T11" fmla="*/ 965 h 4336"/>
                <a:gd name="T12" fmla="*/ 2726 w 3038"/>
                <a:gd name="T13" fmla="*/ 2505 h 4336"/>
                <a:gd name="T14" fmla="*/ 1896 w 3038"/>
                <a:gd name="T15" fmla="*/ 3874 h 4336"/>
                <a:gd name="T16" fmla="*/ 1513 w 3038"/>
                <a:gd name="T17" fmla="*/ 4336 h 4336"/>
                <a:gd name="T18" fmla="*/ 1367 w 3038"/>
                <a:gd name="T19" fmla="*/ 4170 h 4336"/>
                <a:gd name="T20" fmla="*/ 1669 w 3038"/>
                <a:gd name="T21" fmla="*/ 2129 h 4336"/>
                <a:gd name="T22" fmla="*/ 2118 w 3038"/>
                <a:gd name="T23" fmla="*/ 1679 h 4336"/>
                <a:gd name="T24" fmla="*/ 1513 w 3038"/>
                <a:gd name="T25" fmla="*/ 899 h 4336"/>
                <a:gd name="T26" fmla="*/ 888 w 3038"/>
                <a:gd name="T27" fmla="*/ 1524 h 4336"/>
                <a:gd name="T28" fmla="*/ 1669 w 3038"/>
                <a:gd name="T29" fmla="*/ 2129 h 4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38" h="4336">
                  <a:moveTo>
                    <a:pt x="1367" y="4170"/>
                  </a:moveTo>
                  <a:cubicBezTo>
                    <a:pt x="742" y="3420"/>
                    <a:pt x="281" y="2617"/>
                    <a:pt x="124" y="2007"/>
                  </a:cubicBezTo>
                  <a:cubicBezTo>
                    <a:pt x="0" y="1524"/>
                    <a:pt x="50" y="1121"/>
                    <a:pt x="278" y="750"/>
                  </a:cubicBezTo>
                  <a:cubicBezTo>
                    <a:pt x="368" y="604"/>
                    <a:pt x="593" y="379"/>
                    <a:pt x="739" y="289"/>
                  </a:cubicBezTo>
                  <a:cubicBezTo>
                    <a:pt x="1140" y="42"/>
                    <a:pt x="1623" y="0"/>
                    <a:pt x="2059" y="174"/>
                  </a:cubicBezTo>
                  <a:cubicBezTo>
                    <a:pt x="2408" y="313"/>
                    <a:pt x="2715" y="617"/>
                    <a:pt x="2857" y="965"/>
                  </a:cubicBezTo>
                  <a:cubicBezTo>
                    <a:pt x="3038" y="1409"/>
                    <a:pt x="2999" y="1872"/>
                    <a:pt x="2726" y="2505"/>
                  </a:cubicBezTo>
                  <a:cubicBezTo>
                    <a:pt x="2555" y="2901"/>
                    <a:pt x="2233" y="3433"/>
                    <a:pt x="1896" y="3874"/>
                  </a:cubicBezTo>
                  <a:cubicBezTo>
                    <a:pt x="1776" y="4031"/>
                    <a:pt x="1523" y="4336"/>
                    <a:pt x="1513" y="4336"/>
                  </a:cubicBezTo>
                  <a:cubicBezTo>
                    <a:pt x="1509" y="4336"/>
                    <a:pt x="1443" y="4261"/>
                    <a:pt x="1367" y="4170"/>
                  </a:cubicBezTo>
                  <a:close/>
                  <a:moveTo>
                    <a:pt x="1669" y="2129"/>
                  </a:moveTo>
                  <a:cubicBezTo>
                    <a:pt x="1881" y="2074"/>
                    <a:pt x="2063" y="1892"/>
                    <a:pt x="2118" y="1679"/>
                  </a:cubicBezTo>
                  <a:cubicBezTo>
                    <a:pt x="2220" y="1289"/>
                    <a:pt x="1917" y="899"/>
                    <a:pt x="1513" y="899"/>
                  </a:cubicBezTo>
                  <a:cubicBezTo>
                    <a:pt x="1171" y="899"/>
                    <a:pt x="888" y="1182"/>
                    <a:pt x="888" y="1524"/>
                  </a:cubicBezTo>
                  <a:cubicBezTo>
                    <a:pt x="888" y="1927"/>
                    <a:pt x="1279" y="2231"/>
                    <a:pt x="1669" y="2129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7B291EA1-3D67-4A11-A7E8-BEF77FDF67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94830" y="3866769"/>
              <a:ext cx="171306" cy="243244"/>
            </a:xfrm>
            <a:custGeom>
              <a:avLst/>
              <a:gdLst>
                <a:gd name="T0" fmla="*/ 1367 w 3038"/>
                <a:gd name="T1" fmla="*/ 4170 h 4336"/>
                <a:gd name="T2" fmla="*/ 124 w 3038"/>
                <a:gd name="T3" fmla="*/ 2007 h 4336"/>
                <a:gd name="T4" fmla="*/ 278 w 3038"/>
                <a:gd name="T5" fmla="*/ 750 h 4336"/>
                <a:gd name="T6" fmla="*/ 739 w 3038"/>
                <a:gd name="T7" fmla="*/ 289 h 4336"/>
                <a:gd name="T8" fmla="*/ 2059 w 3038"/>
                <a:gd name="T9" fmla="*/ 174 h 4336"/>
                <a:gd name="T10" fmla="*/ 2857 w 3038"/>
                <a:gd name="T11" fmla="*/ 965 h 4336"/>
                <a:gd name="T12" fmla="*/ 2726 w 3038"/>
                <a:gd name="T13" fmla="*/ 2505 h 4336"/>
                <a:gd name="T14" fmla="*/ 1896 w 3038"/>
                <a:gd name="T15" fmla="*/ 3874 h 4336"/>
                <a:gd name="T16" fmla="*/ 1513 w 3038"/>
                <a:gd name="T17" fmla="*/ 4336 h 4336"/>
                <a:gd name="T18" fmla="*/ 1367 w 3038"/>
                <a:gd name="T19" fmla="*/ 4170 h 4336"/>
                <a:gd name="T20" fmla="*/ 1669 w 3038"/>
                <a:gd name="T21" fmla="*/ 2129 h 4336"/>
                <a:gd name="T22" fmla="*/ 2118 w 3038"/>
                <a:gd name="T23" fmla="*/ 1679 h 4336"/>
                <a:gd name="T24" fmla="*/ 1513 w 3038"/>
                <a:gd name="T25" fmla="*/ 899 h 4336"/>
                <a:gd name="T26" fmla="*/ 888 w 3038"/>
                <a:gd name="T27" fmla="*/ 1524 h 4336"/>
                <a:gd name="T28" fmla="*/ 1669 w 3038"/>
                <a:gd name="T29" fmla="*/ 2129 h 4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38" h="4336">
                  <a:moveTo>
                    <a:pt x="1367" y="4170"/>
                  </a:moveTo>
                  <a:cubicBezTo>
                    <a:pt x="742" y="3420"/>
                    <a:pt x="281" y="2617"/>
                    <a:pt x="124" y="2007"/>
                  </a:cubicBezTo>
                  <a:cubicBezTo>
                    <a:pt x="0" y="1524"/>
                    <a:pt x="50" y="1121"/>
                    <a:pt x="278" y="750"/>
                  </a:cubicBezTo>
                  <a:cubicBezTo>
                    <a:pt x="368" y="604"/>
                    <a:pt x="593" y="379"/>
                    <a:pt x="739" y="289"/>
                  </a:cubicBezTo>
                  <a:cubicBezTo>
                    <a:pt x="1140" y="42"/>
                    <a:pt x="1623" y="0"/>
                    <a:pt x="2059" y="174"/>
                  </a:cubicBezTo>
                  <a:cubicBezTo>
                    <a:pt x="2408" y="313"/>
                    <a:pt x="2715" y="617"/>
                    <a:pt x="2857" y="965"/>
                  </a:cubicBezTo>
                  <a:cubicBezTo>
                    <a:pt x="3038" y="1409"/>
                    <a:pt x="2999" y="1872"/>
                    <a:pt x="2726" y="2505"/>
                  </a:cubicBezTo>
                  <a:cubicBezTo>
                    <a:pt x="2555" y="2901"/>
                    <a:pt x="2233" y="3433"/>
                    <a:pt x="1896" y="3874"/>
                  </a:cubicBezTo>
                  <a:cubicBezTo>
                    <a:pt x="1776" y="4031"/>
                    <a:pt x="1523" y="4336"/>
                    <a:pt x="1513" y="4336"/>
                  </a:cubicBezTo>
                  <a:cubicBezTo>
                    <a:pt x="1509" y="4336"/>
                    <a:pt x="1443" y="4261"/>
                    <a:pt x="1367" y="4170"/>
                  </a:cubicBezTo>
                  <a:close/>
                  <a:moveTo>
                    <a:pt x="1669" y="2129"/>
                  </a:moveTo>
                  <a:cubicBezTo>
                    <a:pt x="1881" y="2074"/>
                    <a:pt x="2063" y="1892"/>
                    <a:pt x="2118" y="1679"/>
                  </a:cubicBezTo>
                  <a:cubicBezTo>
                    <a:pt x="2220" y="1289"/>
                    <a:pt x="1917" y="899"/>
                    <a:pt x="1513" y="899"/>
                  </a:cubicBezTo>
                  <a:cubicBezTo>
                    <a:pt x="1171" y="899"/>
                    <a:pt x="888" y="1182"/>
                    <a:pt x="888" y="1524"/>
                  </a:cubicBezTo>
                  <a:cubicBezTo>
                    <a:pt x="888" y="1927"/>
                    <a:pt x="1279" y="2231"/>
                    <a:pt x="1669" y="2129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58" name="Freeform 6">
              <a:extLst>
                <a:ext uri="{FF2B5EF4-FFF2-40B4-BE49-F238E27FC236}">
                  <a16:creationId xmlns:a16="http://schemas.microsoft.com/office/drawing/2014/main" id="{D81B051E-1383-41F6-A21D-C9237DDAB4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515600" y="3211161"/>
              <a:ext cx="171306" cy="243244"/>
            </a:xfrm>
            <a:custGeom>
              <a:avLst/>
              <a:gdLst>
                <a:gd name="T0" fmla="*/ 1367 w 3038"/>
                <a:gd name="T1" fmla="*/ 4170 h 4336"/>
                <a:gd name="T2" fmla="*/ 124 w 3038"/>
                <a:gd name="T3" fmla="*/ 2007 h 4336"/>
                <a:gd name="T4" fmla="*/ 278 w 3038"/>
                <a:gd name="T5" fmla="*/ 750 h 4336"/>
                <a:gd name="T6" fmla="*/ 739 w 3038"/>
                <a:gd name="T7" fmla="*/ 289 h 4336"/>
                <a:gd name="T8" fmla="*/ 2059 w 3038"/>
                <a:gd name="T9" fmla="*/ 174 h 4336"/>
                <a:gd name="T10" fmla="*/ 2857 w 3038"/>
                <a:gd name="T11" fmla="*/ 965 h 4336"/>
                <a:gd name="T12" fmla="*/ 2726 w 3038"/>
                <a:gd name="T13" fmla="*/ 2505 h 4336"/>
                <a:gd name="T14" fmla="*/ 1896 w 3038"/>
                <a:gd name="T15" fmla="*/ 3874 h 4336"/>
                <a:gd name="T16" fmla="*/ 1513 w 3038"/>
                <a:gd name="T17" fmla="*/ 4336 h 4336"/>
                <a:gd name="T18" fmla="*/ 1367 w 3038"/>
                <a:gd name="T19" fmla="*/ 4170 h 4336"/>
                <a:gd name="T20" fmla="*/ 1669 w 3038"/>
                <a:gd name="T21" fmla="*/ 2129 h 4336"/>
                <a:gd name="T22" fmla="*/ 2118 w 3038"/>
                <a:gd name="T23" fmla="*/ 1679 h 4336"/>
                <a:gd name="T24" fmla="*/ 1513 w 3038"/>
                <a:gd name="T25" fmla="*/ 899 h 4336"/>
                <a:gd name="T26" fmla="*/ 888 w 3038"/>
                <a:gd name="T27" fmla="*/ 1524 h 4336"/>
                <a:gd name="T28" fmla="*/ 1669 w 3038"/>
                <a:gd name="T29" fmla="*/ 2129 h 4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38" h="4336">
                  <a:moveTo>
                    <a:pt x="1367" y="4170"/>
                  </a:moveTo>
                  <a:cubicBezTo>
                    <a:pt x="742" y="3420"/>
                    <a:pt x="281" y="2617"/>
                    <a:pt x="124" y="2007"/>
                  </a:cubicBezTo>
                  <a:cubicBezTo>
                    <a:pt x="0" y="1524"/>
                    <a:pt x="50" y="1121"/>
                    <a:pt x="278" y="750"/>
                  </a:cubicBezTo>
                  <a:cubicBezTo>
                    <a:pt x="368" y="604"/>
                    <a:pt x="593" y="379"/>
                    <a:pt x="739" y="289"/>
                  </a:cubicBezTo>
                  <a:cubicBezTo>
                    <a:pt x="1140" y="42"/>
                    <a:pt x="1623" y="0"/>
                    <a:pt x="2059" y="174"/>
                  </a:cubicBezTo>
                  <a:cubicBezTo>
                    <a:pt x="2408" y="313"/>
                    <a:pt x="2715" y="617"/>
                    <a:pt x="2857" y="965"/>
                  </a:cubicBezTo>
                  <a:cubicBezTo>
                    <a:pt x="3038" y="1409"/>
                    <a:pt x="2999" y="1872"/>
                    <a:pt x="2726" y="2505"/>
                  </a:cubicBezTo>
                  <a:cubicBezTo>
                    <a:pt x="2555" y="2901"/>
                    <a:pt x="2233" y="3433"/>
                    <a:pt x="1896" y="3874"/>
                  </a:cubicBezTo>
                  <a:cubicBezTo>
                    <a:pt x="1776" y="4031"/>
                    <a:pt x="1523" y="4336"/>
                    <a:pt x="1513" y="4336"/>
                  </a:cubicBezTo>
                  <a:cubicBezTo>
                    <a:pt x="1509" y="4336"/>
                    <a:pt x="1443" y="4261"/>
                    <a:pt x="1367" y="4170"/>
                  </a:cubicBezTo>
                  <a:close/>
                  <a:moveTo>
                    <a:pt x="1669" y="2129"/>
                  </a:moveTo>
                  <a:cubicBezTo>
                    <a:pt x="1881" y="2074"/>
                    <a:pt x="2063" y="1892"/>
                    <a:pt x="2118" y="1679"/>
                  </a:cubicBezTo>
                  <a:cubicBezTo>
                    <a:pt x="2220" y="1289"/>
                    <a:pt x="1917" y="899"/>
                    <a:pt x="1513" y="899"/>
                  </a:cubicBezTo>
                  <a:cubicBezTo>
                    <a:pt x="1171" y="899"/>
                    <a:pt x="888" y="1182"/>
                    <a:pt x="888" y="1524"/>
                  </a:cubicBezTo>
                  <a:cubicBezTo>
                    <a:pt x="888" y="1927"/>
                    <a:pt x="1279" y="2231"/>
                    <a:pt x="1669" y="2129"/>
                  </a:cubicBezTo>
                  <a:close/>
                </a:path>
              </a:pathLst>
            </a:custGeom>
            <a:solidFill>
              <a:schemeClr val="bg1"/>
            </a:solidFill>
            <a:ln w="3175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84D37FE-7668-4133-BB60-1F42E6B1B035}"/>
              </a:ext>
            </a:extLst>
          </p:cNvPr>
          <p:cNvCxnSpPr/>
          <p:nvPr/>
        </p:nvCxnSpPr>
        <p:spPr>
          <a:xfrm flipV="1">
            <a:off x="1082689" y="3027906"/>
            <a:ext cx="0" cy="1069675"/>
          </a:xfrm>
          <a:prstGeom prst="line">
            <a:avLst/>
          </a:prstGeom>
          <a:solidFill>
            <a:schemeClr val="accent1"/>
          </a:solidFill>
          <a:ln w="6350" cap="flat">
            <a:solidFill>
              <a:schemeClr val="tx1"/>
            </a:solidFill>
            <a:miter lim="800000"/>
            <a:headEnd type="oval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E5BD579A-7822-462C-B3AE-5640A7EA5B84}"/>
              </a:ext>
            </a:extLst>
          </p:cNvPr>
          <p:cNvSpPr/>
          <p:nvPr/>
        </p:nvSpPr>
        <p:spPr>
          <a:xfrm>
            <a:off x="2660274" y="3472585"/>
            <a:ext cx="0" cy="828675"/>
          </a:xfrm>
          <a:custGeom>
            <a:avLst/>
            <a:gdLst>
              <a:gd name="connsiteX0" fmla="*/ 193675 w 193675"/>
              <a:gd name="connsiteY0" fmla="*/ 0 h 828675"/>
              <a:gd name="connsiteX1" fmla="*/ 193675 w 193675"/>
              <a:gd name="connsiteY1" fmla="*/ 828675 h 828675"/>
              <a:gd name="connsiteX2" fmla="*/ 0 w 193675"/>
              <a:gd name="connsiteY2" fmla="*/ 828675 h 828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3675" h="828675">
                <a:moveTo>
                  <a:pt x="193675" y="0"/>
                </a:moveTo>
                <a:lnTo>
                  <a:pt x="193675" y="828675"/>
                </a:lnTo>
                <a:lnTo>
                  <a:pt x="0" y="828675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4072CB8-2276-440C-9BB2-42034C154638}"/>
              </a:ext>
            </a:extLst>
          </p:cNvPr>
          <p:cNvSpPr txBox="1"/>
          <p:nvPr/>
        </p:nvSpPr>
        <p:spPr>
          <a:xfrm>
            <a:off x="2248222" y="4327852"/>
            <a:ext cx="608240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Nigeria</a:t>
            </a: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EA3177F1-9D0E-4AAB-A4A9-E35132EB791F}"/>
              </a:ext>
            </a:extLst>
          </p:cNvPr>
          <p:cNvSpPr/>
          <p:nvPr/>
        </p:nvSpPr>
        <p:spPr>
          <a:xfrm flipH="1">
            <a:off x="4198560" y="4167910"/>
            <a:ext cx="939799" cy="1038001"/>
          </a:xfrm>
          <a:custGeom>
            <a:avLst/>
            <a:gdLst>
              <a:gd name="connsiteX0" fmla="*/ 193675 w 193675"/>
              <a:gd name="connsiteY0" fmla="*/ 0 h 828675"/>
              <a:gd name="connsiteX1" fmla="*/ 193675 w 193675"/>
              <a:gd name="connsiteY1" fmla="*/ 828675 h 828675"/>
              <a:gd name="connsiteX2" fmla="*/ 0 w 193675"/>
              <a:gd name="connsiteY2" fmla="*/ 828675 h 828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3675" h="828675">
                <a:moveTo>
                  <a:pt x="193675" y="0"/>
                </a:moveTo>
                <a:lnTo>
                  <a:pt x="193675" y="828675"/>
                </a:lnTo>
                <a:lnTo>
                  <a:pt x="0" y="828675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EC04BE6A-7DBC-4420-ADC4-86F954C7B3F6}"/>
              </a:ext>
            </a:extLst>
          </p:cNvPr>
          <p:cNvSpPr/>
          <p:nvPr/>
        </p:nvSpPr>
        <p:spPr>
          <a:xfrm flipH="1">
            <a:off x="4789112" y="4139335"/>
            <a:ext cx="349250" cy="314525"/>
          </a:xfrm>
          <a:custGeom>
            <a:avLst/>
            <a:gdLst>
              <a:gd name="connsiteX0" fmla="*/ 193675 w 193675"/>
              <a:gd name="connsiteY0" fmla="*/ 0 h 828675"/>
              <a:gd name="connsiteX1" fmla="*/ 193675 w 193675"/>
              <a:gd name="connsiteY1" fmla="*/ 828675 h 828675"/>
              <a:gd name="connsiteX2" fmla="*/ 0 w 193675"/>
              <a:gd name="connsiteY2" fmla="*/ 828675 h 828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3675" h="828675">
                <a:moveTo>
                  <a:pt x="193675" y="0"/>
                </a:moveTo>
                <a:lnTo>
                  <a:pt x="193675" y="828675"/>
                </a:lnTo>
                <a:lnTo>
                  <a:pt x="0" y="828675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  <a:tailEnd type="oval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F101027-DD6F-4856-AC38-656AB6E8CB16}"/>
              </a:ext>
            </a:extLst>
          </p:cNvPr>
          <p:cNvSpPr txBox="1"/>
          <p:nvPr/>
        </p:nvSpPr>
        <p:spPr>
          <a:xfrm>
            <a:off x="5254080" y="5091157"/>
            <a:ext cx="684737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Rwanda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3CF3568-1B8C-414D-8B15-2D94FF437222}"/>
              </a:ext>
            </a:extLst>
          </p:cNvPr>
          <p:cNvCxnSpPr>
            <a:cxnSpLocks/>
          </p:cNvCxnSpPr>
          <p:nvPr/>
        </p:nvCxnSpPr>
        <p:spPr>
          <a:xfrm>
            <a:off x="4922281" y="2117114"/>
            <a:ext cx="0" cy="1125284"/>
          </a:xfrm>
          <a:prstGeom prst="line">
            <a:avLst/>
          </a:prstGeom>
          <a:solidFill>
            <a:schemeClr val="accent1"/>
          </a:solidFill>
          <a:ln w="6350" cap="flat">
            <a:solidFill>
              <a:schemeClr val="tx1"/>
            </a:solidFill>
            <a:miter lim="800000"/>
            <a:headEnd type="oval" w="sm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A3B65A57-D374-4DA5-AEBE-1BC0C452D427}"/>
              </a:ext>
            </a:extLst>
          </p:cNvPr>
          <p:cNvSpPr txBox="1"/>
          <p:nvPr/>
        </p:nvSpPr>
        <p:spPr>
          <a:xfrm>
            <a:off x="4733062" y="1782297"/>
            <a:ext cx="674428" cy="215444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Ethiopia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69E2FF5D-2FD1-4915-95EA-0B3E1EE3BA42}"/>
              </a:ext>
            </a:extLst>
          </p:cNvPr>
          <p:cNvSpPr/>
          <p:nvPr/>
        </p:nvSpPr>
        <p:spPr>
          <a:xfrm>
            <a:off x="9652690" y="4541129"/>
            <a:ext cx="613791" cy="613791"/>
          </a:xfrm>
          <a:prstGeom prst="ellipse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C7791C9-6151-4BDB-8DF0-1B15DC8DCC21}"/>
              </a:ext>
            </a:extLst>
          </p:cNvPr>
          <p:cNvGrpSpPr/>
          <p:nvPr/>
        </p:nvGrpSpPr>
        <p:grpSpPr>
          <a:xfrm>
            <a:off x="7195374" y="3859002"/>
            <a:ext cx="512064" cy="512064"/>
            <a:chOff x="6841782" y="4089918"/>
            <a:chExt cx="512064" cy="512064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5CFE827E-AE2F-4102-8437-017FD72ECEF8}"/>
                </a:ext>
              </a:extLst>
            </p:cNvPr>
            <p:cNvSpPr>
              <a:spLocks/>
            </p:cNvSpPr>
            <p:nvPr/>
          </p:nvSpPr>
          <p:spPr>
            <a:xfrm>
              <a:off x="6841782" y="4089918"/>
              <a:ext cx="512064" cy="512064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E7B008F5-EE53-48F1-AB20-1409CA653AD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943268" y="4191404"/>
              <a:ext cx="309092" cy="309092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274E4144-44B0-48AE-829B-33FBC2701FBB}"/>
              </a:ext>
            </a:extLst>
          </p:cNvPr>
          <p:cNvSpPr txBox="1">
            <a:spLocks/>
          </p:cNvSpPr>
          <p:nvPr/>
        </p:nvSpPr>
        <p:spPr>
          <a:xfrm>
            <a:off x="7856822" y="3884202"/>
            <a:ext cx="3777966" cy="46166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b="1" dirty="0">
                <a:solidFill>
                  <a:schemeClr val="accent1"/>
                </a:solidFill>
              </a:rPr>
              <a:t>Focus sector</a:t>
            </a:r>
            <a:br>
              <a:rPr lang="en-GB" b="1" dirty="0"/>
            </a:br>
            <a:r>
              <a:rPr lang="en-GB" sz="1400" dirty="0"/>
              <a:t>Manufacturing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AB6794D-7ED0-47FE-96F5-E677232812E0}"/>
              </a:ext>
            </a:extLst>
          </p:cNvPr>
          <p:cNvGrpSpPr/>
          <p:nvPr/>
        </p:nvGrpSpPr>
        <p:grpSpPr>
          <a:xfrm>
            <a:off x="7156434" y="2976270"/>
            <a:ext cx="512064" cy="512064"/>
            <a:chOff x="6856722" y="3162606"/>
            <a:chExt cx="512064" cy="512064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6C04CA1-B3EA-459F-B933-559C108F376F}"/>
                </a:ext>
              </a:extLst>
            </p:cNvPr>
            <p:cNvSpPr>
              <a:spLocks/>
            </p:cNvSpPr>
            <p:nvPr/>
          </p:nvSpPr>
          <p:spPr>
            <a:xfrm>
              <a:off x="6856722" y="3162606"/>
              <a:ext cx="512064" cy="512064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2A9B44F7-70C3-44A8-96DC-BAAC47CD4A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963991" y="3296555"/>
              <a:ext cx="297527" cy="244166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753C955A-638C-46B2-A03C-D20FA1370B54}"/>
              </a:ext>
            </a:extLst>
          </p:cNvPr>
          <p:cNvSpPr txBox="1">
            <a:spLocks/>
          </p:cNvSpPr>
          <p:nvPr/>
        </p:nvSpPr>
        <p:spPr>
          <a:xfrm>
            <a:off x="7856822" y="3001470"/>
            <a:ext cx="3780443" cy="46166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b="1" dirty="0">
                <a:solidFill>
                  <a:schemeClr val="accent1"/>
                </a:solidFill>
              </a:rPr>
              <a:t>Duration</a:t>
            </a:r>
            <a:br>
              <a:rPr lang="en-GB" b="1" dirty="0"/>
            </a:br>
            <a:r>
              <a:rPr lang="en-GB" sz="1400" dirty="0"/>
              <a:t>7 years (2019-2026)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C0C0E00-87F3-40FD-835C-F6235DBAE6FB}"/>
              </a:ext>
            </a:extLst>
          </p:cNvPr>
          <p:cNvGrpSpPr/>
          <p:nvPr/>
        </p:nvGrpSpPr>
        <p:grpSpPr>
          <a:xfrm>
            <a:off x="6929348" y="2093537"/>
            <a:ext cx="512064" cy="512064"/>
            <a:chOff x="6628321" y="2252673"/>
            <a:chExt cx="512064" cy="512064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00561E20-C880-4FA6-A4F9-4602094E607E}"/>
                </a:ext>
              </a:extLst>
            </p:cNvPr>
            <p:cNvSpPr>
              <a:spLocks/>
            </p:cNvSpPr>
            <p:nvPr/>
          </p:nvSpPr>
          <p:spPr>
            <a:xfrm>
              <a:off x="6628321" y="2252673"/>
              <a:ext cx="512064" cy="512064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30" name="Graphic 29">
              <a:extLst>
                <a:ext uri="{FF2B5EF4-FFF2-40B4-BE49-F238E27FC236}">
                  <a16:creationId xmlns:a16="http://schemas.microsoft.com/office/drawing/2014/main" id="{06BBFFE7-2D8F-402D-A6E4-A14EF772AB7D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755700" y="2372011"/>
              <a:ext cx="257306" cy="273388"/>
            </a:xfrm>
            <a:prstGeom prst="rect">
              <a:avLst/>
            </a:prstGeom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84A23F53-C3A0-45A1-B956-F0D786D22E76}"/>
              </a:ext>
            </a:extLst>
          </p:cNvPr>
          <p:cNvSpPr txBox="1">
            <a:spLocks/>
          </p:cNvSpPr>
          <p:nvPr/>
        </p:nvSpPr>
        <p:spPr>
          <a:xfrm>
            <a:off x="7632843" y="2011016"/>
            <a:ext cx="4001946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b="1" dirty="0">
                <a:solidFill>
                  <a:schemeClr val="accent1"/>
                </a:solidFill>
              </a:rPr>
              <a:t>Funding</a:t>
            </a:r>
            <a:br>
              <a:rPr lang="en-GB" b="1" dirty="0"/>
            </a:br>
            <a:r>
              <a:rPr lang="en-GB" sz="1400" dirty="0"/>
              <a:t>UK Government,</a:t>
            </a:r>
            <a:r>
              <a:rPr lang="en-US" sz="1400" dirty="0"/>
              <a:t> Foreign, Commonwealth and Development Office </a:t>
            </a:r>
            <a:r>
              <a:rPr lang="en-GB" sz="1400" dirty="0"/>
              <a:t>(FCDO) 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E504C1E-6A8F-4F1A-B494-7FAA8B915ED7}"/>
              </a:ext>
            </a:extLst>
          </p:cNvPr>
          <p:cNvGrpSpPr/>
          <p:nvPr/>
        </p:nvGrpSpPr>
        <p:grpSpPr>
          <a:xfrm>
            <a:off x="7040721" y="4808868"/>
            <a:ext cx="512064" cy="512064"/>
            <a:chOff x="6125911" y="5819391"/>
            <a:chExt cx="512064" cy="512064"/>
          </a:xfrm>
        </p:grpSpPr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4B6A12C1-85BC-4386-866F-8860E98AD038}"/>
                </a:ext>
              </a:extLst>
            </p:cNvPr>
            <p:cNvSpPr>
              <a:spLocks/>
            </p:cNvSpPr>
            <p:nvPr/>
          </p:nvSpPr>
          <p:spPr>
            <a:xfrm>
              <a:off x="6125911" y="5819391"/>
              <a:ext cx="512064" cy="512064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28" name="Graphic 27">
              <a:extLst>
                <a:ext uri="{FF2B5EF4-FFF2-40B4-BE49-F238E27FC236}">
                  <a16:creationId xmlns:a16="http://schemas.microsoft.com/office/drawing/2014/main" id="{CB51D97D-A56A-4D46-8B2C-14C21AB3DB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6217049" y="5925152"/>
              <a:ext cx="329789" cy="300542"/>
            </a:xfrm>
            <a:prstGeom prst="rect">
              <a:avLst/>
            </a:prstGeom>
          </p:spPr>
        </p:pic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8F491133-5CCB-4AAE-973B-50544F2B53DA}"/>
              </a:ext>
            </a:extLst>
          </p:cNvPr>
          <p:cNvSpPr txBox="1">
            <a:spLocks/>
          </p:cNvSpPr>
          <p:nvPr/>
        </p:nvSpPr>
        <p:spPr>
          <a:xfrm>
            <a:off x="7751800" y="4726347"/>
            <a:ext cx="3885465" cy="67710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b="1" dirty="0">
                <a:solidFill>
                  <a:schemeClr val="accent1"/>
                </a:solidFill>
              </a:rPr>
              <a:t>Implementing consortium </a:t>
            </a:r>
            <a:br>
              <a:rPr lang="en-GB" b="1" dirty="0"/>
            </a:br>
            <a:r>
              <a:rPr lang="en-GB" sz="1400" dirty="0"/>
              <a:t>McKinsey &amp; Company, BDO, </a:t>
            </a:r>
            <a:r>
              <a:rPr lang="en-GB" sz="1400" dirty="0" err="1"/>
              <a:t>TechnoServe</a:t>
            </a:r>
            <a:r>
              <a:rPr lang="en-GB" sz="1400" dirty="0"/>
              <a:t>,</a:t>
            </a:r>
            <a:br>
              <a:rPr lang="en-GB" sz="1400" dirty="0"/>
            </a:br>
            <a:r>
              <a:rPr lang="en-GB" sz="1400" dirty="0" err="1"/>
              <a:t>Reformatics</a:t>
            </a:r>
            <a:r>
              <a:rPr lang="en-GB" sz="1400" dirty="0"/>
              <a:t>, Steward </a:t>
            </a:r>
            <a:r>
              <a:rPr lang="en-GB" sz="1400" dirty="0" err="1"/>
              <a:t>Redqueen</a:t>
            </a:r>
            <a:r>
              <a:rPr lang="en-GB" sz="1400" dirty="0"/>
              <a:t> 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FE46394-C684-45DC-A073-ADCAC35F1EA4}"/>
              </a:ext>
            </a:extLst>
          </p:cNvPr>
          <p:cNvGrpSpPr/>
          <p:nvPr/>
        </p:nvGrpSpPr>
        <p:grpSpPr>
          <a:xfrm>
            <a:off x="6451261" y="1143671"/>
            <a:ext cx="512064" cy="512064"/>
            <a:chOff x="6175884" y="1295399"/>
            <a:chExt cx="512064" cy="512064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D478AA18-79BC-40DF-8785-8F54BEBB9722}"/>
                </a:ext>
              </a:extLst>
            </p:cNvPr>
            <p:cNvSpPr>
              <a:spLocks/>
            </p:cNvSpPr>
            <p:nvPr/>
          </p:nvSpPr>
          <p:spPr>
            <a:xfrm>
              <a:off x="6175884" y="1295399"/>
              <a:ext cx="512064" cy="512064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3BBA1520-50A8-40BF-93DA-2CD66E976B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6303013" y="1422528"/>
              <a:ext cx="257806" cy="257806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06FF483A-3B18-4835-8491-DEEFE7EDE437}"/>
              </a:ext>
            </a:extLst>
          </p:cNvPr>
          <p:cNvSpPr txBox="1">
            <a:spLocks/>
          </p:cNvSpPr>
          <p:nvPr/>
        </p:nvSpPr>
        <p:spPr>
          <a:xfrm>
            <a:off x="7092968" y="782023"/>
            <a:ext cx="4994257" cy="89255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b="1" dirty="0">
                <a:solidFill>
                  <a:schemeClr val="accent1"/>
                </a:solidFill>
              </a:rPr>
              <a:t>Programme goal </a:t>
            </a:r>
            <a:br>
              <a:rPr lang="en-GB" b="1" dirty="0"/>
            </a:br>
            <a:r>
              <a:rPr lang="en-GB" sz="1400" dirty="0">
                <a:latin typeface="+mj-lt"/>
              </a:rPr>
              <a:t>C</a:t>
            </a:r>
            <a:r>
              <a:rPr lang="en-US" sz="1400" b="0" i="0" dirty="0" err="1">
                <a:effectLst/>
                <a:latin typeface="+mj-lt"/>
              </a:rPr>
              <a:t>ontribute</a:t>
            </a:r>
            <a:r>
              <a:rPr lang="en-US" sz="1400" b="0" i="0" dirty="0">
                <a:effectLst/>
                <a:latin typeface="+mj-lt"/>
              </a:rPr>
              <a:t> to economic transformation in Africa by attracting </a:t>
            </a:r>
            <a:r>
              <a:rPr lang="en-GB" sz="1400" dirty="0">
                <a:latin typeface="+mj-lt"/>
              </a:rPr>
              <a:t>£1.2 billion of foreign direct investment and create 90,000 jobs in the manufacturing sector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3D45686-6EE1-4B17-80A3-78716D0BD7F0}"/>
              </a:ext>
            </a:extLst>
          </p:cNvPr>
          <p:cNvGrpSpPr/>
          <p:nvPr/>
        </p:nvGrpSpPr>
        <p:grpSpPr>
          <a:xfrm>
            <a:off x="6607246" y="5881844"/>
            <a:ext cx="512064" cy="512064"/>
            <a:chOff x="6597904" y="4941991"/>
            <a:chExt cx="512064" cy="512064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4A8A3A02-5F30-43C0-8E53-275C5222B32A}"/>
                </a:ext>
              </a:extLst>
            </p:cNvPr>
            <p:cNvSpPr>
              <a:spLocks/>
            </p:cNvSpPr>
            <p:nvPr/>
          </p:nvSpPr>
          <p:spPr>
            <a:xfrm>
              <a:off x="6597904" y="4941991"/>
              <a:ext cx="512064" cy="512064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2ADE8E9B-9A33-4887-937A-D7E5376294D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6695227" y="5039751"/>
              <a:ext cx="317419" cy="316544"/>
            </a:xfrm>
            <a:prstGeom prst="rect">
              <a:avLst/>
            </a:prstGeom>
          </p:spPr>
        </p:pic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1ECA460C-8AFE-43A8-93AD-15DE02089887}"/>
              </a:ext>
            </a:extLst>
          </p:cNvPr>
          <p:cNvSpPr txBox="1">
            <a:spLocks/>
          </p:cNvSpPr>
          <p:nvPr/>
        </p:nvSpPr>
        <p:spPr>
          <a:xfrm>
            <a:off x="7266824" y="5691600"/>
            <a:ext cx="4367964" cy="892552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600"/>
              </a:spcBef>
            </a:pPr>
            <a:r>
              <a:rPr lang="en-GB" b="1" dirty="0">
                <a:solidFill>
                  <a:schemeClr val="accent1"/>
                </a:solidFill>
              </a:rPr>
              <a:t>Support provided</a:t>
            </a:r>
            <a:br>
              <a:rPr lang="en-GB" b="1" dirty="0"/>
            </a:br>
            <a:r>
              <a:rPr lang="en-GB" sz="1400" dirty="0"/>
              <a:t>Transaction facilitation for investors and companies Technical assistance to governments and investment promotion agencies</a:t>
            </a:r>
          </a:p>
        </p:txBody>
      </p:sp>
    </p:spTree>
    <p:extLst>
      <p:ext uri="{BB962C8B-B14F-4D97-AF65-F5344CB8AC3E}">
        <p14:creationId xmlns:p14="http://schemas.microsoft.com/office/powerpoint/2010/main" val="8770589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8FFFF2F-6B1F-471E-B90B-3259B0D42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7012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9" name="think-cell Slide" r:id="rId29" imgW="352" imgH="332" progId="TCLayout.ActiveDocument.1">
                  <p:embed/>
                </p:oleObj>
              </mc:Choice>
              <mc:Fallback>
                <p:oleObj name="think-cell Slide" r:id="rId29" imgW="352" imgH="33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8FFFF2F-6B1F-471E-B90B-3259B0D42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E314DB-D20E-484B-A160-60BAC41D78D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2500" b="1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A2979E0B-7C0E-4BAF-9A9E-D0814EF5904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GB" dirty="0"/>
              <a:t>Supporting investment into Africa across brownfield and greenfiel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CFA457-2E42-4845-AE09-84C5330C4D33}"/>
              </a:ext>
            </a:extLst>
          </p:cNvPr>
          <p:cNvSpPr txBox="1">
            <a:spLocks/>
          </p:cNvSpPr>
          <p:nvPr/>
        </p:nvSpPr>
        <p:spPr>
          <a:xfrm>
            <a:off x="5661226" y="1106533"/>
            <a:ext cx="4751202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b="1" dirty="0">
                <a:solidFill>
                  <a:schemeClr val="accent1"/>
                </a:solidFill>
              </a:rPr>
              <a:t>What support we provid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1D2A84C-29B1-4D73-940D-7FEA51CF4A26}"/>
              </a:ext>
            </a:extLst>
          </p:cNvPr>
          <p:cNvSpPr txBox="1">
            <a:spLocks/>
          </p:cNvSpPr>
          <p:nvPr/>
        </p:nvSpPr>
        <p:spPr>
          <a:xfrm>
            <a:off x="3043335" y="1106533"/>
            <a:ext cx="2314918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b="1" dirty="0">
                <a:solidFill>
                  <a:schemeClr val="accent1"/>
                </a:solidFill>
              </a:rPr>
              <a:t>Who we work with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7E86E68-2353-47EE-A565-DE4791689718}"/>
              </a:ext>
            </a:extLst>
          </p:cNvPr>
          <p:cNvCxnSpPr>
            <a:cxnSpLocks/>
          </p:cNvCxnSpPr>
          <p:nvPr/>
        </p:nvCxnSpPr>
        <p:spPr>
          <a:xfrm>
            <a:off x="554737" y="2735495"/>
            <a:ext cx="2314914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3131181-C175-460F-AE0D-F3E2ADE04883}"/>
              </a:ext>
            </a:extLst>
          </p:cNvPr>
          <p:cNvCxnSpPr>
            <a:cxnSpLocks/>
          </p:cNvCxnSpPr>
          <p:nvPr/>
        </p:nvCxnSpPr>
        <p:spPr>
          <a:xfrm>
            <a:off x="554737" y="4128870"/>
            <a:ext cx="2314914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2C123C86-EC41-41CB-B79D-D90F045E5981}"/>
              </a:ext>
            </a:extLst>
          </p:cNvPr>
          <p:cNvGrpSpPr>
            <a:grpSpLocks/>
          </p:cNvGrpSpPr>
          <p:nvPr/>
        </p:nvGrpSpPr>
        <p:grpSpPr>
          <a:xfrm>
            <a:off x="554737" y="1514171"/>
            <a:ext cx="603504" cy="605340"/>
            <a:chOff x="516123" y="2447456"/>
            <a:chExt cx="615949" cy="60534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A478CAED-9371-465A-A5AA-C34B35F7F958}"/>
                </a:ext>
              </a:extLst>
            </p:cNvPr>
            <p:cNvSpPr>
              <a:spLocks/>
            </p:cNvSpPr>
            <p:nvPr/>
          </p:nvSpPr>
          <p:spPr>
            <a:xfrm>
              <a:off x="516123" y="2447456"/>
              <a:ext cx="615949" cy="60534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4D188121-4873-4236-912B-112CBF7F8985}"/>
                </a:ext>
              </a:extLst>
            </p:cNvPr>
            <p:cNvGrpSpPr/>
            <p:nvPr/>
          </p:nvGrpSpPr>
          <p:grpSpPr>
            <a:xfrm>
              <a:off x="589149" y="2657516"/>
              <a:ext cx="469897" cy="185221"/>
              <a:chOff x="1045210" y="1656398"/>
              <a:chExt cx="524828" cy="200025"/>
            </a:xfrm>
            <a:solidFill>
              <a:schemeClr val="accent1"/>
            </a:solidFill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A2694A26-3A55-406C-9F86-AF08C8369D24}"/>
                  </a:ext>
                </a:extLst>
              </p:cNvPr>
              <p:cNvSpPr/>
              <p:nvPr/>
            </p:nvSpPr>
            <p:spPr>
              <a:xfrm>
                <a:off x="1045210" y="1656398"/>
                <a:ext cx="76200" cy="200025"/>
              </a:xfrm>
              <a:custGeom>
                <a:avLst/>
                <a:gdLst>
                  <a:gd name="connsiteX0" fmla="*/ 0 w 76200"/>
                  <a:gd name="connsiteY0" fmla="*/ 0 h 200025"/>
                  <a:gd name="connsiteX1" fmla="*/ 77153 w 76200"/>
                  <a:gd name="connsiteY1" fmla="*/ 0 h 200025"/>
                  <a:gd name="connsiteX2" fmla="*/ 77153 w 76200"/>
                  <a:gd name="connsiteY2" fmla="*/ 200978 h 200025"/>
                  <a:gd name="connsiteX3" fmla="*/ 0 w 76200"/>
                  <a:gd name="connsiteY3" fmla="*/ 200978 h 200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200" h="200025">
                    <a:moveTo>
                      <a:pt x="0" y="0"/>
                    </a:moveTo>
                    <a:lnTo>
                      <a:pt x="77153" y="0"/>
                    </a:lnTo>
                    <a:lnTo>
                      <a:pt x="77153" y="200978"/>
                    </a:lnTo>
                    <a:lnTo>
                      <a:pt x="0" y="200978"/>
                    </a:lnTo>
                    <a:close/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3943D382-E6AC-4471-91AC-9248B78C7C1A}"/>
                  </a:ext>
                </a:extLst>
              </p:cNvPr>
              <p:cNvSpPr/>
              <p:nvPr/>
            </p:nvSpPr>
            <p:spPr>
              <a:xfrm>
                <a:off x="1122363" y="1700213"/>
                <a:ext cx="266700" cy="66675"/>
              </a:xfrm>
              <a:custGeom>
                <a:avLst/>
                <a:gdLst>
                  <a:gd name="connsiteX0" fmla="*/ 0 w 266700"/>
                  <a:gd name="connsiteY0" fmla="*/ 0 h 66675"/>
                  <a:gd name="connsiteX1" fmla="*/ 233363 w 266700"/>
                  <a:gd name="connsiteY1" fmla="*/ 0 h 66675"/>
                  <a:gd name="connsiteX2" fmla="*/ 269558 w 266700"/>
                  <a:gd name="connsiteY2" fmla="*/ 36195 h 66675"/>
                  <a:gd name="connsiteX3" fmla="*/ 269558 w 266700"/>
                  <a:gd name="connsiteY3" fmla="*/ 36195 h 66675"/>
                  <a:gd name="connsiteX4" fmla="*/ 233363 w 266700"/>
                  <a:gd name="connsiteY4" fmla="*/ 72390 h 66675"/>
                  <a:gd name="connsiteX5" fmla="*/ 166688 w 266700"/>
                  <a:gd name="connsiteY5" fmla="*/ 72390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6700" h="66675">
                    <a:moveTo>
                      <a:pt x="0" y="0"/>
                    </a:moveTo>
                    <a:lnTo>
                      <a:pt x="233363" y="0"/>
                    </a:lnTo>
                    <a:cubicBezTo>
                      <a:pt x="253365" y="0"/>
                      <a:pt x="268605" y="16193"/>
                      <a:pt x="269558" y="36195"/>
                    </a:cubicBezTo>
                    <a:lnTo>
                      <a:pt x="269558" y="36195"/>
                    </a:lnTo>
                    <a:cubicBezTo>
                      <a:pt x="269558" y="56198"/>
                      <a:pt x="253365" y="71438"/>
                      <a:pt x="233363" y="72390"/>
                    </a:cubicBezTo>
                    <a:lnTo>
                      <a:pt x="166688" y="72390"/>
                    </a:lnTo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AAE774A7-79E1-4A2A-AD98-F909B1773485}"/>
                  </a:ext>
                </a:extLst>
              </p:cNvPr>
              <p:cNvSpPr/>
              <p:nvPr/>
            </p:nvSpPr>
            <p:spPr>
              <a:xfrm>
                <a:off x="1122363" y="1673109"/>
                <a:ext cx="447675" cy="171450"/>
              </a:xfrm>
              <a:custGeom>
                <a:avLst/>
                <a:gdLst>
                  <a:gd name="connsiteX0" fmla="*/ 262890 w 447675"/>
                  <a:gd name="connsiteY0" fmla="*/ 84254 h 171450"/>
                  <a:gd name="connsiteX1" fmla="*/ 321945 w 447675"/>
                  <a:gd name="connsiteY1" fmla="*/ 84254 h 171450"/>
                  <a:gd name="connsiteX2" fmla="*/ 386715 w 447675"/>
                  <a:gd name="connsiteY2" fmla="*/ 11864 h 171450"/>
                  <a:gd name="connsiteX3" fmla="*/ 437198 w 447675"/>
                  <a:gd name="connsiteY3" fmla="*/ 9006 h 171450"/>
                  <a:gd name="connsiteX4" fmla="*/ 437198 w 447675"/>
                  <a:gd name="connsiteY4" fmla="*/ 9006 h 171450"/>
                  <a:gd name="connsiteX5" fmla="*/ 440055 w 447675"/>
                  <a:gd name="connsiteY5" fmla="*/ 59489 h 171450"/>
                  <a:gd name="connsiteX6" fmla="*/ 341948 w 447675"/>
                  <a:gd name="connsiteY6" fmla="*/ 169979 h 171450"/>
                  <a:gd name="connsiteX7" fmla="*/ 321945 w 447675"/>
                  <a:gd name="connsiteY7" fmla="*/ 179504 h 171450"/>
                  <a:gd name="connsiteX8" fmla="*/ 74295 w 447675"/>
                  <a:gd name="connsiteY8" fmla="*/ 179504 h 171450"/>
                  <a:gd name="connsiteX9" fmla="*/ 61913 w 447675"/>
                  <a:gd name="connsiteY9" fmla="*/ 176646 h 171450"/>
                  <a:gd name="connsiteX10" fmla="*/ 0 w 447675"/>
                  <a:gd name="connsiteY10" fmla="*/ 143309 h 171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447675" h="171450">
                    <a:moveTo>
                      <a:pt x="262890" y="84254"/>
                    </a:moveTo>
                    <a:lnTo>
                      <a:pt x="321945" y="84254"/>
                    </a:lnTo>
                    <a:lnTo>
                      <a:pt x="386715" y="11864"/>
                    </a:lnTo>
                    <a:cubicBezTo>
                      <a:pt x="400050" y="-2424"/>
                      <a:pt x="421958" y="-4329"/>
                      <a:pt x="437198" y="9006"/>
                    </a:cubicBezTo>
                    <a:lnTo>
                      <a:pt x="437198" y="9006"/>
                    </a:lnTo>
                    <a:cubicBezTo>
                      <a:pt x="452438" y="22341"/>
                      <a:pt x="453390" y="44249"/>
                      <a:pt x="440055" y="59489"/>
                    </a:cubicBezTo>
                    <a:lnTo>
                      <a:pt x="341948" y="169979"/>
                    </a:lnTo>
                    <a:cubicBezTo>
                      <a:pt x="337185" y="175694"/>
                      <a:pt x="329565" y="179504"/>
                      <a:pt x="321945" y="179504"/>
                    </a:cubicBezTo>
                    <a:lnTo>
                      <a:pt x="74295" y="179504"/>
                    </a:lnTo>
                    <a:cubicBezTo>
                      <a:pt x="69532" y="179504"/>
                      <a:pt x="65723" y="178551"/>
                      <a:pt x="61913" y="176646"/>
                    </a:cubicBezTo>
                    <a:lnTo>
                      <a:pt x="0" y="143309"/>
                    </a:lnTo>
                  </a:path>
                </a:pathLst>
              </a:custGeom>
              <a:grpFill/>
              <a:ln w="12700" cap="flat">
                <a:solidFill>
                  <a:schemeClr val="bg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C877F33D-3FCF-4810-A719-EC3ECF6443EC}"/>
              </a:ext>
            </a:extLst>
          </p:cNvPr>
          <p:cNvSpPr txBox="1">
            <a:spLocks/>
          </p:cNvSpPr>
          <p:nvPr/>
        </p:nvSpPr>
        <p:spPr>
          <a:xfrm>
            <a:off x="1250603" y="1514171"/>
            <a:ext cx="161904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Offer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neutral investment advisory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ervices to reduce the risk, cost and deal time of manufacturing transactions</a:t>
            </a:r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BFFF5C52-9767-40EE-A8AF-78AC3C52E867}"/>
              </a:ext>
            </a:extLst>
          </p:cNvPr>
          <p:cNvGrpSpPr>
            <a:grpSpLocks/>
          </p:cNvGrpSpPr>
          <p:nvPr/>
        </p:nvGrpSpPr>
        <p:grpSpPr>
          <a:xfrm>
            <a:off x="571598" y="2832081"/>
            <a:ext cx="603504" cy="605340"/>
            <a:chOff x="516123" y="3597550"/>
            <a:chExt cx="615949" cy="605340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5BFB30E-D5DE-4F8A-B3B9-BB7D49E2AD50}"/>
                </a:ext>
              </a:extLst>
            </p:cNvPr>
            <p:cNvSpPr>
              <a:spLocks/>
            </p:cNvSpPr>
            <p:nvPr/>
          </p:nvSpPr>
          <p:spPr>
            <a:xfrm>
              <a:off x="516123" y="3597550"/>
              <a:ext cx="615949" cy="60534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36" name="CustomIcon">
              <a:extLst>
                <a:ext uri="{FF2B5EF4-FFF2-40B4-BE49-F238E27FC236}">
                  <a16:creationId xmlns:a16="http://schemas.microsoft.com/office/drawing/2014/main" id="{46544160-D5D0-4700-B0D6-F359B4EDA8E9}"/>
                </a:ext>
              </a:extLst>
            </p:cNvPr>
            <p:cNvPicPr>
              <a:picLocks noChangeAspect="1"/>
            </p:cNvPicPr>
            <p:nvPr>
              <p:custDataLst>
                <p:tags r:id="rId26"/>
              </p:custDataLst>
            </p:nvPr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618781" y="3694904"/>
              <a:ext cx="410633" cy="410633"/>
            </a:xfrm>
            <a:prstGeom prst="rect">
              <a:avLst/>
            </a:prstGeom>
          </p:spPr>
        </p:pic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F9A099E5-5886-4589-9EA7-8807D0B9AFB0}"/>
              </a:ext>
            </a:extLst>
          </p:cNvPr>
          <p:cNvSpPr txBox="1">
            <a:spLocks/>
          </p:cNvSpPr>
          <p:nvPr/>
        </p:nvSpPr>
        <p:spPr>
          <a:xfrm>
            <a:off x="1239179" y="2905274"/>
            <a:ext cx="161904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None/>
              <a:tabLst/>
              <a:defRPr/>
            </a:pPr>
            <a:r>
              <a:rPr lang="en-GB" sz="1200" b="1" dirty="0">
                <a:solidFill>
                  <a:schemeClr val="accent1"/>
                </a:solidFill>
                <a:latin typeface="Arial" panose="020B0604020202020204"/>
              </a:rPr>
              <a:t>P</a:t>
            </a:r>
            <a:r>
              <a:rPr kumimoji="0" lang="en-GB" sz="12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rovide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market mapping and stakeholder engagement support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C3CB0150-2CCF-47E2-BE1F-EA700F202C5E}"/>
              </a:ext>
            </a:extLst>
          </p:cNvPr>
          <p:cNvGrpSpPr>
            <a:grpSpLocks/>
          </p:cNvGrpSpPr>
          <p:nvPr/>
        </p:nvGrpSpPr>
        <p:grpSpPr>
          <a:xfrm>
            <a:off x="554737" y="4183473"/>
            <a:ext cx="603504" cy="605340"/>
            <a:chOff x="516123" y="4747643"/>
            <a:chExt cx="615949" cy="60534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94D092B9-E8E4-45C3-B407-81DDF9915D6F}"/>
                </a:ext>
              </a:extLst>
            </p:cNvPr>
            <p:cNvSpPr>
              <a:spLocks/>
            </p:cNvSpPr>
            <p:nvPr/>
          </p:nvSpPr>
          <p:spPr>
            <a:xfrm>
              <a:off x="516123" y="4747643"/>
              <a:ext cx="615949" cy="60534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32" name="CustomIcon">
              <a:extLst>
                <a:ext uri="{FF2B5EF4-FFF2-40B4-BE49-F238E27FC236}">
                  <a16:creationId xmlns:a16="http://schemas.microsoft.com/office/drawing/2014/main" id="{4E7EB168-3AED-4C2E-AAAF-DA26E0959868}"/>
                </a:ext>
              </a:extLst>
            </p:cNvPr>
            <p:cNvPicPr>
              <a:picLocks noChangeAspect="1"/>
            </p:cNvPicPr>
            <p:nvPr>
              <p:custDataLst>
                <p:tags r:id="rId25"/>
              </p:custDataLst>
            </p:nvPr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632187" y="4858403"/>
              <a:ext cx="383821" cy="383821"/>
            </a:xfrm>
            <a:prstGeom prst="rect">
              <a:avLst/>
            </a:prstGeom>
          </p:spPr>
        </p:pic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E24B21BC-0C62-46E6-B97B-14E72C6B28ED}"/>
              </a:ext>
            </a:extLst>
          </p:cNvPr>
          <p:cNvSpPr txBox="1">
            <a:spLocks/>
          </p:cNvSpPr>
          <p:nvPr/>
        </p:nvSpPr>
        <p:spPr>
          <a:xfrm>
            <a:off x="1261559" y="4365341"/>
            <a:ext cx="161904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Commercial and financial analysi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A32B795-A840-4DEE-984E-9E327CA9C4DC}"/>
              </a:ext>
            </a:extLst>
          </p:cNvPr>
          <p:cNvSpPr txBox="1">
            <a:spLocks/>
          </p:cNvSpPr>
          <p:nvPr/>
        </p:nvSpPr>
        <p:spPr>
          <a:xfrm>
            <a:off x="589149" y="1106533"/>
            <a:ext cx="2314914" cy="246221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b="1" dirty="0">
                <a:solidFill>
                  <a:schemeClr val="accent1"/>
                </a:solidFill>
              </a:rPr>
              <a:t>What we do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EBD0409-324A-4C91-98EB-E7F6119C1D58}"/>
              </a:ext>
            </a:extLst>
          </p:cNvPr>
          <p:cNvCxnSpPr>
            <a:cxnSpLocks/>
          </p:cNvCxnSpPr>
          <p:nvPr/>
        </p:nvCxnSpPr>
        <p:spPr>
          <a:xfrm>
            <a:off x="554737" y="1405914"/>
            <a:ext cx="11082528" cy="0"/>
          </a:xfrm>
          <a:prstGeom prst="line">
            <a:avLst/>
          </a:prstGeom>
          <a:ln w="1270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neBasicVerticalDefault 22">
            <a:extLst>
              <a:ext uri="{FF2B5EF4-FFF2-40B4-BE49-F238E27FC236}">
                <a16:creationId xmlns:a16="http://schemas.microsoft.com/office/drawing/2014/main" id="{3B99AB62-CB49-4C77-A14F-6B7D319AA3B8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573961" y="1428955"/>
            <a:ext cx="0" cy="4977201"/>
          </a:xfrm>
          <a:prstGeom prst="straightConnector1">
            <a:avLst/>
          </a:prstGeom>
          <a:ln w="3175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LineBasicVerticalDefault 22">
            <a:extLst>
              <a:ext uri="{FF2B5EF4-FFF2-40B4-BE49-F238E27FC236}">
                <a16:creationId xmlns:a16="http://schemas.microsoft.com/office/drawing/2014/main" id="{F967FAA7-F8B4-4137-9EFC-71772C2B0079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2987117" y="1428955"/>
            <a:ext cx="0" cy="4977201"/>
          </a:xfrm>
          <a:prstGeom prst="straightConnector1">
            <a:avLst/>
          </a:prstGeom>
          <a:ln w="3175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BBCCF5D-0170-44AB-A051-42B4ABD4FD1B}"/>
              </a:ext>
            </a:extLst>
          </p:cNvPr>
          <p:cNvCxnSpPr>
            <a:cxnSpLocks/>
          </p:cNvCxnSpPr>
          <p:nvPr/>
        </p:nvCxnSpPr>
        <p:spPr>
          <a:xfrm>
            <a:off x="3108922" y="4127639"/>
            <a:ext cx="2314914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43AACA52-97B9-4AC8-BB75-F9E61E1E6898}"/>
              </a:ext>
            </a:extLst>
          </p:cNvPr>
          <p:cNvCxnSpPr>
            <a:cxnSpLocks/>
          </p:cNvCxnSpPr>
          <p:nvPr/>
        </p:nvCxnSpPr>
        <p:spPr>
          <a:xfrm>
            <a:off x="3093628" y="5392900"/>
            <a:ext cx="2314914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71">
            <a:extLst>
              <a:ext uri="{FF2B5EF4-FFF2-40B4-BE49-F238E27FC236}">
                <a16:creationId xmlns:a16="http://schemas.microsoft.com/office/drawing/2014/main" id="{511D60D6-9BB6-4EFB-8C72-697917DEC004}"/>
              </a:ext>
            </a:extLst>
          </p:cNvPr>
          <p:cNvGrpSpPr/>
          <p:nvPr/>
        </p:nvGrpSpPr>
        <p:grpSpPr>
          <a:xfrm>
            <a:off x="3108922" y="4216675"/>
            <a:ext cx="2314914" cy="605340"/>
            <a:chOff x="3146168" y="3929835"/>
            <a:chExt cx="2314914" cy="605340"/>
          </a:xfrm>
        </p:grpSpPr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C64BD99A-9AE6-43D6-BC5F-956EA58052B5}"/>
                </a:ext>
              </a:extLst>
            </p:cNvPr>
            <p:cNvSpPr txBox="1">
              <a:spLocks/>
            </p:cNvSpPr>
            <p:nvPr/>
          </p:nvSpPr>
          <p:spPr>
            <a:xfrm>
              <a:off x="3842034" y="4170834"/>
              <a:ext cx="1619048" cy="18466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</a:pPr>
              <a:r>
                <a:rPr lang="en-GB" sz="1200" b="1" dirty="0">
                  <a:solidFill>
                    <a:schemeClr val="accent1"/>
                  </a:solidFill>
                  <a:cs typeface="+mn-cs"/>
                </a:rPr>
                <a:t>Buyside Investors</a:t>
              </a:r>
            </a:p>
          </p:txBody>
        </p: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5292A1DA-CC12-4F4B-866E-C534C7C3CA89}"/>
                </a:ext>
              </a:extLst>
            </p:cNvPr>
            <p:cNvGrpSpPr>
              <a:grpSpLocks/>
            </p:cNvGrpSpPr>
            <p:nvPr/>
          </p:nvGrpSpPr>
          <p:grpSpPr>
            <a:xfrm>
              <a:off x="3146168" y="3929835"/>
              <a:ext cx="603504" cy="605340"/>
              <a:chOff x="4164901" y="3713794"/>
              <a:chExt cx="466344" cy="466344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11366397-A5F2-4D63-A18C-28CCB214150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4164901" y="3713794"/>
                <a:ext cx="466344" cy="466344"/>
              </a:xfrm>
              <a:prstGeom prst="ellipse">
                <a:avLst/>
              </a:prstGeom>
              <a:solidFill>
                <a:srgbClr val="002060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59" name="CustomIcon">
                <a:extLst>
                  <a:ext uri="{FF2B5EF4-FFF2-40B4-BE49-F238E27FC236}">
                    <a16:creationId xmlns:a16="http://schemas.microsoft.com/office/drawing/2014/main" id="{87DFB61A-3A65-4A5A-95ED-CB4687FE5DD7}"/>
                  </a:ext>
                </a:extLst>
              </p:cNvPr>
              <p:cNvPicPr>
                <a:picLocks/>
              </p:cNvPicPr>
              <p:nvPr>
                <p:custDataLst>
                  <p:tags r:id="rId24"/>
                </p:custDataLst>
              </p:nvPr>
            </p:nvPicPr>
            <p:blipFill>
              <a:blip r:embed="rId35">
                <a:extLst>
                  <a:ext uri="{96DAC541-7B7A-43D3-8B79-37D633B846F1}">
                    <asvg:svgBlip xmlns:asvg="http://schemas.microsoft.com/office/drawing/2016/SVG/main" r:embed="rId36"/>
                  </a:ext>
                </a:extLst>
              </a:blip>
              <a:stretch>
                <a:fillRect/>
              </a:stretch>
            </p:blipFill>
            <p:spPr>
              <a:xfrm>
                <a:off x="4265398" y="3814291"/>
                <a:ext cx="265351" cy="265351"/>
              </a:xfrm>
              <a:prstGeom prst="rect">
                <a:avLst/>
              </a:prstGeom>
            </p:spPr>
          </p:pic>
        </p:grp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id="{AD92F768-9FF2-49DC-809D-935AED25AC08}"/>
              </a:ext>
            </a:extLst>
          </p:cNvPr>
          <p:cNvGrpSpPr>
            <a:grpSpLocks/>
          </p:cNvGrpSpPr>
          <p:nvPr/>
        </p:nvGrpSpPr>
        <p:grpSpPr>
          <a:xfrm>
            <a:off x="3093628" y="5540659"/>
            <a:ext cx="603504" cy="605340"/>
            <a:chOff x="4164901" y="5088510"/>
            <a:chExt cx="466344" cy="466344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1D19AAC9-6E18-421D-9661-D74650882627}"/>
                </a:ext>
              </a:extLst>
            </p:cNvPr>
            <p:cNvSpPr>
              <a:spLocks/>
            </p:cNvSpPr>
            <p:nvPr/>
          </p:nvSpPr>
          <p:spPr>
            <a:xfrm>
              <a:off x="4164901" y="5088510"/>
              <a:ext cx="466344" cy="466344"/>
            </a:xfrm>
            <a:prstGeom prst="ellipse">
              <a:avLst/>
            </a:prstGeom>
            <a:solidFill>
              <a:srgbClr val="00206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53" name="CustomIcon">
              <a:extLst>
                <a:ext uri="{FF2B5EF4-FFF2-40B4-BE49-F238E27FC236}">
                  <a16:creationId xmlns:a16="http://schemas.microsoft.com/office/drawing/2014/main" id="{052003E8-08B8-44E6-8915-80886786C948}"/>
                </a:ext>
              </a:extLst>
            </p:cNvPr>
            <p:cNvPicPr>
              <a:picLocks/>
            </p:cNvPicPr>
            <p:nvPr>
              <p:custDataLst>
                <p:tags r:id="rId23"/>
              </p:custDataLst>
            </p:nvPr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4258331" y="5181940"/>
              <a:ext cx="279484" cy="279484"/>
            </a:xfrm>
            <a:prstGeom prst="rect">
              <a:avLst/>
            </a:prstGeom>
          </p:spPr>
        </p:pic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8DC8B8C4-9B3A-44EB-80EB-1B6A497B8B06}"/>
              </a:ext>
            </a:extLst>
          </p:cNvPr>
          <p:cNvSpPr txBox="1">
            <a:spLocks/>
          </p:cNvSpPr>
          <p:nvPr/>
        </p:nvSpPr>
        <p:spPr>
          <a:xfrm>
            <a:off x="3841416" y="1737454"/>
            <a:ext cx="161904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</a:pPr>
            <a:r>
              <a:rPr lang="en-GB" sz="1200" b="1" dirty="0">
                <a:solidFill>
                  <a:schemeClr val="accent1"/>
                </a:solidFill>
                <a:cs typeface="+mn-cs"/>
              </a:rPr>
              <a:t>Local manufacturing companies </a:t>
            </a:r>
          </a:p>
        </p:txBody>
      </p: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AF4EECF9-2334-45C3-A4EB-2D4DBC2C0F62}"/>
              </a:ext>
            </a:extLst>
          </p:cNvPr>
          <p:cNvGrpSpPr>
            <a:grpSpLocks/>
          </p:cNvGrpSpPr>
          <p:nvPr/>
        </p:nvGrpSpPr>
        <p:grpSpPr>
          <a:xfrm>
            <a:off x="3136712" y="1623846"/>
            <a:ext cx="603504" cy="605341"/>
            <a:chOff x="4164898" y="2380792"/>
            <a:chExt cx="466344" cy="466344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638A72C2-B4CE-451A-8767-3C5F4DC395CD}"/>
                </a:ext>
              </a:extLst>
            </p:cNvPr>
            <p:cNvSpPr>
              <a:spLocks/>
            </p:cNvSpPr>
            <p:nvPr/>
          </p:nvSpPr>
          <p:spPr>
            <a:xfrm>
              <a:off x="4164898" y="2380792"/>
              <a:ext cx="466344" cy="466344"/>
            </a:xfrm>
            <a:prstGeom prst="ellipse">
              <a:avLst/>
            </a:prstGeom>
            <a:solidFill>
              <a:srgbClr val="00206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47" name="CustomIcon">
              <a:extLst>
                <a:ext uri="{FF2B5EF4-FFF2-40B4-BE49-F238E27FC236}">
                  <a16:creationId xmlns:a16="http://schemas.microsoft.com/office/drawing/2014/main" id="{93C9353A-CABF-4D2D-8A99-2068F90BCD5E}"/>
                </a:ext>
              </a:extLst>
            </p:cNvPr>
            <p:cNvPicPr>
              <a:picLocks noChangeAspect="1"/>
            </p:cNvPicPr>
            <p:nvPr>
              <p:custDataLst>
                <p:tags r:id="rId22"/>
              </p:custDataLst>
            </p:nvPr>
          </p:nvPicPr>
          <p:blipFill>
            <a:blip r:embed="rId39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4260416" y="2473397"/>
              <a:ext cx="275314" cy="275314"/>
            </a:xfrm>
            <a:prstGeom prst="rect">
              <a:avLst/>
            </a:prstGeom>
          </p:spPr>
        </p:pic>
      </p:grpSp>
      <p:sp>
        <p:nvSpPr>
          <p:cNvPr id="95" name="TextBox 94">
            <a:extLst>
              <a:ext uri="{FF2B5EF4-FFF2-40B4-BE49-F238E27FC236}">
                <a16:creationId xmlns:a16="http://schemas.microsoft.com/office/drawing/2014/main" id="{55F9B6F4-F311-4B6B-BBC0-95BA3B9BBDEA}"/>
              </a:ext>
            </a:extLst>
          </p:cNvPr>
          <p:cNvSpPr txBox="1">
            <a:spLocks/>
          </p:cNvSpPr>
          <p:nvPr/>
        </p:nvSpPr>
        <p:spPr>
          <a:xfrm>
            <a:off x="5702853" y="2245357"/>
            <a:ext cx="106831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cs typeface="Arial" panose="020B0604020202020204" pitchFamily="34" charset="0"/>
              </a:rPr>
              <a:t>Permits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9C4B7915-860E-420C-BA83-F15A8BE3829F}"/>
              </a:ext>
            </a:extLst>
          </p:cNvPr>
          <p:cNvSpPr txBox="1">
            <a:spLocks/>
          </p:cNvSpPr>
          <p:nvPr/>
        </p:nvSpPr>
        <p:spPr>
          <a:xfrm>
            <a:off x="6966014" y="2245905"/>
            <a:ext cx="111546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Clarify regulation</a:t>
            </a:r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9A67C1A8-D776-4B47-B7CB-2BBBEE1715D3}"/>
              </a:ext>
            </a:extLst>
          </p:cNvPr>
          <p:cNvGrpSpPr/>
          <p:nvPr/>
        </p:nvGrpSpPr>
        <p:grpSpPr>
          <a:xfrm>
            <a:off x="6651689" y="2254300"/>
            <a:ext cx="258016" cy="258016"/>
            <a:chOff x="4179609" y="3200400"/>
            <a:chExt cx="466344" cy="466344"/>
          </a:xfrm>
        </p:grpSpPr>
        <p:sp>
          <p:nvSpPr>
            <p:cNvPr id="137" name="Oval 136">
              <a:extLst>
                <a:ext uri="{FF2B5EF4-FFF2-40B4-BE49-F238E27FC236}">
                  <a16:creationId xmlns:a16="http://schemas.microsoft.com/office/drawing/2014/main" id="{647DABBB-9BCA-4967-96EC-CE9BF0FD0C6C}"/>
                </a:ext>
              </a:extLst>
            </p:cNvPr>
            <p:cNvSpPr>
              <a:spLocks/>
            </p:cNvSpPr>
            <p:nvPr/>
          </p:nvSpPr>
          <p:spPr>
            <a:xfrm>
              <a:off x="4179609" y="3200400"/>
              <a:ext cx="466344" cy="466344"/>
            </a:xfrm>
            <a:prstGeom prst="ellipse">
              <a:avLst/>
            </a:prstGeom>
            <a:solidFill>
              <a:srgbClr val="182266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39" name="CustomIcon">
              <a:extLst>
                <a:ext uri="{FF2B5EF4-FFF2-40B4-BE49-F238E27FC236}">
                  <a16:creationId xmlns:a16="http://schemas.microsoft.com/office/drawing/2014/main" id="{9DA7980C-E72C-4878-BD8B-EF0A9B4EC75E}"/>
                </a:ext>
              </a:extLst>
            </p:cNvPr>
            <p:cNvPicPr>
              <a:picLocks/>
            </p:cNvPicPr>
            <p:nvPr>
              <p:custDataLst>
                <p:tags r:id="rId21"/>
              </p:custDataLst>
            </p:nvPr>
          </p:nvPicPr>
          <p:blipFill>
            <a:blip r:embed="rId41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4275124" y="3295915"/>
              <a:ext cx="275314" cy="275314"/>
            </a:xfrm>
            <a:prstGeom prst="rect">
              <a:avLst/>
            </a:prstGeom>
          </p:spPr>
        </p:pic>
      </p:grpSp>
      <p:sp>
        <p:nvSpPr>
          <p:cNvPr id="126" name="TextBox 125">
            <a:extLst>
              <a:ext uri="{FF2B5EF4-FFF2-40B4-BE49-F238E27FC236}">
                <a16:creationId xmlns:a16="http://schemas.microsoft.com/office/drawing/2014/main" id="{DC58CAF9-DFDA-48C7-9C78-676CC51F5747}"/>
              </a:ext>
            </a:extLst>
          </p:cNvPr>
          <p:cNvSpPr txBox="1">
            <a:spLocks/>
          </p:cNvSpPr>
          <p:nvPr/>
        </p:nvSpPr>
        <p:spPr>
          <a:xfrm>
            <a:off x="6968242" y="3613779"/>
            <a:ext cx="1099455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Identify investors</a:t>
            </a:r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CAB01CAD-B6C8-4BB9-8E85-A3C0F4D497ED}"/>
              </a:ext>
            </a:extLst>
          </p:cNvPr>
          <p:cNvGrpSpPr/>
          <p:nvPr/>
        </p:nvGrpSpPr>
        <p:grpSpPr>
          <a:xfrm>
            <a:off x="6651689" y="3631495"/>
            <a:ext cx="258016" cy="258016"/>
            <a:chOff x="4179609" y="4343400"/>
            <a:chExt cx="466344" cy="466344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C6A1681C-6618-4295-A7B2-C6CAE92D0C42}"/>
                </a:ext>
              </a:extLst>
            </p:cNvPr>
            <p:cNvSpPr>
              <a:spLocks/>
            </p:cNvSpPr>
            <p:nvPr/>
          </p:nvSpPr>
          <p:spPr>
            <a:xfrm>
              <a:off x="4179609" y="4343400"/>
              <a:ext cx="466344" cy="466344"/>
            </a:xfrm>
            <a:prstGeom prst="ellipse">
              <a:avLst/>
            </a:prstGeom>
            <a:solidFill>
              <a:srgbClr val="182266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34" name="CustomIcon">
              <a:extLst>
                <a:ext uri="{FF2B5EF4-FFF2-40B4-BE49-F238E27FC236}">
                  <a16:creationId xmlns:a16="http://schemas.microsoft.com/office/drawing/2014/main" id="{61F0AD70-3E5B-40CD-869D-19D312ED0B9F}"/>
                </a:ext>
              </a:extLst>
            </p:cNvPr>
            <p:cNvPicPr>
              <a:picLocks/>
            </p:cNvPicPr>
            <p:nvPr>
              <p:custDataLst>
                <p:tags r:id="rId20"/>
              </p:custDataLst>
            </p:nvPr>
          </p:nvPicPr>
          <p:blipFill>
            <a:blip r:embed="rId43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4287639" y="4451430"/>
              <a:ext cx="250285" cy="250285"/>
            </a:xfrm>
            <a:prstGeom prst="rect">
              <a:avLst/>
            </a:prstGeom>
          </p:spPr>
        </p:pic>
      </p:grpSp>
      <p:sp>
        <p:nvSpPr>
          <p:cNvPr id="129" name="TextBox 128">
            <a:extLst>
              <a:ext uri="{FF2B5EF4-FFF2-40B4-BE49-F238E27FC236}">
                <a16:creationId xmlns:a16="http://schemas.microsoft.com/office/drawing/2014/main" id="{1FDB659D-A372-4E96-AEB0-6D6CDD71D2AA}"/>
              </a:ext>
            </a:extLst>
          </p:cNvPr>
          <p:cNvSpPr txBox="1">
            <a:spLocks/>
          </p:cNvSpPr>
          <p:nvPr/>
        </p:nvSpPr>
        <p:spPr>
          <a:xfrm>
            <a:off x="8652556" y="3597939"/>
            <a:ext cx="1180722" cy="36933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Capital structuring</a:t>
            </a:r>
          </a:p>
        </p:txBody>
      </p: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7E1BA8C0-5E1B-4023-A7A9-C3CCAB0FA8D8}"/>
              </a:ext>
            </a:extLst>
          </p:cNvPr>
          <p:cNvGrpSpPr/>
          <p:nvPr/>
        </p:nvGrpSpPr>
        <p:grpSpPr>
          <a:xfrm>
            <a:off x="8338231" y="3631495"/>
            <a:ext cx="258016" cy="258016"/>
            <a:chOff x="6286648" y="4343400"/>
            <a:chExt cx="466344" cy="466344"/>
          </a:xfrm>
        </p:grpSpPr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01C0BBDE-7EC2-484F-B6F9-DCE48E138AAD}"/>
                </a:ext>
              </a:extLst>
            </p:cNvPr>
            <p:cNvSpPr>
              <a:spLocks/>
            </p:cNvSpPr>
            <p:nvPr/>
          </p:nvSpPr>
          <p:spPr>
            <a:xfrm>
              <a:off x="6286648" y="4343400"/>
              <a:ext cx="466344" cy="466344"/>
            </a:xfrm>
            <a:prstGeom prst="ellipse">
              <a:avLst/>
            </a:prstGeom>
            <a:solidFill>
              <a:srgbClr val="182266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32" name="CustomIcon">
              <a:extLst>
                <a:ext uri="{FF2B5EF4-FFF2-40B4-BE49-F238E27FC236}">
                  <a16:creationId xmlns:a16="http://schemas.microsoft.com/office/drawing/2014/main" id="{5564782B-3302-4B45-BC67-ADD6BCA8204B}"/>
                </a:ext>
              </a:extLst>
            </p:cNvPr>
            <p:cNvPicPr>
              <a:picLocks/>
            </p:cNvPicPr>
            <p:nvPr>
              <p:custDataLst>
                <p:tags r:id="rId19"/>
              </p:custDataLst>
            </p:nvPr>
          </p:nvPicPr>
          <p:blipFill>
            <a:blip r:embed="rId45">
              <a:extLst>
                <a:ext uri="{96DAC541-7B7A-43D3-8B79-37D633B846F1}">
                  <asvg:svgBlip xmlns:asvg="http://schemas.microsoft.com/office/drawing/2016/SVG/main" r:embed="rId46"/>
                </a:ext>
              </a:extLst>
            </a:blip>
            <a:stretch>
              <a:fillRect/>
            </a:stretch>
          </p:blipFill>
          <p:spPr>
            <a:xfrm>
              <a:off x="6382163" y="4438915"/>
              <a:ext cx="275314" cy="275314"/>
            </a:xfrm>
            <a:prstGeom prst="rect">
              <a:avLst/>
            </a:prstGeom>
          </p:spPr>
        </p:pic>
      </p:grpSp>
      <p:sp>
        <p:nvSpPr>
          <p:cNvPr id="97" name="TextBox 96">
            <a:extLst>
              <a:ext uri="{FF2B5EF4-FFF2-40B4-BE49-F238E27FC236}">
                <a16:creationId xmlns:a16="http://schemas.microsoft.com/office/drawing/2014/main" id="{90EA7CE0-4D8E-44F7-962F-5EC1C9BD1E02}"/>
              </a:ext>
            </a:extLst>
          </p:cNvPr>
          <p:cNvSpPr txBox="1">
            <a:spLocks/>
          </p:cNvSpPr>
          <p:nvPr/>
        </p:nvSpPr>
        <p:spPr>
          <a:xfrm>
            <a:off x="5678004" y="2941993"/>
            <a:ext cx="106831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cs typeface="Arial" panose="020B0604020202020204" pitchFamily="34" charset="0"/>
              </a:rPr>
              <a:t>Financing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D097D298-6C49-4AA0-84B6-528B1A1E9EDB}"/>
              </a:ext>
            </a:extLst>
          </p:cNvPr>
          <p:cNvSpPr txBox="1">
            <a:spLocks/>
          </p:cNvSpPr>
          <p:nvPr/>
        </p:nvSpPr>
        <p:spPr>
          <a:xfrm>
            <a:off x="6966014" y="2941993"/>
            <a:ext cx="1180722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Develop investment memos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283F09B9-1F65-44F2-93B6-184E81210D13}"/>
              </a:ext>
            </a:extLst>
          </p:cNvPr>
          <p:cNvGrpSpPr/>
          <p:nvPr/>
        </p:nvGrpSpPr>
        <p:grpSpPr>
          <a:xfrm>
            <a:off x="6651689" y="2941993"/>
            <a:ext cx="258016" cy="258016"/>
            <a:chOff x="4179609" y="3810000"/>
            <a:chExt cx="466344" cy="466344"/>
          </a:xfrm>
        </p:grpSpPr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C25773BF-3D0D-4C8D-ADAF-BA41CA6B6E51}"/>
                </a:ext>
              </a:extLst>
            </p:cNvPr>
            <p:cNvSpPr>
              <a:spLocks/>
            </p:cNvSpPr>
            <p:nvPr/>
          </p:nvSpPr>
          <p:spPr>
            <a:xfrm>
              <a:off x="4179609" y="3810000"/>
              <a:ext cx="466344" cy="466344"/>
            </a:xfrm>
            <a:prstGeom prst="ellipse">
              <a:avLst/>
            </a:prstGeom>
            <a:solidFill>
              <a:srgbClr val="182266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51" name="CustomIcon">
              <a:extLst>
                <a:ext uri="{FF2B5EF4-FFF2-40B4-BE49-F238E27FC236}">
                  <a16:creationId xmlns:a16="http://schemas.microsoft.com/office/drawing/2014/main" id="{7C7FDF61-83C8-45BE-AD3D-D7E07DAAAD20}"/>
                </a:ext>
              </a:extLst>
            </p:cNvPr>
            <p:cNvPicPr>
              <a:picLocks/>
            </p:cNvPicPr>
            <p:nvPr>
              <p:custDataLst>
                <p:tags r:id="rId18"/>
              </p:custDataLst>
            </p:nvPr>
          </p:nvPicPr>
          <p:blipFill>
            <a:blip r:embed="rId47">
              <a:extLst>
                <a:ext uri="{96DAC541-7B7A-43D3-8B79-37D633B846F1}">
                  <asvg:svgBlip xmlns:asvg="http://schemas.microsoft.com/office/drawing/2016/SVG/main" r:embed="rId48"/>
                </a:ext>
              </a:extLst>
            </a:blip>
            <a:stretch>
              <a:fillRect/>
            </a:stretch>
          </p:blipFill>
          <p:spPr>
            <a:xfrm>
              <a:off x="4299015" y="3929406"/>
              <a:ext cx="227532" cy="227532"/>
            </a:xfrm>
            <a:prstGeom prst="rect">
              <a:avLst/>
            </a:prstGeom>
          </p:spPr>
        </p:pic>
      </p:grpSp>
      <p:sp>
        <p:nvSpPr>
          <p:cNvPr id="176" name="TextBox 175">
            <a:extLst>
              <a:ext uri="{FF2B5EF4-FFF2-40B4-BE49-F238E27FC236}">
                <a16:creationId xmlns:a16="http://schemas.microsoft.com/office/drawing/2014/main" id="{A2476722-93C3-4F80-A9E9-5F6E65895E34}"/>
              </a:ext>
            </a:extLst>
          </p:cNvPr>
          <p:cNvSpPr txBox="1">
            <a:spLocks/>
          </p:cNvSpPr>
          <p:nvPr/>
        </p:nvSpPr>
        <p:spPr>
          <a:xfrm>
            <a:off x="10431376" y="2941993"/>
            <a:ext cx="1180722" cy="36933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Enhance financial models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F5D14E5-2ACE-435A-A98D-FF1073B7E01F}"/>
              </a:ext>
            </a:extLst>
          </p:cNvPr>
          <p:cNvGrpSpPr/>
          <p:nvPr/>
        </p:nvGrpSpPr>
        <p:grpSpPr>
          <a:xfrm>
            <a:off x="10117051" y="2941993"/>
            <a:ext cx="258016" cy="258016"/>
            <a:chOff x="10433046" y="3332728"/>
            <a:chExt cx="258016" cy="258016"/>
          </a:xfrm>
        </p:grpSpPr>
        <p:sp>
          <p:nvSpPr>
            <p:cNvPr id="177" name="Oval 176">
              <a:extLst>
                <a:ext uri="{FF2B5EF4-FFF2-40B4-BE49-F238E27FC236}">
                  <a16:creationId xmlns:a16="http://schemas.microsoft.com/office/drawing/2014/main" id="{7612A06A-413E-4A40-A99D-347E48D52859}"/>
                </a:ext>
              </a:extLst>
            </p:cNvPr>
            <p:cNvSpPr>
              <a:spLocks/>
            </p:cNvSpPr>
            <p:nvPr/>
          </p:nvSpPr>
          <p:spPr>
            <a:xfrm>
              <a:off x="10433046" y="3332728"/>
              <a:ext cx="258016" cy="258016"/>
            </a:xfrm>
            <a:prstGeom prst="ellipse">
              <a:avLst/>
            </a:prstGeom>
            <a:solidFill>
              <a:srgbClr val="182266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78" name="CustomIcon">
              <a:extLst>
                <a:ext uri="{FF2B5EF4-FFF2-40B4-BE49-F238E27FC236}">
                  <a16:creationId xmlns:a16="http://schemas.microsoft.com/office/drawing/2014/main" id="{FAF91B7F-545B-48BA-AA21-7756B9646F24}"/>
                </a:ext>
              </a:extLst>
            </p:cNvPr>
            <p:cNvPicPr>
              <a:picLocks/>
            </p:cNvPicPr>
            <p:nvPr>
              <p:custDataLst>
                <p:tags r:id="rId17"/>
              </p:custDataLst>
            </p:nvPr>
          </p:nvPicPr>
          <p:blipFill>
            <a:blip r:embed="rId49">
              <a:extLst>
                <a:ext uri="{96DAC541-7B7A-43D3-8B79-37D633B846F1}">
                  <asvg:svgBlip xmlns:asvg="http://schemas.microsoft.com/office/drawing/2016/SVG/main" r:embed="rId50"/>
                </a:ext>
              </a:extLst>
            </a:blip>
            <a:stretch>
              <a:fillRect/>
            </a:stretch>
          </p:blipFill>
          <p:spPr>
            <a:xfrm>
              <a:off x="10492817" y="3392499"/>
              <a:ext cx="138476" cy="138476"/>
            </a:xfrm>
            <a:prstGeom prst="rect">
              <a:avLst/>
            </a:prstGeom>
          </p:spPr>
        </p:pic>
      </p:grpSp>
      <p:grpSp>
        <p:nvGrpSpPr>
          <p:cNvPr id="146" name="Group 145">
            <a:extLst>
              <a:ext uri="{FF2B5EF4-FFF2-40B4-BE49-F238E27FC236}">
                <a16:creationId xmlns:a16="http://schemas.microsoft.com/office/drawing/2014/main" id="{60FF286B-8EA9-4D52-BE02-6DD819407172}"/>
              </a:ext>
            </a:extLst>
          </p:cNvPr>
          <p:cNvGrpSpPr/>
          <p:nvPr/>
        </p:nvGrpSpPr>
        <p:grpSpPr>
          <a:xfrm>
            <a:off x="8338231" y="2941993"/>
            <a:ext cx="258016" cy="258016"/>
            <a:chOff x="6286648" y="3810000"/>
            <a:chExt cx="466344" cy="466344"/>
          </a:xfrm>
        </p:grpSpPr>
        <p:sp>
          <p:nvSpPr>
            <p:cNvPr id="152" name="Oval 151">
              <a:extLst>
                <a:ext uri="{FF2B5EF4-FFF2-40B4-BE49-F238E27FC236}">
                  <a16:creationId xmlns:a16="http://schemas.microsoft.com/office/drawing/2014/main" id="{615F17AF-2344-4E66-BB35-92E6B4149CD0}"/>
                </a:ext>
              </a:extLst>
            </p:cNvPr>
            <p:cNvSpPr>
              <a:spLocks/>
            </p:cNvSpPr>
            <p:nvPr/>
          </p:nvSpPr>
          <p:spPr>
            <a:xfrm>
              <a:off x="6286648" y="3810000"/>
              <a:ext cx="466344" cy="466344"/>
            </a:xfrm>
            <a:prstGeom prst="ellipse">
              <a:avLst/>
            </a:prstGeom>
            <a:solidFill>
              <a:srgbClr val="182266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53" name="CustomIcon">
              <a:extLst>
                <a:ext uri="{FF2B5EF4-FFF2-40B4-BE49-F238E27FC236}">
                  <a16:creationId xmlns:a16="http://schemas.microsoft.com/office/drawing/2014/main" id="{945EE005-4A3B-4365-8BEC-554408E51962}"/>
                </a:ext>
              </a:extLst>
            </p:cNvPr>
            <p:cNvPicPr>
              <a:picLocks/>
            </p:cNvPicPr>
            <p:nvPr>
              <p:custDataLst>
                <p:tags r:id="rId16"/>
              </p:custDataLst>
            </p:nvPr>
          </p:nvPicPr>
          <p:blipFill>
            <a:blip r:embed="rId51">
              <a:extLst>
                <a:ext uri="{96DAC541-7B7A-43D3-8B79-37D633B846F1}">
                  <asvg:svgBlip xmlns:asvg="http://schemas.microsoft.com/office/drawing/2016/SVG/main" r:embed="rId52"/>
                </a:ext>
              </a:extLst>
            </a:blip>
            <a:stretch>
              <a:fillRect/>
            </a:stretch>
          </p:blipFill>
          <p:spPr>
            <a:xfrm>
              <a:off x="6406054" y="3929406"/>
              <a:ext cx="227532" cy="227532"/>
            </a:xfrm>
            <a:prstGeom prst="rect">
              <a:avLst/>
            </a:prstGeom>
          </p:spPr>
        </p:pic>
      </p:grpSp>
      <p:sp>
        <p:nvSpPr>
          <p:cNvPr id="149" name="TextBox 148">
            <a:extLst>
              <a:ext uri="{FF2B5EF4-FFF2-40B4-BE49-F238E27FC236}">
                <a16:creationId xmlns:a16="http://schemas.microsoft.com/office/drawing/2014/main" id="{44F17BAF-7DEA-4E9C-9684-0A82396069C3}"/>
              </a:ext>
            </a:extLst>
          </p:cNvPr>
          <p:cNvSpPr txBox="1">
            <a:spLocks/>
          </p:cNvSpPr>
          <p:nvPr/>
        </p:nvSpPr>
        <p:spPr>
          <a:xfrm>
            <a:off x="8652555" y="2941993"/>
            <a:ext cx="1381653" cy="16047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Financial analysis and vendor assistance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AAB5CDD5-23F2-4A74-919C-59F4D3FE8A8F}"/>
              </a:ext>
            </a:extLst>
          </p:cNvPr>
          <p:cNvSpPr txBox="1">
            <a:spLocks/>
          </p:cNvSpPr>
          <p:nvPr/>
        </p:nvSpPr>
        <p:spPr>
          <a:xfrm>
            <a:off x="5678004" y="1613238"/>
            <a:ext cx="106831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cs typeface="Arial" panose="020B0604020202020204" pitchFamily="34" charset="0"/>
              </a:rPr>
              <a:t>Feasibility</a:t>
            </a: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2D40293F-2FA0-40C3-A1A7-FC5B270C8A86}"/>
              </a:ext>
            </a:extLst>
          </p:cNvPr>
          <p:cNvSpPr txBox="1">
            <a:spLocks/>
          </p:cNvSpPr>
          <p:nvPr/>
        </p:nvSpPr>
        <p:spPr>
          <a:xfrm>
            <a:off x="6966014" y="1579682"/>
            <a:ext cx="118072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Assess markets</a:t>
            </a:r>
          </a:p>
        </p:txBody>
      </p:sp>
      <p:grpSp>
        <p:nvGrpSpPr>
          <p:cNvPr id="160" name="Group 159">
            <a:extLst>
              <a:ext uri="{FF2B5EF4-FFF2-40B4-BE49-F238E27FC236}">
                <a16:creationId xmlns:a16="http://schemas.microsoft.com/office/drawing/2014/main" id="{FEFCBC9A-E853-4905-A4E5-28CAABEB4EE8}"/>
              </a:ext>
            </a:extLst>
          </p:cNvPr>
          <p:cNvGrpSpPr/>
          <p:nvPr/>
        </p:nvGrpSpPr>
        <p:grpSpPr>
          <a:xfrm>
            <a:off x="6651689" y="1579682"/>
            <a:ext cx="258016" cy="258017"/>
            <a:chOff x="4179609" y="2081216"/>
            <a:chExt cx="466344" cy="466344"/>
          </a:xfrm>
        </p:grpSpPr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2DDA98E0-5710-40F8-A816-19E43D963223}"/>
                </a:ext>
              </a:extLst>
            </p:cNvPr>
            <p:cNvSpPr>
              <a:spLocks/>
            </p:cNvSpPr>
            <p:nvPr/>
          </p:nvSpPr>
          <p:spPr>
            <a:xfrm>
              <a:off x="4179609" y="2081216"/>
              <a:ext cx="466344" cy="466344"/>
            </a:xfrm>
            <a:prstGeom prst="ellipse">
              <a:avLst/>
            </a:prstGeom>
            <a:solidFill>
              <a:srgbClr val="182266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67" name="CustomIcon">
              <a:extLst>
                <a:ext uri="{FF2B5EF4-FFF2-40B4-BE49-F238E27FC236}">
                  <a16:creationId xmlns:a16="http://schemas.microsoft.com/office/drawing/2014/main" id="{9D37BCF9-91A9-4BC7-9DBD-9B76B4E56D80}"/>
                </a:ext>
              </a:extLst>
            </p:cNvPr>
            <p:cNvPicPr>
              <a:picLocks/>
            </p:cNvPicPr>
            <p:nvPr>
              <p:custDataLst>
                <p:tags r:id="rId15"/>
              </p:custDataLst>
            </p:nvPr>
          </p:nvPicPr>
          <p:blipFill>
            <a:blip r:embed="rId53">
              <a:extLst>
                <a:ext uri="{96DAC541-7B7A-43D3-8B79-37D633B846F1}">
                  <asvg:svgBlip xmlns:asvg="http://schemas.microsoft.com/office/drawing/2016/SVG/main" r:embed="rId54"/>
                </a:ext>
              </a:extLst>
            </a:blip>
            <a:stretch>
              <a:fillRect/>
            </a:stretch>
          </p:blipFill>
          <p:spPr>
            <a:xfrm>
              <a:off x="4275124" y="2176731"/>
              <a:ext cx="275314" cy="275314"/>
            </a:xfrm>
            <a:prstGeom prst="rect">
              <a:avLst/>
            </a:prstGeom>
          </p:spPr>
        </p:pic>
      </p:grpSp>
      <p:sp>
        <p:nvSpPr>
          <p:cNvPr id="118" name="TextBox 117">
            <a:extLst>
              <a:ext uri="{FF2B5EF4-FFF2-40B4-BE49-F238E27FC236}">
                <a16:creationId xmlns:a16="http://schemas.microsoft.com/office/drawing/2014/main" id="{571C1851-4427-41FF-BB79-E314E43BCFE1}"/>
              </a:ext>
            </a:extLst>
          </p:cNvPr>
          <p:cNvSpPr txBox="1">
            <a:spLocks/>
          </p:cNvSpPr>
          <p:nvPr/>
        </p:nvSpPr>
        <p:spPr>
          <a:xfrm>
            <a:off x="10431376" y="1579682"/>
            <a:ext cx="1180722" cy="36933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Review business cases</a:t>
            </a:r>
          </a:p>
        </p:txBody>
      </p: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E0BE5D32-6066-42B5-B60F-83CDA905FCB3}"/>
              </a:ext>
            </a:extLst>
          </p:cNvPr>
          <p:cNvGrpSpPr/>
          <p:nvPr/>
        </p:nvGrpSpPr>
        <p:grpSpPr>
          <a:xfrm>
            <a:off x="10117051" y="1579682"/>
            <a:ext cx="258016" cy="258016"/>
            <a:chOff x="7938171" y="2010509"/>
            <a:chExt cx="466344" cy="466344"/>
          </a:xfrm>
        </p:grpSpPr>
        <p:sp>
          <p:nvSpPr>
            <p:cNvPr id="123" name="Oval 122">
              <a:extLst>
                <a:ext uri="{FF2B5EF4-FFF2-40B4-BE49-F238E27FC236}">
                  <a16:creationId xmlns:a16="http://schemas.microsoft.com/office/drawing/2014/main" id="{ECA7E119-94D2-4696-8E26-911365BFE644}"/>
                </a:ext>
              </a:extLst>
            </p:cNvPr>
            <p:cNvSpPr>
              <a:spLocks/>
            </p:cNvSpPr>
            <p:nvPr/>
          </p:nvSpPr>
          <p:spPr>
            <a:xfrm>
              <a:off x="7938171" y="2010509"/>
              <a:ext cx="466344" cy="466344"/>
            </a:xfrm>
            <a:prstGeom prst="ellipse">
              <a:avLst/>
            </a:prstGeom>
            <a:solidFill>
              <a:srgbClr val="182266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24" name="CustomIcon">
              <a:extLst>
                <a:ext uri="{FF2B5EF4-FFF2-40B4-BE49-F238E27FC236}">
                  <a16:creationId xmlns:a16="http://schemas.microsoft.com/office/drawing/2014/main" id="{13A34C8A-2354-4F50-A2F6-5E3E1700BD39}"/>
                </a:ext>
              </a:extLst>
            </p:cNvPr>
            <p:cNvPicPr>
              <a:picLocks/>
            </p:cNvPicPr>
            <p:nvPr>
              <p:custDataLst>
                <p:tags r:id="rId14"/>
              </p:custDataLst>
            </p:nvPr>
          </p:nvPicPr>
          <p:blipFill>
            <a:blip r:embed="rId55">
              <a:extLst>
                <a:ext uri="{96DAC541-7B7A-43D3-8B79-37D633B846F1}">
                  <asvg:svgBlip xmlns:asvg="http://schemas.microsoft.com/office/drawing/2016/SVG/main" r:embed="rId56"/>
                </a:ext>
              </a:extLst>
            </a:blip>
            <a:stretch>
              <a:fillRect/>
            </a:stretch>
          </p:blipFill>
          <p:spPr>
            <a:xfrm>
              <a:off x="8033682" y="2106024"/>
              <a:ext cx="275314" cy="275314"/>
            </a:xfrm>
            <a:prstGeom prst="rect">
              <a:avLst/>
            </a:prstGeom>
          </p:spPr>
        </p:pic>
      </p:grpSp>
      <p:sp>
        <p:nvSpPr>
          <p:cNvPr id="162" name="TextBox 161">
            <a:extLst>
              <a:ext uri="{FF2B5EF4-FFF2-40B4-BE49-F238E27FC236}">
                <a16:creationId xmlns:a16="http://schemas.microsoft.com/office/drawing/2014/main" id="{FABEDC2C-DE9E-4F74-93D7-9E43F773A472}"/>
              </a:ext>
            </a:extLst>
          </p:cNvPr>
          <p:cNvSpPr txBox="1">
            <a:spLocks/>
          </p:cNvSpPr>
          <p:nvPr/>
        </p:nvSpPr>
        <p:spPr>
          <a:xfrm>
            <a:off x="8644167" y="1579682"/>
            <a:ext cx="1180722" cy="36933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Commercial review</a:t>
            </a:r>
          </a:p>
        </p:txBody>
      </p: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2F7D30E2-91BD-44BA-BB39-72506C2E7B3D}"/>
              </a:ext>
            </a:extLst>
          </p:cNvPr>
          <p:cNvGrpSpPr/>
          <p:nvPr/>
        </p:nvGrpSpPr>
        <p:grpSpPr>
          <a:xfrm>
            <a:off x="8329842" y="1579682"/>
            <a:ext cx="258016" cy="258016"/>
            <a:chOff x="6292059" y="2035622"/>
            <a:chExt cx="466344" cy="466344"/>
          </a:xfrm>
        </p:grpSpPr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4AF0D249-53C9-4284-B588-727A12748F49}"/>
                </a:ext>
              </a:extLst>
            </p:cNvPr>
            <p:cNvSpPr>
              <a:spLocks/>
            </p:cNvSpPr>
            <p:nvPr/>
          </p:nvSpPr>
          <p:spPr>
            <a:xfrm>
              <a:off x="6292059" y="2035622"/>
              <a:ext cx="466344" cy="466344"/>
            </a:xfrm>
            <a:prstGeom prst="ellipse">
              <a:avLst/>
            </a:prstGeom>
            <a:solidFill>
              <a:srgbClr val="182266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65" name="CustomIcon">
              <a:extLst>
                <a:ext uri="{FF2B5EF4-FFF2-40B4-BE49-F238E27FC236}">
                  <a16:creationId xmlns:a16="http://schemas.microsoft.com/office/drawing/2014/main" id="{84A979E9-89F7-44B0-BCA1-135A03D9BC3A}"/>
                </a:ext>
              </a:extLst>
            </p:cNvPr>
            <p:cNvPicPr>
              <a:picLocks/>
            </p:cNvPicPr>
            <p:nvPr>
              <p:custDataLst>
                <p:tags r:id="rId13"/>
              </p:custDataLst>
            </p:nvPr>
          </p:nvPicPr>
          <p:blipFill>
            <a:blip r:embed="rId57">
              <a:extLst>
                <a:ext uri="{96DAC541-7B7A-43D3-8B79-37D633B846F1}">
                  <asvg:svgBlip xmlns:asvg="http://schemas.microsoft.com/office/drawing/2016/SVG/main" r:embed="rId58"/>
                </a:ext>
              </a:extLst>
            </a:blip>
            <a:stretch>
              <a:fillRect/>
            </a:stretch>
          </p:blipFill>
          <p:spPr>
            <a:xfrm>
              <a:off x="6394678" y="2143652"/>
              <a:ext cx="250285" cy="250285"/>
            </a:xfrm>
            <a:prstGeom prst="rect">
              <a:avLst/>
            </a:prstGeom>
          </p:spPr>
        </p:pic>
      </p:grpSp>
      <p:sp>
        <p:nvSpPr>
          <p:cNvPr id="106" name="TextBox 105">
            <a:extLst>
              <a:ext uri="{FF2B5EF4-FFF2-40B4-BE49-F238E27FC236}">
                <a16:creationId xmlns:a16="http://schemas.microsoft.com/office/drawing/2014/main" id="{42172BD2-9428-428C-9B30-772768247E3C}"/>
              </a:ext>
            </a:extLst>
          </p:cNvPr>
          <p:cNvSpPr txBox="1">
            <a:spLocks/>
          </p:cNvSpPr>
          <p:nvPr/>
        </p:nvSpPr>
        <p:spPr>
          <a:xfrm>
            <a:off x="5678004" y="4280224"/>
            <a:ext cx="106831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cs typeface="Arial" panose="020B0604020202020204" pitchFamily="34" charset="0"/>
              </a:rPr>
              <a:t>Operational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91CEE12F-8E5D-458F-9973-195C43ADFBDE}"/>
              </a:ext>
            </a:extLst>
          </p:cNvPr>
          <p:cNvSpPr txBox="1">
            <a:spLocks/>
          </p:cNvSpPr>
          <p:nvPr/>
        </p:nvSpPr>
        <p:spPr>
          <a:xfrm>
            <a:off x="6966014" y="4280224"/>
            <a:ext cx="118072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Facilitate linkages e.g. identify suppliers and off-takers</a:t>
            </a:r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72D6F7BB-3A69-484C-A6C3-3BDABE82F445}"/>
              </a:ext>
            </a:extLst>
          </p:cNvPr>
          <p:cNvGrpSpPr/>
          <p:nvPr/>
        </p:nvGrpSpPr>
        <p:grpSpPr>
          <a:xfrm>
            <a:off x="6651689" y="4280224"/>
            <a:ext cx="258016" cy="258016"/>
            <a:chOff x="4191826" y="5544881"/>
            <a:chExt cx="466344" cy="466344"/>
          </a:xfrm>
        </p:grpSpPr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07F3C9D8-8F1E-4F41-B991-39FC7F5616DA}"/>
                </a:ext>
              </a:extLst>
            </p:cNvPr>
            <p:cNvSpPr>
              <a:spLocks/>
            </p:cNvSpPr>
            <p:nvPr/>
          </p:nvSpPr>
          <p:spPr>
            <a:xfrm>
              <a:off x="4191826" y="5544881"/>
              <a:ext cx="466344" cy="466344"/>
            </a:xfrm>
            <a:prstGeom prst="ellipse">
              <a:avLst/>
            </a:prstGeom>
            <a:solidFill>
              <a:srgbClr val="182266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57" name="CustomIcon">
              <a:extLst>
                <a:ext uri="{FF2B5EF4-FFF2-40B4-BE49-F238E27FC236}">
                  <a16:creationId xmlns:a16="http://schemas.microsoft.com/office/drawing/2014/main" id="{56A89FC5-DB79-4A1F-BAB2-6DAE0B42300E}"/>
                </a:ext>
              </a:extLst>
            </p:cNvPr>
            <p:cNvPicPr>
              <a:picLocks/>
            </p:cNvPicPr>
            <p:nvPr>
              <p:custDataLst>
                <p:tags r:id="rId12"/>
              </p:custDataLst>
            </p:nvPr>
          </p:nvPicPr>
          <p:blipFill>
            <a:blip r:embed="rId59">
              <a:extLst>
                <a:ext uri="{96DAC541-7B7A-43D3-8B79-37D633B846F1}">
                  <asvg:svgBlip xmlns:asvg="http://schemas.microsoft.com/office/drawing/2016/SVG/main" r:embed="rId60"/>
                </a:ext>
              </a:extLst>
            </a:blip>
            <a:stretch>
              <a:fillRect/>
            </a:stretch>
          </p:blipFill>
          <p:spPr>
            <a:xfrm>
              <a:off x="4290287" y="5642057"/>
              <a:ext cx="275314" cy="275314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27C4A11-1564-44E0-993D-80091C7AFAF5}"/>
              </a:ext>
            </a:extLst>
          </p:cNvPr>
          <p:cNvGrpSpPr/>
          <p:nvPr/>
        </p:nvGrpSpPr>
        <p:grpSpPr>
          <a:xfrm>
            <a:off x="6651689" y="5390567"/>
            <a:ext cx="258017" cy="258016"/>
            <a:chOff x="7904008" y="5484298"/>
            <a:chExt cx="258017" cy="258016"/>
          </a:xfrm>
        </p:grpSpPr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C0B8F3BD-DEDC-419B-A983-126704502013}"/>
                </a:ext>
              </a:extLst>
            </p:cNvPr>
            <p:cNvSpPr>
              <a:spLocks/>
            </p:cNvSpPr>
            <p:nvPr/>
          </p:nvSpPr>
          <p:spPr>
            <a:xfrm>
              <a:off x="7904008" y="5484298"/>
              <a:ext cx="258017" cy="258016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80" name="CustomIcon">
              <a:extLst>
                <a:ext uri="{FF2B5EF4-FFF2-40B4-BE49-F238E27FC236}">
                  <a16:creationId xmlns:a16="http://schemas.microsoft.com/office/drawing/2014/main" id="{E9F0F708-B047-43E2-8CAF-24284E6C7822}"/>
                </a:ext>
              </a:extLst>
            </p:cNvPr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61">
              <a:extLst>
                <a:ext uri="{96DAC541-7B7A-43D3-8B79-37D633B846F1}">
                  <asvg:svgBlip xmlns:asvg="http://schemas.microsoft.com/office/drawing/2016/SVG/main" r:embed="rId62"/>
                </a:ext>
              </a:extLst>
            </a:blip>
            <a:stretch>
              <a:fillRect/>
            </a:stretch>
          </p:blipFill>
          <p:spPr>
            <a:xfrm>
              <a:off x="7943274" y="5529978"/>
              <a:ext cx="168490" cy="168490"/>
            </a:xfrm>
            <a:prstGeom prst="rect">
              <a:avLst/>
            </a:prstGeom>
          </p:spPr>
        </p:pic>
      </p:grpSp>
      <p:sp>
        <p:nvSpPr>
          <p:cNvPr id="181" name="TextBox 180">
            <a:extLst>
              <a:ext uri="{FF2B5EF4-FFF2-40B4-BE49-F238E27FC236}">
                <a16:creationId xmlns:a16="http://schemas.microsoft.com/office/drawing/2014/main" id="{D60C8784-6DF4-46EB-B7AE-DB9766C8D074}"/>
              </a:ext>
            </a:extLst>
          </p:cNvPr>
          <p:cNvSpPr txBox="1">
            <a:spLocks/>
          </p:cNvSpPr>
          <p:nvPr/>
        </p:nvSpPr>
        <p:spPr>
          <a:xfrm>
            <a:off x="6966014" y="5390567"/>
            <a:ext cx="1180722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Providing advice on governance structures and processe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C297BC1-414C-4D75-AFCD-743869132072}"/>
              </a:ext>
            </a:extLst>
          </p:cNvPr>
          <p:cNvGrpSpPr/>
          <p:nvPr/>
        </p:nvGrpSpPr>
        <p:grpSpPr>
          <a:xfrm>
            <a:off x="8341726" y="2266258"/>
            <a:ext cx="258016" cy="258016"/>
            <a:chOff x="9174848" y="5473174"/>
            <a:chExt cx="258016" cy="258016"/>
          </a:xfrm>
        </p:grpSpPr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20470ADC-B713-4C4E-A9DB-CBC8A9776BAB}"/>
                </a:ext>
              </a:extLst>
            </p:cNvPr>
            <p:cNvSpPr>
              <a:spLocks/>
            </p:cNvSpPr>
            <p:nvPr/>
          </p:nvSpPr>
          <p:spPr>
            <a:xfrm>
              <a:off x="9174848" y="5473174"/>
              <a:ext cx="258016" cy="258016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84" name="CustomIcon">
              <a:extLst>
                <a:ext uri="{FF2B5EF4-FFF2-40B4-BE49-F238E27FC236}">
                  <a16:creationId xmlns:a16="http://schemas.microsoft.com/office/drawing/2014/main" id="{3F4FF654-DEEF-4467-91A2-0F9E0E9CD8F3}"/>
                </a:ext>
              </a:extLst>
            </p:cNvPr>
            <p:cNvPicPr>
              <a:picLocks/>
            </p:cNvPicPr>
            <p:nvPr>
              <p:custDataLst>
                <p:tags r:id="rId10"/>
              </p:custDataLst>
            </p:nvPr>
          </p:nvPicPr>
          <p:blipFill>
            <a:blip r:embed="rId59">
              <a:extLst>
                <a:ext uri="{96DAC541-7B7A-43D3-8B79-37D633B846F1}">
                  <asvg:svgBlip xmlns:asvg="http://schemas.microsoft.com/office/drawing/2016/SVG/main" r:embed="rId63"/>
                </a:ext>
              </a:extLst>
            </a:blip>
            <a:stretch>
              <a:fillRect/>
            </a:stretch>
          </p:blipFill>
          <p:spPr>
            <a:xfrm>
              <a:off x="9227694" y="5526020"/>
              <a:ext cx="152324" cy="152324"/>
            </a:xfrm>
            <a:prstGeom prst="rect">
              <a:avLst/>
            </a:prstGeom>
          </p:spPr>
        </p:pic>
      </p:grpSp>
      <p:sp>
        <p:nvSpPr>
          <p:cNvPr id="113" name="Sticker">
            <a:extLst>
              <a:ext uri="{FF2B5EF4-FFF2-40B4-BE49-F238E27FC236}">
                <a16:creationId xmlns:a16="http://schemas.microsoft.com/office/drawing/2014/main" id="{4AD91A22-74F2-42D0-ABAF-AA141278F160}"/>
              </a:ext>
            </a:extLst>
          </p:cNvPr>
          <p:cNvSpPr txBox="1"/>
          <p:nvPr/>
        </p:nvSpPr>
        <p:spPr>
          <a:xfrm>
            <a:off x="10718744" y="1193457"/>
            <a:ext cx="918521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GB" dirty="0"/>
              <a:t>Non-exhaustive</a:t>
            </a:r>
          </a:p>
        </p:txBody>
      </p: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2C263242-350A-4CE3-9942-449CDE7E2183}"/>
              </a:ext>
            </a:extLst>
          </p:cNvPr>
          <p:cNvCxnSpPr>
            <a:cxnSpLocks/>
          </p:cNvCxnSpPr>
          <p:nvPr/>
        </p:nvCxnSpPr>
        <p:spPr>
          <a:xfrm>
            <a:off x="5661226" y="4144720"/>
            <a:ext cx="5976039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B8A093D5-D2F6-4842-B8ED-B1FCE1F8EE63}"/>
              </a:ext>
            </a:extLst>
          </p:cNvPr>
          <p:cNvCxnSpPr>
            <a:cxnSpLocks/>
          </p:cNvCxnSpPr>
          <p:nvPr/>
        </p:nvCxnSpPr>
        <p:spPr>
          <a:xfrm>
            <a:off x="5661226" y="2747766"/>
            <a:ext cx="5976039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296E534B-0123-46DB-AADC-30BAE3B07578}"/>
              </a:ext>
            </a:extLst>
          </p:cNvPr>
          <p:cNvCxnSpPr>
            <a:cxnSpLocks/>
          </p:cNvCxnSpPr>
          <p:nvPr/>
        </p:nvCxnSpPr>
        <p:spPr>
          <a:xfrm>
            <a:off x="5661226" y="2076129"/>
            <a:ext cx="5976039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1. On-page tracker">
            <a:extLst>
              <a:ext uri="{FF2B5EF4-FFF2-40B4-BE49-F238E27FC236}">
                <a16:creationId xmlns:a16="http://schemas.microsoft.com/office/drawing/2014/main" id="{DFB5660D-8FBD-48FE-8B48-E5ABB50C5CF6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7"/>
            </p:custDataLst>
          </p:nvPr>
        </p:nvSpPr>
        <p:spPr>
          <a:xfrm>
            <a:off x="554735" y="41597"/>
            <a:ext cx="3843338" cy="323165"/>
          </a:xfrm>
        </p:spPr>
        <p:txBody>
          <a:bodyPr/>
          <a:lstStyle/>
          <a:p>
            <a:r>
              <a:rPr lang="en-GB"/>
              <a:t>TRANSACTION FACILITATION</a:t>
            </a:r>
          </a:p>
          <a:p>
            <a:endParaRPr lang="en-GB" dirty="0"/>
          </a:p>
        </p:txBody>
      </p:sp>
      <p:sp>
        <p:nvSpPr>
          <p:cNvPr id="125" name="Oval 124">
            <a:extLst>
              <a:ext uri="{FF2B5EF4-FFF2-40B4-BE49-F238E27FC236}">
                <a16:creationId xmlns:a16="http://schemas.microsoft.com/office/drawing/2014/main" id="{039960E0-02FF-485E-B7AD-CB6F093916FD}"/>
              </a:ext>
            </a:extLst>
          </p:cNvPr>
          <p:cNvSpPr>
            <a:spLocks/>
          </p:cNvSpPr>
          <p:nvPr/>
        </p:nvSpPr>
        <p:spPr>
          <a:xfrm>
            <a:off x="632190" y="5531416"/>
            <a:ext cx="542912" cy="530749"/>
          </a:xfrm>
          <a:prstGeom prst="ellipse">
            <a:avLst/>
          </a:prstGeom>
          <a:solidFill>
            <a:srgbClr val="182266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27" name="Graphic 126">
            <a:extLst>
              <a:ext uri="{FF2B5EF4-FFF2-40B4-BE49-F238E27FC236}">
                <a16:creationId xmlns:a16="http://schemas.microsoft.com/office/drawing/2014/main" id="{3AF88A2F-8419-4232-8867-7F42AAEA88AC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698803" y="5621846"/>
            <a:ext cx="383937" cy="349887"/>
          </a:xfrm>
          <a:prstGeom prst="rect">
            <a:avLst/>
          </a:prstGeom>
        </p:spPr>
      </p:pic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544C6BDD-E420-4D4A-BF8D-4318549A2451}"/>
              </a:ext>
            </a:extLst>
          </p:cNvPr>
          <p:cNvCxnSpPr>
            <a:cxnSpLocks/>
          </p:cNvCxnSpPr>
          <p:nvPr/>
        </p:nvCxnSpPr>
        <p:spPr>
          <a:xfrm>
            <a:off x="632190" y="5406494"/>
            <a:ext cx="2314914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TextBox 142">
            <a:extLst>
              <a:ext uri="{FF2B5EF4-FFF2-40B4-BE49-F238E27FC236}">
                <a16:creationId xmlns:a16="http://schemas.microsoft.com/office/drawing/2014/main" id="{14766BBD-55EA-4898-A4FB-F5BDF201D913}"/>
              </a:ext>
            </a:extLst>
          </p:cNvPr>
          <p:cNvSpPr txBox="1">
            <a:spLocks/>
          </p:cNvSpPr>
          <p:nvPr/>
        </p:nvSpPr>
        <p:spPr>
          <a:xfrm>
            <a:off x="1261559" y="5552119"/>
            <a:ext cx="161904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Development impac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upport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o enhance ESG impact on local economies</a:t>
            </a:r>
          </a:p>
        </p:txBody>
      </p:sp>
      <p:sp>
        <p:nvSpPr>
          <p:cNvPr id="144" name="TextBox 143">
            <a:extLst>
              <a:ext uri="{FF2B5EF4-FFF2-40B4-BE49-F238E27FC236}">
                <a16:creationId xmlns:a16="http://schemas.microsoft.com/office/drawing/2014/main" id="{FF1C44C3-5833-451B-81F3-4AA3D35889AF}"/>
              </a:ext>
            </a:extLst>
          </p:cNvPr>
          <p:cNvSpPr txBox="1"/>
          <p:nvPr/>
        </p:nvSpPr>
        <p:spPr>
          <a:xfrm>
            <a:off x="8558074" y="2195512"/>
            <a:ext cx="1874051" cy="46166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Support stakeholder engagement</a:t>
            </a:r>
            <a:endParaRPr lang="en-GB" sz="1200" dirty="0"/>
          </a:p>
        </p:txBody>
      </p:sp>
      <p:sp>
        <p:nvSpPr>
          <p:cNvPr id="161" name="TextBox 160">
            <a:extLst>
              <a:ext uri="{FF2B5EF4-FFF2-40B4-BE49-F238E27FC236}">
                <a16:creationId xmlns:a16="http://schemas.microsoft.com/office/drawing/2014/main" id="{03E09C00-8AE1-40FD-A5BB-58451141D021}"/>
              </a:ext>
            </a:extLst>
          </p:cNvPr>
          <p:cNvSpPr txBox="1">
            <a:spLocks/>
          </p:cNvSpPr>
          <p:nvPr/>
        </p:nvSpPr>
        <p:spPr>
          <a:xfrm>
            <a:off x="3841416" y="3081507"/>
            <a:ext cx="1619048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</a:pPr>
            <a:r>
              <a:rPr lang="en-GB" sz="1200" b="1" dirty="0">
                <a:solidFill>
                  <a:schemeClr val="accent1"/>
                </a:solidFill>
                <a:cs typeface="+mn-cs"/>
              </a:rPr>
              <a:t>International MNC</a:t>
            </a: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853025FB-11F9-45BE-B77F-AD0AF4C93E7E}"/>
              </a:ext>
            </a:extLst>
          </p:cNvPr>
          <p:cNvSpPr>
            <a:spLocks/>
          </p:cNvSpPr>
          <p:nvPr/>
        </p:nvSpPr>
        <p:spPr>
          <a:xfrm>
            <a:off x="3147355" y="2889106"/>
            <a:ext cx="603504" cy="605341"/>
          </a:xfrm>
          <a:prstGeom prst="ellipse">
            <a:avLst/>
          </a:pr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8" name="TextBox 187">
            <a:extLst>
              <a:ext uri="{FF2B5EF4-FFF2-40B4-BE49-F238E27FC236}">
                <a16:creationId xmlns:a16="http://schemas.microsoft.com/office/drawing/2014/main" id="{8927C32C-DFC2-4573-8B20-4AC971438A04}"/>
              </a:ext>
            </a:extLst>
          </p:cNvPr>
          <p:cNvSpPr txBox="1">
            <a:spLocks/>
          </p:cNvSpPr>
          <p:nvPr/>
        </p:nvSpPr>
        <p:spPr>
          <a:xfrm>
            <a:off x="3826022" y="5558666"/>
            <a:ext cx="1619048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</a:pPr>
            <a:r>
              <a:rPr lang="en-GB" sz="1200" b="1" dirty="0">
                <a:solidFill>
                  <a:schemeClr val="accent1"/>
                </a:solidFill>
                <a:cs typeface="+mn-cs"/>
              </a:rPr>
              <a:t>Industrial parks and manufacturing enablers</a:t>
            </a:r>
          </a:p>
        </p:txBody>
      </p: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DF17A375-F88E-435F-9A41-53AFBE73BC11}"/>
              </a:ext>
            </a:extLst>
          </p:cNvPr>
          <p:cNvCxnSpPr>
            <a:cxnSpLocks/>
          </p:cNvCxnSpPr>
          <p:nvPr/>
        </p:nvCxnSpPr>
        <p:spPr>
          <a:xfrm>
            <a:off x="3130156" y="2745392"/>
            <a:ext cx="2314914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" name="TextBox 189">
            <a:extLst>
              <a:ext uri="{FF2B5EF4-FFF2-40B4-BE49-F238E27FC236}">
                <a16:creationId xmlns:a16="http://schemas.microsoft.com/office/drawing/2014/main" id="{9F2B3E5B-B09B-4994-BFB8-3B3B128E4FC4}"/>
              </a:ext>
            </a:extLst>
          </p:cNvPr>
          <p:cNvSpPr txBox="1">
            <a:spLocks/>
          </p:cNvSpPr>
          <p:nvPr/>
        </p:nvSpPr>
        <p:spPr>
          <a:xfrm>
            <a:off x="8656117" y="4266881"/>
            <a:ext cx="1164644" cy="73866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ESG gap analysis and minimum policy adherence</a:t>
            </a:r>
          </a:p>
        </p:txBody>
      </p:sp>
      <p:sp>
        <p:nvSpPr>
          <p:cNvPr id="191" name="Oval 190">
            <a:extLst>
              <a:ext uri="{FF2B5EF4-FFF2-40B4-BE49-F238E27FC236}">
                <a16:creationId xmlns:a16="http://schemas.microsoft.com/office/drawing/2014/main" id="{7DE64A74-2ABC-43A2-84B4-15C04EDF4FDC}"/>
              </a:ext>
            </a:extLst>
          </p:cNvPr>
          <p:cNvSpPr>
            <a:spLocks/>
          </p:cNvSpPr>
          <p:nvPr/>
        </p:nvSpPr>
        <p:spPr>
          <a:xfrm>
            <a:off x="8341790" y="4276611"/>
            <a:ext cx="258016" cy="258017"/>
          </a:xfrm>
          <a:prstGeom prst="ellipse">
            <a:avLst/>
          </a:prstGeom>
          <a:solidFill>
            <a:srgbClr val="182266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93" name="CustomIcon">
            <a:extLst>
              <a:ext uri="{FF2B5EF4-FFF2-40B4-BE49-F238E27FC236}">
                <a16:creationId xmlns:a16="http://schemas.microsoft.com/office/drawing/2014/main" id="{470C7466-1E75-4A2B-BBC7-BD3BA72622C3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66">
            <a:extLst>
              <a:ext uri="{96DAC541-7B7A-43D3-8B79-37D633B846F1}">
                <asvg:svgBlip xmlns:asvg="http://schemas.microsoft.com/office/drawing/2016/SVG/main" r:embed="rId67"/>
              </a:ext>
            </a:extLst>
          </a:blip>
          <a:stretch>
            <a:fillRect/>
          </a:stretch>
        </p:blipFill>
        <p:spPr>
          <a:xfrm>
            <a:off x="8391956" y="4308801"/>
            <a:ext cx="175159" cy="172142"/>
          </a:xfrm>
          <a:prstGeom prst="rect">
            <a:avLst/>
          </a:prstGeom>
        </p:spPr>
      </p:pic>
      <p:sp>
        <p:nvSpPr>
          <p:cNvPr id="194" name="TextBox 193">
            <a:extLst>
              <a:ext uri="{FF2B5EF4-FFF2-40B4-BE49-F238E27FC236}">
                <a16:creationId xmlns:a16="http://schemas.microsoft.com/office/drawing/2014/main" id="{95E9463E-FB44-4DF7-87A9-3B79B1964287}"/>
              </a:ext>
            </a:extLst>
          </p:cNvPr>
          <p:cNvSpPr txBox="1">
            <a:spLocks/>
          </p:cNvSpPr>
          <p:nvPr/>
        </p:nvSpPr>
        <p:spPr>
          <a:xfrm>
            <a:off x="8689574" y="5392494"/>
            <a:ext cx="1180722" cy="36933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High level 100 day plan support</a:t>
            </a:r>
          </a:p>
        </p:txBody>
      </p:sp>
      <p:grpSp>
        <p:nvGrpSpPr>
          <p:cNvPr id="195" name="Group 194">
            <a:extLst>
              <a:ext uri="{FF2B5EF4-FFF2-40B4-BE49-F238E27FC236}">
                <a16:creationId xmlns:a16="http://schemas.microsoft.com/office/drawing/2014/main" id="{919D5BA0-CB79-438B-A356-00DA33B685B7}"/>
              </a:ext>
            </a:extLst>
          </p:cNvPr>
          <p:cNvGrpSpPr/>
          <p:nvPr/>
        </p:nvGrpSpPr>
        <p:grpSpPr>
          <a:xfrm>
            <a:off x="8375249" y="5392494"/>
            <a:ext cx="258016" cy="258017"/>
            <a:chOff x="9129685" y="4553211"/>
            <a:chExt cx="258016" cy="258017"/>
          </a:xfrm>
        </p:grpSpPr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F8D40FED-E7FA-49D3-B2D7-FC2CA96916F2}"/>
                </a:ext>
              </a:extLst>
            </p:cNvPr>
            <p:cNvSpPr>
              <a:spLocks/>
            </p:cNvSpPr>
            <p:nvPr/>
          </p:nvSpPr>
          <p:spPr>
            <a:xfrm>
              <a:off x="9129685" y="4553211"/>
              <a:ext cx="258016" cy="258017"/>
            </a:xfrm>
            <a:prstGeom prst="ellipse">
              <a:avLst/>
            </a:prstGeom>
            <a:solidFill>
              <a:srgbClr val="182266"/>
            </a:solidFill>
            <a:ln w="6350" cap="sq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97" name="Freeform 94">
              <a:extLst>
                <a:ext uri="{FF2B5EF4-FFF2-40B4-BE49-F238E27FC236}">
                  <a16:creationId xmlns:a16="http://schemas.microsoft.com/office/drawing/2014/main" id="{32488D7E-873E-477C-A4EE-A14735131EC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158070" y="4584840"/>
              <a:ext cx="174680" cy="194886"/>
            </a:xfrm>
            <a:custGeom>
              <a:avLst/>
              <a:gdLst>
                <a:gd name="T0" fmla="*/ 23 w 113"/>
                <a:gd name="T1" fmla="*/ 20 h 126"/>
                <a:gd name="T2" fmla="*/ 90 w 113"/>
                <a:gd name="T3" fmla="*/ 22 h 126"/>
                <a:gd name="T4" fmla="*/ 101 w 113"/>
                <a:gd name="T5" fmla="*/ 30 h 126"/>
                <a:gd name="T6" fmla="*/ 13 w 113"/>
                <a:gd name="T7" fmla="*/ 30 h 126"/>
                <a:gd name="T8" fmla="*/ 23 w 113"/>
                <a:gd name="T9" fmla="*/ 22 h 126"/>
                <a:gd name="T10" fmla="*/ 105 w 113"/>
                <a:gd name="T11" fmla="*/ 55 h 126"/>
                <a:gd name="T12" fmla="*/ 104 w 113"/>
                <a:gd name="T13" fmla="*/ 41 h 126"/>
                <a:gd name="T14" fmla="*/ 92 w 113"/>
                <a:gd name="T15" fmla="*/ 39 h 126"/>
                <a:gd name="T16" fmla="*/ 69 w 113"/>
                <a:gd name="T17" fmla="*/ 54 h 126"/>
                <a:gd name="T18" fmla="*/ 63 w 113"/>
                <a:gd name="T19" fmla="*/ 53 h 126"/>
                <a:gd name="T20" fmla="*/ 57 w 113"/>
                <a:gd name="T21" fmla="*/ 47 h 126"/>
                <a:gd name="T22" fmla="*/ 50 w 113"/>
                <a:gd name="T23" fmla="*/ 53 h 126"/>
                <a:gd name="T24" fmla="*/ 28 w 113"/>
                <a:gd name="T25" fmla="*/ 50 h 126"/>
                <a:gd name="T26" fmla="*/ 22 w 113"/>
                <a:gd name="T27" fmla="*/ 38 h 126"/>
                <a:gd name="T28" fmla="*/ 9 w 113"/>
                <a:gd name="T29" fmla="*/ 51 h 126"/>
                <a:gd name="T30" fmla="*/ 0 w 113"/>
                <a:gd name="T31" fmla="*/ 61 h 126"/>
                <a:gd name="T32" fmla="*/ 14 w 113"/>
                <a:gd name="T33" fmla="*/ 67 h 126"/>
                <a:gd name="T34" fmla="*/ 22 w 113"/>
                <a:gd name="T35" fmla="*/ 93 h 126"/>
                <a:gd name="T36" fmla="*/ 41 w 113"/>
                <a:gd name="T37" fmla="*/ 122 h 126"/>
                <a:gd name="T38" fmla="*/ 75 w 113"/>
                <a:gd name="T39" fmla="*/ 122 h 126"/>
                <a:gd name="T40" fmla="*/ 93 w 113"/>
                <a:gd name="T41" fmla="*/ 93 h 126"/>
                <a:gd name="T42" fmla="*/ 99 w 113"/>
                <a:gd name="T43" fmla="*/ 66 h 126"/>
                <a:gd name="T44" fmla="*/ 113 w 113"/>
                <a:gd name="T45" fmla="*/ 61 h 126"/>
                <a:gd name="T46" fmla="*/ 88 w 113"/>
                <a:gd name="T47" fmla="*/ 85 h 126"/>
                <a:gd name="T48" fmla="*/ 69 w 113"/>
                <a:gd name="T49" fmla="*/ 83 h 126"/>
                <a:gd name="T50" fmla="*/ 45 w 113"/>
                <a:gd name="T51" fmla="*/ 83 h 126"/>
                <a:gd name="T52" fmla="*/ 28 w 113"/>
                <a:gd name="T53" fmla="*/ 85 h 126"/>
                <a:gd name="T54" fmla="*/ 27 w 113"/>
                <a:gd name="T55" fmla="*/ 65 h 126"/>
                <a:gd name="T56" fmla="*/ 89 w 113"/>
                <a:gd name="T57" fmla="*/ 65 h 126"/>
                <a:gd name="T58" fmla="*/ 27 w 113"/>
                <a:gd name="T59" fmla="*/ 38 h 126"/>
                <a:gd name="T60" fmla="*/ 44 w 113"/>
                <a:gd name="T61" fmla="*/ 49 h 126"/>
                <a:gd name="T62" fmla="*/ 50 w 113"/>
                <a:gd name="T63" fmla="*/ 46 h 126"/>
                <a:gd name="T64" fmla="*/ 64 w 113"/>
                <a:gd name="T65" fmla="*/ 46 h 126"/>
                <a:gd name="T66" fmla="*/ 69 w 113"/>
                <a:gd name="T67" fmla="*/ 49 h 126"/>
                <a:gd name="T68" fmla="*/ 87 w 113"/>
                <a:gd name="T69" fmla="*/ 38 h 126"/>
                <a:gd name="T70" fmla="*/ 28 w 113"/>
                <a:gd name="T71" fmla="*/ 25 h 126"/>
                <a:gd name="T72" fmla="*/ 49 w 113"/>
                <a:gd name="T73" fmla="*/ 32 h 126"/>
                <a:gd name="T74" fmla="*/ 34 w 113"/>
                <a:gd name="T75" fmla="*/ 42 h 126"/>
                <a:gd name="T76" fmla="*/ 49 w 113"/>
                <a:gd name="T77" fmla="*/ 32 h 126"/>
                <a:gd name="T78" fmla="*/ 39 w 113"/>
                <a:gd name="T79" fmla="*/ 31 h 126"/>
                <a:gd name="T80" fmla="*/ 30 w 113"/>
                <a:gd name="T81" fmla="*/ 3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3" h="126">
                  <a:moveTo>
                    <a:pt x="23" y="22"/>
                  </a:moveTo>
                  <a:cubicBezTo>
                    <a:pt x="23" y="20"/>
                    <a:pt x="23" y="20"/>
                    <a:pt x="23" y="20"/>
                  </a:cubicBezTo>
                  <a:cubicBezTo>
                    <a:pt x="90" y="20"/>
                    <a:pt x="90" y="20"/>
                    <a:pt x="90" y="20"/>
                  </a:cubicBezTo>
                  <a:cubicBezTo>
                    <a:pt x="90" y="22"/>
                    <a:pt x="90" y="22"/>
                    <a:pt x="90" y="22"/>
                  </a:cubicBezTo>
                  <a:cubicBezTo>
                    <a:pt x="90" y="23"/>
                    <a:pt x="91" y="25"/>
                    <a:pt x="91" y="27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93" y="12"/>
                    <a:pt x="76" y="0"/>
                    <a:pt x="57" y="0"/>
                  </a:cubicBezTo>
                  <a:cubicBezTo>
                    <a:pt x="37" y="0"/>
                    <a:pt x="20" y="12"/>
                    <a:pt x="13" y="30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3" y="25"/>
                    <a:pt x="23" y="23"/>
                    <a:pt x="23" y="22"/>
                  </a:cubicBezTo>
                  <a:close/>
                  <a:moveTo>
                    <a:pt x="113" y="61"/>
                  </a:moveTo>
                  <a:cubicBezTo>
                    <a:pt x="105" y="55"/>
                    <a:pt x="105" y="55"/>
                    <a:pt x="105" y="55"/>
                  </a:cubicBezTo>
                  <a:cubicBezTo>
                    <a:pt x="105" y="53"/>
                    <a:pt x="105" y="52"/>
                    <a:pt x="105" y="51"/>
                  </a:cubicBezTo>
                  <a:cubicBezTo>
                    <a:pt x="105" y="48"/>
                    <a:pt x="104" y="44"/>
                    <a:pt x="104" y="41"/>
                  </a:cubicBezTo>
                  <a:cubicBezTo>
                    <a:pt x="92" y="38"/>
                    <a:pt x="92" y="38"/>
                    <a:pt x="92" y="38"/>
                  </a:cubicBezTo>
                  <a:cubicBezTo>
                    <a:pt x="92" y="38"/>
                    <a:pt x="92" y="38"/>
                    <a:pt x="92" y="39"/>
                  </a:cubicBezTo>
                  <a:cubicBezTo>
                    <a:pt x="91" y="44"/>
                    <a:pt x="89" y="48"/>
                    <a:pt x="85" y="50"/>
                  </a:cubicBezTo>
                  <a:cubicBezTo>
                    <a:pt x="82" y="53"/>
                    <a:pt x="75" y="54"/>
                    <a:pt x="69" y="54"/>
                  </a:cubicBezTo>
                  <a:cubicBezTo>
                    <a:pt x="69" y="54"/>
                    <a:pt x="69" y="54"/>
                    <a:pt x="69" y="54"/>
                  </a:cubicBezTo>
                  <a:cubicBezTo>
                    <a:pt x="67" y="54"/>
                    <a:pt x="65" y="54"/>
                    <a:pt x="63" y="53"/>
                  </a:cubicBezTo>
                  <a:cubicBezTo>
                    <a:pt x="62" y="52"/>
                    <a:pt x="61" y="51"/>
                    <a:pt x="60" y="50"/>
                  </a:cubicBezTo>
                  <a:cubicBezTo>
                    <a:pt x="59" y="48"/>
                    <a:pt x="57" y="47"/>
                    <a:pt x="57" y="47"/>
                  </a:cubicBezTo>
                  <a:cubicBezTo>
                    <a:pt x="56" y="47"/>
                    <a:pt x="55" y="48"/>
                    <a:pt x="54" y="50"/>
                  </a:cubicBezTo>
                  <a:cubicBezTo>
                    <a:pt x="53" y="51"/>
                    <a:pt x="52" y="52"/>
                    <a:pt x="50" y="53"/>
                  </a:cubicBezTo>
                  <a:cubicBezTo>
                    <a:pt x="49" y="54"/>
                    <a:pt x="47" y="54"/>
                    <a:pt x="44" y="54"/>
                  </a:cubicBezTo>
                  <a:cubicBezTo>
                    <a:pt x="39" y="54"/>
                    <a:pt x="32" y="53"/>
                    <a:pt x="28" y="50"/>
                  </a:cubicBezTo>
                  <a:cubicBezTo>
                    <a:pt x="24" y="48"/>
                    <a:pt x="22" y="44"/>
                    <a:pt x="22" y="39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9" y="44"/>
                    <a:pt x="9" y="48"/>
                    <a:pt x="9" y="51"/>
                  </a:cubicBezTo>
                  <a:cubicBezTo>
                    <a:pt x="9" y="52"/>
                    <a:pt x="9" y="53"/>
                    <a:pt x="9" y="55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12" y="73"/>
                    <a:pt x="17" y="89"/>
                    <a:pt x="18" y="89"/>
                  </a:cubicBezTo>
                  <a:cubicBezTo>
                    <a:pt x="18" y="92"/>
                    <a:pt x="21" y="93"/>
                    <a:pt x="22" y="93"/>
                  </a:cubicBezTo>
                  <a:cubicBezTo>
                    <a:pt x="23" y="94"/>
                    <a:pt x="23" y="98"/>
                    <a:pt x="23" y="99"/>
                  </a:cubicBezTo>
                  <a:cubicBezTo>
                    <a:pt x="23" y="106"/>
                    <a:pt x="38" y="121"/>
                    <a:pt x="41" y="122"/>
                  </a:cubicBezTo>
                  <a:cubicBezTo>
                    <a:pt x="45" y="125"/>
                    <a:pt x="53" y="126"/>
                    <a:pt x="58" y="126"/>
                  </a:cubicBezTo>
                  <a:cubicBezTo>
                    <a:pt x="62" y="126"/>
                    <a:pt x="70" y="125"/>
                    <a:pt x="75" y="122"/>
                  </a:cubicBezTo>
                  <a:cubicBezTo>
                    <a:pt x="77" y="121"/>
                    <a:pt x="93" y="106"/>
                    <a:pt x="93" y="99"/>
                  </a:cubicBezTo>
                  <a:cubicBezTo>
                    <a:pt x="93" y="98"/>
                    <a:pt x="93" y="94"/>
                    <a:pt x="93" y="93"/>
                  </a:cubicBezTo>
                  <a:cubicBezTo>
                    <a:pt x="95" y="93"/>
                    <a:pt x="97" y="92"/>
                    <a:pt x="98" y="89"/>
                  </a:cubicBezTo>
                  <a:cubicBezTo>
                    <a:pt x="98" y="89"/>
                    <a:pt x="102" y="72"/>
                    <a:pt x="99" y="66"/>
                  </a:cubicBezTo>
                  <a:cubicBezTo>
                    <a:pt x="105" y="71"/>
                    <a:pt x="105" y="71"/>
                    <a:pt x="105" y="71"/>
                  </a:cubicBezTo>
                  <a:lnTo>
                    <a:pt x="113" y="61"/>
                  </a:lnTo>
                  <a:close/>
                  <a:moveTo>
                    <a:pt x="88" y="71"/>
                  </a:moveTo>
                  <a:cubicBezTo>
                    <a:pt x="88" y="85"/>
                    <a:pt x="88" y="85"/>
                    <a:pt x="88" y="85"/>
                  </a:cubicBezTo>
                  <a:cubicBezTo>
                    <a:pt x="88" y="85"/>
                    <a:pt x="88" y="85"/>
                    <a:pt x="88" y="86"/>
                  </a:cubicBezTo>
                  <a:cubicBezTo>
                    <a:pt x="88" y="86"/>
                    <a:pt x="76" y="86"/>
                    <a:pt x="69" y="83"/>
                  </a:cubicBezTo>
                  <a:cubicBezTo>
                    <a:pt x="62" y="79"/>
                    <a:pt x="62" y="75"/>
                    <a:pt x="57" y="75"/>
                  </a:cubicBezTo>
                  <a:cubicBezTo>
                    <a:pt x="51" y="75"/>
                    <a:pt x="52" y="79"/>
                    <a:pt x="45" y="83"/>
                  </a:cubicBezTo>
                  <a:cubicBezTo>
                    <a:pt x="39" y="85"/>
                    <a:pt x="31" y="86"/>
                    <a:pt x="28" y="86"/>
                  </a:cubicBezTo>
                  <a:cubicBezTo>
                    <a:pt x="28" y="85"/>
                    <a:pt x="28" y="85"/>
                    <a:pt x="28" y="85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68"/>
                    <a:pt x="27" y="65"/>
                  </a:cubicBezTo>
                  <a:cubicBezTo>
                    <a:pt x="35" y="64"/>
                    <a:pt x="46" y="63"/>
                    <a:pt x="57" y="63"/>
                  </a:cubicBezTo>
                  <a:cubicBezTo>
                    <a:pt x="69" y="63"/>
                    <a:pt x="80" y="64"/>
                    <a:pt x="89" y="65"/>
                  </a:cubicBezTo>
                  <a:cubicBezTo>
                    <a:pt x="88" y="68"/>
                    <a:pt x="88" y="71"/>
                    <a:pt x="88" y="71"/>
                  </a:cubicBezTo>
                  <a:close/>
                  <a:moveTo>
                    <a:pt x="27" y="38"/>
                  </a:moveTo>
                  <a:cubicBezTo>
                    <a:pt x="27" y="41"/>
                    <a:pt x="28" y="44"/>
                    <a:pt x="31" y="46"/>
                  </a:cubicBezTo>
                  <a:cubicBezTo>
                    <a:pt x="33" y="47"/>
                    <a:pt x="40" y="49"/>
                    <a:pt x="44" y="49"/>
                  </a:cubicBezTo>
                  <a:cubicBezTo>
                    <a:pt x="46" y="49"/>
                    <a:pt x="47" y="49"/>
                    <a:pt x="47" y="49"/>
                  </a:cubicBezTo>
                  <a:cubicBezTo>
                    <a:pt x="48" y="48"/>
                    <a:pt x="49" y="47"/>
                    <a:pt x="50" y="46"/>
                  </a:cubicBezTo>
                  <a:cubicBezTo>
                    <a:pt x="52" y="44"/>
                    <a:pt x="54" y="42"/>
                    <a:pt x="57" y="42"/>
                  </a:cubicBezTo>
                  <a:cubicBezTo>
                    <a:pt x="60" y="42"/>
                    <a:pt x="62" y="44"/>
                    <a:pt x="64" y="46"/>
                  </a:cubicBezTo>
                  <a:cubicBezTo>
                    <a:pt x="64" y="47"/>
                    <a:pt x="65" y="48"/>
                    <a:pt x="66" y="49"/>
                  </a:cubicBezTo>
                  <a:cubicBezTo>
                    <a:pt x="66" y="49"/>
                    <a:pt x="67" y="49"/>
                    <a:pt x="69" y="49"/>
                  </a:cubicBezTo>
                  <a:cubicBezTo>
                    <a:pt x="74" y="49"/>
                    <a:pt x="80" y="47"/>
                    <a:pt x="82" y="46"/>
                  </a:cubicBezTo>
                  <a:cubicBezTo>
                    <a:pt x="86" y="44"/>
                    <a:pt x="87" y="41"/>
                    <a:pt x="87" y="38"/>
                  </a:cubicBezTo>
                  <a:cubicBezTo>
                    <a:pt x="87" y="36"/>
                    <a:pt x="86" y="30"/>
                    <a:pt x="85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7" y="30"/>
                    <a:pt x="27" y="36"/>
                    <a:pt x="27" y="38"/>
                  </a:cubicBezTo>
                  <a:close/>
                  <a:moveTo>
                    <a:pt x="49" y="32"/>
                  </a:moveTo>
                  <a:cubicBezTo>
                    <a:pt x="37" y="44"/>
                    <a:pt x="37" y="44"/>
                    <a:pt x="37" y="44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46" y="30"/>
                    <a:pt x="46" y="30"/>
                    <a:pt x="46" y="30"/>
                  </a:cubicBezTo>
                  <a:lnTo>
                    <a:pt x="49" y="32"/>
                  </a:lnTo>
                  <a:close/>
                  <a:moveTo>
                    <a:pt x="36" y="28"/>
                  </a:moveTo>
                  <a:cubicBezTo>
                    <a:pt x="39" y="31"/>
                    <a:pt x="39" y="31"/>
                    <a:pt x="39" y="31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0" y="34"/>
                    <a:pt x="30" y="34"/>
                    <a:pt x="30" y="34"/>
                  </a:cubicBezTo>
                  <a:lnTo>
                    <a:pt x="36" y="28"/>
                  </a:lnTo>
                  <a:close/>
                </a:path>
              </a:pathLst>
            </a:custGeom>
            <a:noFill/>
            <a:ln w="6350" cap="flat">
              <a:solidFill>
                <a:schemeClr val="bg2">
                  <a:lumMod val="75000"/>
                </a:schemeClr>
              </a:solidFill>
              <a:prstDash val="solid"/>
              <a:miter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404B82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98" name="TextBox 197">
            <a:extLst>
              <a:ext uri="{FF2B5EF4-FFF2-40B4-BE49-F238E27FC236}">
                <a16:creationId xmlns:a16="http://schemas.microsoft.com/office/drawing/2014/main" id="{2DDB82AC-98B7-40AC-AA07-C401B3642CD9}"/>
              </a:ext>
            </a:extLst>
          </p:cNvPr>
          <p:cNvSpPr txBox="1">
            <a:spLocks/>
          </p:cNvSpPr>
          <p:nvPr/>
        </p:nvSpPr>
        <p:spPr>
          <a:xfrm>
            <a:off x="10432758" y="4270493"/>
            <a:ext cx="1213908" cy="13342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Development impact enhancement across 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Arial" panose="020B0604020202020204" pitchFamily="34" charset="0"/>
              </a:rPr>
              <a:t>(environmental, gender, social, and governance)</a:t>
            </a:r>
            <a:endParaRPr kumimoji="0" lang="en-US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Arial" panose="020B0604020202020204" pitchFamily="34" charset="0"/>
            </a:endParaRPr>
          </a:p>
        </p:txBody>
      </p:sp>
      <p:sp>
        <p:nvSpPr>
          <p:cNvPr id="199" name="Oval 198">
            <a:extLst>
              <a:ext uri="{FF2B5EF4-FFF2-40B4-BE49-F238E27FC236}">
                <a16:creationId xmlns:a16="http://schemas.microsoft.com/office/drawing/2014/main" id="{3310604B-A598-449C-AA2F-202801E5FE6D}"/>
              </a:ext>
            </a:extLst>
          </p:cNvPr>
          <p:cNvSpPr>
            <a:spLocks/>
          </p:cNvSpPr>
          <p:nvPr/>
        </p:nvSpPr>
        <p:spPr>
          <a:xfrm>
            <a:off x="10118432" y="4270493"/>
            <a:ext cx="258016" cy="258017"/>
          </a:xfrm>
          <a:prstGeom prst="ellipse">
            <a:avLst/>
          </a:prstGeom>
          <a:solidFill>
            <a:srgbClr val="182266"/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00" name="Graphic 199">
            <a:extLst>
              <a:ext uri="{FF2B5EF4-FFF2-40B4-BE49-F238E27FC236}">
                <a16:creationId xmlns:a16="http://schemas.microsoft.com/office/drawing/2014/main" id="{56A0B54A-8B47-417D-A628-747206A434BB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96DAC541-7B7A-43D3-8B79-37D633B846F1}">
                <asvg:svgBlip xmlns:asvg="http://schemas.microsoft.com/office/drawing/2016/SVG/main" r:embed="rId69"/>
              </a:ext>
            </a:extLst>
          </a:blip>
          <a:stretch>
            <a:fillRect/>
          </a:stretch>
        </p:blipFill>
        <p:spPr>
          <a:xfrm>
            <a:off x="10156208" y="4315676"/>
            <a:ext cx="182464" cy="166282"/>
          </a:xfrm>
          <a:prstGeom prst="rect">
            <a:avLst/>
          </a:prstGeom>
        </p:spPr>
      </p:pic>
      <p:pic>
        <p:nvPicPr>
          <p:cNvPr id="203" name="CustomIcon">
            <a:extLst>
              <a:ext uri="{FF2B5EF4-FFF2-40B4-BE49-F238E27FC236}">
                <a16:creationId xmlns:a16="http://schemas.microsoft.com/office/drawing/2014/main" id="{C44BEA85-BE18-40E6-92C5-57D8FBE745F9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70">
            <a:extLst>
              <a:ext uri="{96DAC541-7B7A-43D3-8B79-37D633B846F1}">
                <asvg:svgBlip xmlns:asvg="http://schemas.microsoft.com/office/drawing/2016/SVG/main" r:embed="rId71"/>
              </a:ext>
            </a:extLst>
          </a:blip>
          <a:stretch>
            <a:fillRect/>
          </a:stretch>
        </p:blipFill>
        <p:spPr>
          <a:xfrm>
            <a:off x="3269776" y="3008057"/>
            <a:ext cx="337377" cy="331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46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>
            <a:extLst>
              <a:ext uri="{FF2B5EF4-FFF2-40B4-BE49-F238E27FC236}">
                <a16:creationId xmlns:a16="http://schemas.microsoft.com/office/drawing/2014/main" id="{57401FA8-8569-420B-B9C2-9D73852510AF}"/>
              </a:ext>
            </a:extLst>
          </p:cNvPr>
          <p:cNvSpPr>
            <a:spLocks/>
          </p:cNvSpPr>
          <p:nvPr/>
        </p:nvSpPr>
        <p:spPr>
          <a:xfrm>
            <a:off x="8966795" y="1604992"/>
            <a:ext cx="2726271" cy="470352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34" name="Object 6" hidden="1">
            <a:extLst>
              <a:ext uri="{FF2B5EF4-FFF2-40B4-BE49-F238E27FC236}">
                <a16:creationId xmlns:a16="http://schemas.microsoft.com/office/drawing/2014/main" id="{A5CB347F-934A-4645-9D99-DF0255F84A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516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2" name="think-cell Slide" r:id="rId25" imgW="526" imgH="526" progId="TCLayout.ActiveDocument.1">
                  <p:embed/>
                </p:oleObj>
              </mc:Choice>
              <mc:Fallback>
                <p:oleObj name="think-cell Slide" r:id="rId25" imgW="526" imgH="526" progId="TCLayout.ActiveDocument.1">
                  <p:embed/>
                  <p:pic>
                    <p:nvPicPr>
                      <p:cNvPr id="34" name="Object 6" hidden="1">
                        <a:extLst>
                          <a:ext uri="{FF2B5EF4-FFF2-40B4-BE49-F238E27FC236}">
                            <a16:creationId xmlns:a16="http://schemas.microsoft.com/office/drawing/2014/main" id="{A5CB347F-934A-4645-9D99-DF0255F84A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1" hidden="1">
            <a:extLst>
              <a:ext uri="{FF2B5EF4-FFF2-40B4-BE49-F238E27FC236}">
                <a16:creationId xmlns:a16="http://schemas.microsoft.com/office/drawing/2014/main" id="{4DB7F79C-8617-4C9F-ABE7-5C32544A6E9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2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77F55BC3-6CE0-47C6-84EB-B34560AA2606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67820" y="571557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GB" dirty="0"/>
              <a:t>MA has supported a wide range of investment opportunities</a:t>
            </a:r>
          </a:p>
        </p:txBody>
      </p:sp>
      <p:sp>
        <p:nvSpPr>
          <p:cNvPr id="66" name="1. On-page tracker">
            <a:extLst>
              <a:ext uri="{FF2B5EF4-FFF2-40B4-BE49-F238E27FC236}">
                <a16:creationId xmlns:a16="http://schemas.microsoft.com/office/drawing/2014/main" id="{C941BBCF-CCEB-447E-B23F-7DCA50F941EB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>
          <a:xfrm>
            <a:off x="554735" y="41597"/>
            <a:ext cx="3843338" cy="323165"/>
          </a:xfrm>
        </p:spPr>
        <p:txBody>
          <a:bodyPr/>
          <a:lstStyle/>
          <a:p>
            <a:r>
              <a:rPr lang="en-GB"/>
              <a:t>TRANSACTION FACILITATION</a:t>
            </a:r>
          </a:p>
          <a:p>
            <a:endParaRPr lang="en-GB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4CE356C-026E-478F-A16A-2F4814FECC21}"/>
              </a:ext>
            </a:extLst>
          </p:cNvPr>
          <p:cNvGrpSpPr/>
          <p:nvPr/>
        </p:nvGrpSpPr>
        <p:grpSpPr>
          <a:xfrm>
            <a:off x="605070" y="5128902"/>
            <a:ext cx="654787" cy="654787"/>
            <a:chOff x="554736" y="4734435"/>
            <a:chExt cx="654787" cy="654787"/>
          </a:xfrm>
        </p:grpSpPr>
        <p:sp>
          <p:nvSpPr>
            <p:cNvPr id="14" name="TrackerAlphaBlue 79">
              <a:extLst>
                <a:ext uri="{FF2B5EF4-FFF2-40B4-BE49-F238E27FC236}">
                  <a16:creationId xmlns:a16="http://schemas.microsoft.com/office/drawing/2014/main" id="{BAA4CE64-246E-4F36-8E26-8B888AC5DA5E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554736" y="4734435"/>
              <a:ext cx="654787" cy="654787"/>
            </a:xfrm>
            <a:prstGeom prst="ellipse">
              <a:avLst/>
            </a:pr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5" name="CustomIcon">
              <a:extLst>
                <a:ext uri="{FF2B5EF4-FFF2-40B4-BE49-F238E27FC236}">
                  <a16:creationId xmlns:a16="http://schemas.microsoft.com/office/drawing/2014/main" id="{67683A4B-C086-4BE1-A03E-FD377D75894E}"/>
                </a:ext>
              </a:extLst>
            </p:cNvPr>
            <p:cNvPicPr>
              <a:picLocks noChangeAspect="1"/>
            </p:cNvPicPr>
            <p:nvPr>
              <p:custDataLst>
                <p:tags r:id="rId22"/>
              </p:custDataLst>
            </p:nvPr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710890" y="4890589"/>
              <a:ext cx="342478" cy="342478"/>
            </a:xfrm>
            <a:prstGeom prst="rect">
              <a:avLst/>
            </a:prstGeom>
          </p:spPr>
        </p:pic>
      </p:grpSp>
      <p:sp>
        <p:nvSpPr>
          <p:cNvPr id="16" name="BigStat 5">
            <a:extLst>
              <a:ext uri="{FF2B5EF4-FFF2-40B4-BE49-F238E27FC236}">
                <a16:creationId xmlns:a16="http://schemas.microsoft.com/office/drawing/2014/main" id="{A410C305-3584-4A92-9599-195AFDBF89F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376917" y="5045012"/>
            <a:ext cx="1705595" cy="553998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18226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30,000+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951D5D4-378D-478B-9FF8-D4CA1A10E1A8}"/>
              </a:ext>
            </a:extLst>
          </p:cNvPr>
          <p:cNvSpPr txBox="1">
            <a:spLocks/>
          </p:cNvSpPr>
          <p:nvPr/>
        </p:nvSpPr>
        <p:spPr>
          <a:xfrm>
            <a:off x="1385575" y="5599010"/>
            <a:ext cx="1892867" cy="430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GB" sz="1400" dirty="0">
                <a:solidFill>
                  <a:srgbClr val="000000"/>
                </a:solidFill>
                <a:latin typeface="Arial" panose="020B0604020202020204"/>
              </a:rPr>
              <a:t>Potential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18226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direct jobs 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to be created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C8625DE5-2B0F-4177-BEE8-FFF151E83C21}"/>
              </a:ext>
            </a:extLst>
          </p:cNvPr>
          <p:cNvGrpSpPr/>
          <p:nvPr/>
        </p:nvGrpSpPr>
        <p:grpSpPr>
          <a:xfrm>
            <a:off x="621990" y="2444867"/>
            <a:ext cx="1277926" cy="720791"/>
            <a:chOff x="571656" y="1898630"/>
            <a:chExt cx="1277926" cy="720791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1A43D3C0-F687-4751-9E58-46D42E99F4A2}"/>
                </a:ext>
              </a:extLst>
            </p:cNvPr>
            <p:cNvGrpSpPr/>
            <p:nvPr/>
          </p:nvGrpSpPr>
          <p:grpSpPr>
            <a:xfrm>
              <a:off x="571656" y="1964634"/>
              <a:ext cx="654787" cy="654787"/>
              <a:chOff x="571656" y="1898645"/>
              <a:chExt cx="654787" cy="654787"/>
            </a:xfrm>
          </p:grpSpPr>
          <p:sp>
            <p:nvSpPr>
              <p:cNvPr id="23" name="TrackerAlphaBlue 79">
                <a:extLst>
                  <a:ext uri="{FF2B5EF4-FFF2-40B4-BE49-F238E27FC236}">
                    <a16:creationId xmlns:a16="http://schemas.microsoft.com/office/drawing/2014/main" id="{C3AADA85-A57E-4333-995D-EC6B790E9192}"/>
                  </a:ext>
                </a:extLst>
              </p:cNvPr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>
              <a:xfrm>
                <a:off x="571656" y="1898645"/>
                <a:ext cx="654787" cy="654787"/>
              </a:xfrm>
              <a:prstGeom prst="ellipse">
                <a:avLst/>
              </a:prstGeom>
              <a:solidFill>
                <a:srgbClr val="002060"/>
              </a:solidFill>
              <a:ln w="6350" cap="sq" cmpd="sng" algn="ctr">
                <a:noFill/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0" rIns="0" bIns="0" numCol="1" spcCol="0" rtlCol="0" fromWordArt="0" anchor="t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0000"/>
                  </a:buClr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pic>
            <p:nvPicPr>
              <p:cNvPr id="24" name="CustomIcon">
                <a:extLst>
                  <a:ext uri="{FF2B5EF4-FFF2-40B4-BE49-F238E27FC236}">
                    <a16:creationId xmlns:a16="http://schemas.microsoft.com/office/drawing/2014/main" id="{6BA6CD0B-6058-4FEB-95F1-831290F534CC}"/>
                  </a:ext>
                </a:extLst>
              </p:cNvPr>
              <p:cNvPicPr>
                <a:picLocks noChangeAspect="1"/>
              </p:cNvPicPr>
              <p:nvPr>
                <p:custDataLst>
                  <p:tags r:id="rId20"/>
                </p:custDataLst>
              </p:nvPr>
            </p:nvPicPr>
            <p:blipFill>
              <a:blip r:embed="rId29">
                <a:extLst>
                  <a:ext uri="{96DAC541-7B7A-43D3-8B79-37D633B846F1}">
                    <asvg:svgBlip xmlns:asvg="http://schemas.microsoft.com/office/drawing/2016/SVG/main" r:embed="rId30"/>
                  </a:ext>
                </a:extLst>
              </a:blip>
              <a:stretch>
                <a:fillRect/>
              </a:stretch>
            </p:blipFill>
            <p:spPr>
              <a:xfrm>
                <a:off x="708016" y="2051155"/>
                <a:ext cx="368301" cy="368301"/>
              </a:xfrm>
              <a:prstGeom prst="rect">
                <a:avLst/>
              </a:prstGeom>
            </p:spPr>
          </p:pic>
        </p:grpSp>
        <p:sp>
          <p:nvSpPr>
            <p:cNvPr id="21" name="BigStat 5">
              <a:extLst>
                <a:ext uri="{FF2B5EF4-FFF2-40B4-BE49-F238E27FC236}">
                  <a16:creationId xmlns:a16="http://schemas.microsoft.com/office/drawing/2014/main" id="{C70FE2DC-E0D2-4765-AB0E-FF23531B23F3}"/>
                </a:ext>
              </a:extLst>
            </p:cNvPr>
            <p:cNvSpPr txBox="1"/>
            <p:nvPr>
              <p:custDataLst>
                <p:tags r:id="rId18"/>
              </p:custDataLst>
            </p:nvPr>
          </p:nvSpPr>
          <p:spPr>
            <a:xfrm>
              <a:off x="1336621" y="1898630"/>
              <a:ext cx="512961" cy="553998"/>
            </a:xfrm>
            <a:prstGeom prst="rect">
              <a:avLst/>
            </a:prstGeom>
          </p:spPr>
          <p:txBody>
            <a:bodyPr vert="horz" wrap="none" lIns="0" tIns="0" rIns="0" bIns="0" rtlCol="0" anchor="b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GB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18226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90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BABE6D46-595A-4ACF-A920-BF4E33495C4D}"/>
              </a:ext>
            </a:extLst>
          </p:cNvPr>
          <p:cNvSpPr txBox="1">
            <a:spLocks/>
          </p:cNvSpPr>
          <p:nvPr/>
        </p:nvSpPr>
        <p:spPr>
          <a:xfrm>
            <a:off x="1386955" y="2980094"/>
            <a:ext cx="1413429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18226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deals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AA508C9F-1829-4627-986E-269E891C3793}"/>
              </a:ext>
            </a:extLst>
          </p:cNvPr>
          <p:cNvGrpSpPr>
            <a:grpSpLocks/>
          </p:cNvGrpSpPr>
          <p:nvPr/>
        </p:nvGrpSpPr>
        <p:grpSpPr>
          <a:xfrm>
            <a:off x="1376917" y="3756019"/>
            <a:ext cx="1705595" cy="1181558"/>
            <a:chOff x="1326584" y="3294879"/>
            <a:chExt cx="1705595" cy="1181558"/>
          </a:xfrm>
        </p:grpSpPr>
        <p:sp>
          <p:nvSpPr>
            <p:cNvPr id="30" name="BigStat 5">
              <a:extLst>
                <a:ext uri="{FF2B5EF4-FFF2-40B4-BE49-F238E27FC236}">
                  <a16:creationId xmlns:a16="http://schemas.microsoft.com/office/drawing/2014/main" id="{6C7910C1-18BC-42FF-817F-BB9AF9728459}"/>
                </a:ext>
              </a:extLst>
            </p:cNvPr>
            <p:cNvSpPr txBox="1">
              <a:spLocks/>
            </p:cNvSpPr>
            <p:nvPr>
              <p:custDataLst>
                <p:tags r:id="rId17"/>
              </p:custDataLst>
            </p:nvPr>
          </p:nvSpPr>
          <p:spPr>
            <a:xfrm>
              <a:off x="1326584" y="3294879"/>
              <a:ext cx="1705595" cy="553998"/>
            </a:xfrm>
            <a:prstGeom prst="rect">
              <a:avLst/>
            </a:prstGeom>
          </p:spPr>
          <p:txBody>
            <a:bodyPr vert="horz" wrap="none" lIns="0" tIns="0" rIns="0" bIns="0" rtlCol="0" anchor="b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6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GB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18226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$2</a:t>
              </a:r>
              <a:r>
                <a:rPr lang="en-GB" sz="3600" b="1" dirty="0">
                  <a:solidFill>
                    <a:srgbClr val="182266"/>
                  </a:solidFill>
                  <a:latin typeface="Arial" panose="020B0604020202020204"/>
                </a:rPr>
                <a:t>b</a:t>
              </a:r>
              <a:r>
                <a:rPr kumimoji="0" lang="en-GB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18226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n+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08123889-827D-4D09-A082-CED277365134}"/>
                </a:ext>
              </a:extLst>
            </p:cNvPr>
            <p:cNvSpPr txBox="1">
              <a:spLocks/>
            </p:cNvSpPr>
            <p:nvPr/>
          </p:nvSpPr>
          <p:spPr>
            <a:xfrm>
              <a:off x="1326584" y="3830106"/>
              <a:ext cx="1705595" cy="64633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442913" lvl="2" indent="-2143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sz="1600">
                  <a:cs typeface="Arial" panose="020B0604020202020204" pitchFamily="34" charset="0"/>
                </a:defRPr>
              </a:lvl3pPr>
              <a:lvl4pPr marL="598488" lvl="3" indent="-152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600">
                  <a:cs typeface="Arial" panose="020B0604020202020204" pitchFamily="34" charset="0"/>
                </a:defRPr>
              </a:lvl4pPr>
              <a:lvl5pPr marL="817563" lvl="4" indent="-1476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sz="1600">
                  <a:cs typeface="Arial" panose="020B0604020202020204" pitchFamily="34" charset="0"/>
                </a:defRPr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18226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Potential FDI</a:t>
              </a: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5F4B5E9-F5FA-47C0-B12C-3E2533B6B645}"/>
              </a:ext>
            </a:extLst>
          </p:cNvPr>
          <p:cNvGrpSpPr/>
          <p:nvPr/>
        </p:nvGrpSpPr>
        <p:grpSpPr>
          <a:xfrm>
            <a:off x="605070" y="3786053"/>
            <a:ext cx="654787" cy="654787"/>
            <a:chOff x="554736" y="3408424"/>
            <a:chExt cx="654787" cy="654787"/>
          </a:xfrm>
        </p:grpSpPr>
        <p:sp>
          <p:nvSpPr>
            <p:cNvPr id="28" name="TrackerAlphaBlue 79">
              <a:extLst>
                <a:ext uri="{FF2B5EF4-FFF2-40B4-BE49-F238E27FC236}">
                  <a16:creationId xmlns:a16="http://schemas.microsoft.com/office/drawing/2014/main" id="{B38B50FC-EB4F-45A0-8BF9-A9BD159D19D8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554736" y="3408424"/>
              <a:ext cx="654787" cy="654787"/>
            </a:xfrm>
            <a:prstGeom prst="ellipse">
              <a:avLst/>
            </a:prstGeom>
            <a:solidFill>
              <a:srgbClr val="002060"/>
            </a:solidFill>
            <a:ln w="6350" cap="sq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29" name="CustomIcon">
              <a:extLst>
                <a:ext uri="{FF2B5EF4-FFF2-40B4-BE49-F238E27FC236}">
                  <a16:creationId xmlns:a16="http://schemas.microsoft.com/office/drawing/2014/main" id="{01418FFB-13B3-413B-9B62-2DCD9946B8F3}"/>
                </a:ext>
              </a:extLst>
            </p:cNvPr>
            <p:cNvPicPr>
              <a:picLocks noChangeAspect="1"/>
            </p:cNvPicPr>
            <p:nvPr>
              <p:custDataLst>
                <p:tags r:id="rId16"/>
              </p:custDataLst>
            </p:nvPr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685731" y="3555721"/>
              <a:ext cx="392796" cy="392796"/>
            </a:xfrm>
            <a:prstGeom prst="rect">
              <a:avLst/>
            </a:prstGeom>
          </p:spPr>
        </p:pic>
      </p:grpSp>
      <p:cxnSp>
        <p:nvCxnSpPr>
          <p:cNvPr id="7" name="LineBasicVerticalDefault 22">
            <a:extLst>
              <a:ext uri="{FF2B5EF4-FFF2-40B4-BE49-F238E27FC236}">
                <a16:creationId xmlns:a16="http://schemas.microsoft.com/office/drawing/2014/main" id="{60D6D96A-15D3-49E8-B8D7-9F954BAF508B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394113" y="1571306"/>
            <a:ext cx="0" cy="4621443"/>
          </a:xfrm>
          <a:prstGeom prst="straightConnector1">
            <a:avLst/>
          </a:prstGeom>
          <a:ln w="12700" cap="flat">
            <a:solidFill>
              <a:schemeClr val="bg1">
                <a:lumMod val="50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6" name="Group 95">
            <a:extLst>
              <a:ext uri="{FF2B5EF4-FFF2-40B4-BE49-F238E27FC236}">
                <a16:creationId xmlns:a16="http://schemas.microsoft.com/office/drawing/2014/main" id="{EEE8A7ED-5969-463C-89B2-4802A20FD9D6}"/>
              </a:ext>
            </a:extLst>
          </p:cNvPr>
          <p:cNvGrpSpPr/>
          <p:nvPr/>
        </p:nvGrpSpPr>
        <p:grpSpPr>
          <a:xfrm>
            <a:off x="10503272" y="1356070"/>
            <a:ext cx="1153951" cy="153888"/>
            <a:chOff x="10534609" y="1289887"/>
            <a:chExt cx="1153951" cy="153888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E545CD2F-E4CF-4411-9D11-70BDE9021EC9}"/>
                </a:ext>
              </a:extLst>
            </p:cNvPr>
            <p:cNvSpPr/>
            <p:nvPr/>
          </p:nvSpPr>
          <p:spPr>
            <a:xfrm>
              <a:off x="10534609" y="1298251"/>
              <a:ext cx="137160" cy="137160"/>
            </a:xfrm>
            <a:prstGeom prst="ellipse">
              <a:avLst/>
            </a:prstGeom>
            <a:solidFill>
              <a:srgbClr val="00206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346BA198-2A44-4526-BF98-C77F84144711}"/>
                </a:ext>
              </a:extLst>
            </p:cNvPr>
            <p:cNvSpPr txBox="1"/>
            <p:nvPr/>
          </p:nvSpPr>
          <p:spPr>
            <a:xfrm>
              <a:off x="10786069" y="1289887"/>
              <a:ext cx="902491" cy="153888"/>
            </a:xfrm>
            <a:prstGeom prst="rect">
              <a:avLst/>
            </a:prstGeom>
          </p:spPr>
          <p:txBody>
            <a:bodyPr vert="horz" wrap="non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42913" lvl="2" indent="-2143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8488" lvl="3" indent="-152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7563" lvl="4" indent="-1476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Deal value ($M)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80938F92-78F6-4B12-AF02-12192BDFB068}"/>
              </a:ext>
            </a:extLst>
          </p:cNvPr>
          <p:cNvGrpSpPr/>
          <p:nvPr/>
        </p:nvGrpSpPr>
        <p:grpSpPr>
          <a:xfrm>
            <a:off x="3195999" y="3746809"/>
            <a:ext cx="396228" cy="396228"/>
            <a:chOff x="3313445" y="3771112"/>
            <a:chExt cx="396228" cy="396228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9A56F9BA-857F-4486-9198-67C47D54EC19}"/>
                </a:ext>
              </a:extLst>
            </p:cNvPr>
            <p:cNvSpPr/>
            <p:nvPr/>
          </p:nvSpPr>
          <p:spPr>
            <a:xfrm>
              <a:off x="3313445" y="3771112"/>
              <a:ext cx="396228" cy="396228"/>
            </a:xfrm>
            <a:prstGeom prst="ellipse">
              <a:avLst/>
            </a:prstGeom>
            <a:solidFill>
              <a:srgbClr val="00206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D57D4BC-9ED1-4393-B16A-59929805E09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59774" y="3871598"/>
              <a:ext cx="103571" cy="195256"/>
            </a:xfrm>
            <a:custGeom>
              <a:avLst/>
              <a:gdLst/>
              <a:ahLst/>
              <a:cxnLst/>
              <a:rect l="0" t="0" r="0" b="0"/>
              <a:pathLst>
                <a:path w="103601" h="195312">
                  <a:moveTo>
                    <a:pt x="9358" y="193790"/>
                  </a:moveTo>
                  <a:lnTo>
                    <a:pt x="101575" y="101574"/>
                  </a:lnTo>
                  <a:lnTo>
                    <a:pt x="103600" y="99549"/>
                  </a:lnTo>
                  <a:lnTo>
                    <a:pt x="103600" y="96266"/>
                  </a:lnTo>
                  <a:lnTo>
                    <a:pt x="101575" y="94241"/>
                  </a:lnTo>
                  <a:lnTo>
                    <a:pt x="9358" y="2025"/>
                  </a:lnTo>
                  <a:lnTo>
                    <a:pt x="7332" y="0"/>
                  </a:lnTo>
                  <a:lnTo>
                    <a:pt x="4049" y="0"/>
                  </a:lnTo>
                  <a:lnTo>
                    <a:pt x="2026" y="2025"/>
                  </a:lnTo>
                  <a:lnTo>
                    <a:pt x="0" y="4048"/>
                  </a:lnTo>
                  <a:lnTo>
                    <a:pt x="0" y="7331"/>
                  </a:lnTo>
                  <a:lnTo>
                    <a:pt x="2026" y="9357"/>
                  </a:lnTo>
                  <a:lnTo>
                    <a:pt x="90576" y="97907"/>
                  </a:lnTo>
                  <a:lnTo>
                    <a:pt x="2026" y="186459"/>
                  </a:lnTo>
                  <a:lnTo>
                    <a:pt x="0" y="188483"/>
                  </a:lnTo>
                  <a:lnTo>
                    <a:pt x="0" y="191766"/>
                  </a:lnTo>
                  <a:lnTo>
                    <a:pt x="2026" y="193790"/>
                  </a:lnTo>
                  <a:lnTo>
                    <a:pt x="3040" y="194805"/>
                  </a:lnTo>
                  <a:lnTo>
                    <a:pt x="4366" y="195311"/>
                  </a:lnTo>
                  <a:lnTo>
                    <a:pt x="5692" y="195311"/>
                  </a:lnTo>
                  <a:lnTo>
                    <a:pt x="7017" y="195311"/>
                  </a:lnTo>
                  <a:lnTo>
                    <a:pt x="8348" y="194805"/>
                  </a:lnTo>
                  <a:close/>
                </a:path>
              </a:pathLst>
            </a:custGeom>
            <a:solidFill>
              <a:schemeClr val="bg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B1454BFD-910E-4186-9AD1-895C7DE351AC}"/>
              </a:ext>
            </a:extLst>
          </p:cNvPr>
          <p:cNvSpPr txBox="1"/>
          <p:nvPr/>
        </p:nvSpPr>
        <p:spPr>
          <a:xfrm>
            <a:off x="9145371" y="1657346"/>
            <a:ext cx="2504761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lang="en-GB" b="1" dirty="0">
                <a:solidFill>
                  <a:srgbClr val="182266"/>
                </a:solidFill>
                <a:latin typeface="Arial" panose="020B0604020202020204"/>
              </a:rPr>
              <a:t>8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18226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deals </a:t>
            </a:r>
            <a:r>
              <a:rPr lang="en-GB" b="1" dirty="0">
                <a:solidFill>
                  <a:srgbClr val="182266"/>
                </a:solidFill>
                <a:latin typeface="Arial" panose="020B0604020202020204"/>
              </a:rPr>
              <a:t>reached financial close including: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47644D8-90AE-4044-9385-FFFDFE04A595}"/>
              </a:ext>
            </a:extLst>
          </p:cNvPr>
          <p:cNvGrpSpPr/>
          <p:nvPr/>
        </p:nvGrpSpPr>
        <p:grpSpPr>
          <a:xfrm>
            <a:off x="9178928" y="4694130"/>
            <a:ext cx="2286035" cy="1241362"/>
            <a:chOff x="3818220" y="4930645"/>
            <a:chExt cx="2286035" cy="1241362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4FACB336-44A6-47BC-B43D-1361AF424B39}"/>
                </a:ext>
              </a:extLst>
            </p:cNvPr>
            <p:cNvSpPr/>
            <p:nvPr/>
          </p:nvSpPr>
          <p:spPr>
            <a:xfrm>
              <a:off x="3818220" y="5064419"/>
              <a:ext cx="329184" cy="329184"/>
            </a:xfrm>
            <a:prstGeom prst="ellipse">
              <a:avLst/>
            </a:prstGeom>
            <a:solidFill>
              <a:srgbClr val="00206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E8F3927F-BA3F-4949-BE8E-52E57B47DCD0}"/>
                </a:ext>
              </a:extLst>
            </p:cNvPr>
            <p:cNvSpPr txBox="1">
              <a:spLocks/>
            </p:cNvSpPr>
            <p:nvPr/>
          </p:nvSpPr>
          <p:spPr>
            <a:xfrm>
              <a:off x="3818220" y="5433343"/>
              <a:ext cx="2286035" cy="73866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42913" lvl="2" indent="-2143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8488" lvl="3" indent="-152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7563" lvl="4" indent="-1476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8226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Dairy manufacturer </a:t>
              </a:r>
              <a:r>
                <a:rPr lang="en-GB" sz="1200" dirty="0">
                  <a:solidFill>
                    <a:srgbClr val="000000"/>
                  </a:solidFill>
                  <a:latin typeface="Arial" panose="020B0604020202020204"/>
                </a:rPr>
                <a:t>looking to expand and diversify business into yoghurt and cold chain logistics</a:t>
              </a:r>
            </a:p>
          </p:txBody>
        </p:sp>
        <p:pic>
          <p:nvPicPr>
            <p:cNvPr id="5" name="CustomIcon">
              <a:extLst>
                <a:ext uri="{FF2B5EF4-FFF2-40B4-BE49-F238E27FC236}">
                  <a16:creationId xmlns:a16="http://schemas.microsoft.com/office/drawing/2014/main" id="{AC3466CE-2AD8-489C-A78E-0B6AE31EF8AD}"/>
                </a:ext>
              </a:extLst>
            </p:cNvPr>
            <p:cNvPicPr>
              <a:picLocks/>
            </p:cNvPicPr>
            <p:nvPr>
              <p:custDataLst>
                <p:tags r:id="rId14"/>
              </p:custDataLst>
            </p:nvPr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p:blipFill>
          <p:spPr>
            <a:xfrm>
              <a:off x="5667375" y="4930645"/>
              <a:ext cx="434340" cy="434340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2B324C4-5A3F-497F-9440-495654910B56}"/>
              </a:ext>
            </a:extLst>
          </p:cNvPr>
          <p:cNvGrpSpPr/>
          <p:nvPr/>
        </p:nvGrpSpPr>
        <p:grpSpPr>
          <a:xfrm>
            <a:off x="9178928" y="2255662"/>
            <a:ext cx="2286035" cy="843412"/>
            <a:chOff x="3818220" y="1949207"/>
            <a:chExt cx="2286035" cy="843412"/>
          </a:xfrm>
        </p:grpSpPr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68AC6A60-D301-4584-AF96-AE58BFF7250F}"/>
                </a:ext>
              </a:extLst>
            </p:cNvPr>
            <p:cNvSpPr txBox="1"/>
            <p:nvPr/>
          </p:nvSpPr>
          <p:spPr>
            <a:xfrm>
              <a:off x="3818220" y="2423287"/>
              <a:ext cx="2286035" cy="369332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42913" lvl="2" indent="-2143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8488" lvl="3" indent="-152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7563" lvl="4" indent="-1476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8226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Steel company 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looking to expand its operations </a:t>
              </a:r>
            </a:p>
          </p:txBody>
        </p:sp>
        <p:pic>
          <p:nvPicPr>
            <p:cNvPr id="122" name="CustomIcon">
              <a:extLst>
                <a:ext uri="{FF2B5EF4-FFF2-40B4-BE49-F238E27FC236}">
                  <a16:creationId xmlns:a16="http://schemas.microsoft.com/office/drawing/2014/main" id="{E9935366-A1D1-4839-88E6-C6D103EE5AD3}"/>
                </a:ext>
              </a:extLst>
            </p:cNvPr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/>
            </a:stretch>
          </p:blipFill>
          <p:spPr>
            <a:xfrm>
              <a:off x="5667375" y="1949207"/>
              <a:ext cx="434340" cy="434340"/>
            </a:xfrm>
            <a:prstGeom prst="rect">
              <a:avLst/>
            </a:prstGeom>
          </p:spPr>
        </p:pic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98729607-B67E-4974-A2C4-27F053905274}"/>
                </a:ext>
              </a:extLst>
            </p:cNvPr>
            <p:cNvSpPr/>
            <p:nvPr/>
          </p:nvSpPr>
          <p:spPr>
            <a:xfrm>
              <a:off x="3818220" y="2054363"/>
              <a:ext cx="329184" cy="329184"/>
            </a:xfrm>
            <a:prstGeom prst="ellipse">
              <a:avLst/>
            </a:prstGeom>
            <a:solidFill>
              <a:srgbClr val="00206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8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0B65762-621D-43A0-A135-09CC8064D8C0}"/>
              </a:ext>
            </a:extLst>
          </p:cNvPr>
          <p:cNvGrpSpPr/>
          <p:nvPr/>
        </p:nvGrpSpPr>
        <p:grpSpPr>
          <a:xfrm>
            <a:off x="9178928" y="3364469"/>
            <a:ext cx="2455266" cy="1028078"/>
            <a:chOff x="3818220" y="3234711"/>
            <a:chExt cx="2455266" cy="1028078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A5A988E6-C62A-4422-B6CC-FE505F1F6EE9}"/>
                </a:ext>
              </a:extLst>
            </p:cNvPr>
            <p:cNvSpPr/>
            <p:nvPr/>
          </p:nvSpPr>
          <p:spPr>
            <a:xfrm>
              <a:off x="3818220" y="3339867"/>
              <a:ext cx="329184" cy="329184"/>
            </a:xfrm>
            <a:prstGeom prst="ellipse">
              <a:avLst/>
            </a:prstGeom>
            <a:solidFill>
              <a:srgbClr val="002060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lang="en-GB" sz="1200" dirty="0">
                  <a:solidFill>
                    <a:srgbClr val="FFFFFF"/>
                  </a:solidFill>
                  <a:latin typeface="Arial" panose="020B0604020202020204"/>
                </a:rPr>
                <a:t>2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0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D87A6C46-90EF-4C4F-9B82-AA1FCF1476FF}"/>
                </a:ext>
              </a:extLst>
            </p:cNvPr>
            <p:cNvSpPr txBox="1"/>
            <p:nvPr/>
          </p:nvSpPr>
          <p:spPr>
            <a:xfrm>
              <a:off x="3818220" y="3708791"/>
              <a:ext cx="2455266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42913" lvl="2" indent="-21431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8488" lvl="3" indent="-152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7563" lvl="4" indent="-1476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00000"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8226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Chemicals company </a:t>
              </a:r>
              <a:r>
                <a:rPr kumimoji="0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producing hygiene and consumer related chemical inputs and end products</a:t>
              </a:r>
            </a:p>
          </p:txBody>
        </p:sp>
        <p:pic>
          <p:nvPicPr>
            <p:cNvPr id="6" name="CustomIcon">
              <a:extLst>
                <a:ext uri="{FF2B5EF4-FFF2-40B4-BE49-F238E27FC236}">
                  <a16:creationId xmlns:a16="http://schemas.microsoft.com/office/drawing/2014/main" id="{D8C49F88-E7CE-4AF8-9A49-EE48D70D88CD}"/>
                </a:ext>
              </a:extLst>
            </p:cNvPr>
            <p:cNvPicPr>
              <a:picLocks/>
            </p:cNvPicPr>
            <p:nvPr>
              <p:custDataLst>
                <p:tags r:id="rId12"/>
              </p:custDataLst>
            </p:nvPr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5667375" y="3234711"/>
              <a:ext cx="434340" cy="434340"/>
            </a:xfrm>
            <a:prstGeom prst="rect">
              <a:avLst/>
            </a:prstGeom>
          </p:spPr>
        </p:pic>
      </p:grpSp>
      <p:sp>
        <p:nvSpPr>
          <p:cNvPr id="78" name="TextBox 77">
            <a:extLst>
              <a:ext uri="{FF2B5EF4-FFF2-40B4-BE49-F238E27FC236}">
                <a16:creationId xmlns:a16="http://schemas.microsoft.com/office/drawing/2014/main" id="{804881B5-7F75-4A83-B003-D8A6D38483CC}"/>
              </a:ext>
            </a:extLst>
          </p:cNvPr>
          <p:cNvSpPr txBox="1"/>
          <p:nvPr/>
        </p:nvSpPr>
        <p:spPr>
          <a:xfrm>
            <a:off x="567820" y="1326112"/>
            <a:ext cx="80791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S OF JAN 2022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959AB41-AE6D-48F3-8696-0EE5D85571EE}"/>
              </a:ext>
            </a:extLst>
          </p:cNvPr>
          <p:cNvSpPr txBox="1"/>
          <p:nvPr/>
        </p:nvSpPr>
        <p:spPr>
          <a:xfrm>
            <a:off x="547361" y="1704946"/>
            <a:ext cx="2846752" cy="49244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182266"/>
                </a:solidFill>
                <a:effectLst/>
                <a:uLnTx/>
                <a:uFillTx/>
                <a:latin typeface="Arial" panose="020B0604020202020204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dirty="0"/>
              <a:t>Deals supported or in progress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07747572-82FA-4F76-9D37-92807492D261}"/>
              </a:ext>
            </a:extLst>
          </p:cNvPr>
          <p:cNvSpPr txBox="1"/>
          <p:nvPr/>
        </p:nvSpPr>
        <p:spPr>
          <a:xfrm>
            <a:off x="3771238" y="1700212"/>
            <a:ext cx="5084064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18226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elected examples of transactions supported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F6CBE40D-AE4F-4619-A849-3CA4412BDA34}"/>
              </a:ext>
            </a:extLst>
          </p:cNvPr>
          <p:cNvSpPr/>
          <p:nvPr/>
        </p:nvSpPr>
        <p:spPr>
          <a:xfrm>
            <a:off x="6569268" y="2272477"/>
            <a:ext cx="329184" cy="329184"/>
          </a:xfrm>
          <a:prstGeom prst="ellipse">
            <a:avLst/>
          </a:pr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6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1772FC1F-C917-4EF3-B1C5-78BB206E9F43}"/>
              </a:ext>
            </a:extLst>
          </p:cNvPr>
          <p:cNvSpPr txBox="1"/>
          <p:nvPr/>
        </p:nvSpPr>
        <p:spPr>
          <a:xfrm>
            <a:off x="6569268" y="2641401"/>
            <a:ext cx="228603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18226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ocal conglomerate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looking to setup an investment platform in FMCG goods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327B9A40-A4C9-47A2-8A18-B133A3F110B1}"/>
              </a:ext>
            </a:extLst>
          </p:cNvPr>
          <p:cNvSpPr/>
          <p:nvPr/>
        </p:nvSpPr>
        <p:spPr>
          <a:xfrm>
            <a:off x="6569268" y="3629101"/>
            <a:ext cx="329184" cy="329184"/>
          </a:xfrm>
          <a:prstGeom prst="ellipse">
            <a:avLst/>
          </a:pr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11F4C648-CE8D-4CBF-AD48-272BB67AC678}"/>
              </a:ext>
            </a:extLst>
          </p:cNvPr>
          <p:cNvSpPr txBox="1"/>
          <p:nvPr/>
        </p:nvSpPr>
        <p:spPr>
          <a:xfrm>
            <a:off x="6569268" y="3998025"/>
            <a:ext cx="228603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18226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ocal fruit pulp producer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ooking to set up a new facility to serve the regional market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015FF79B-E85C-419F-B4DF-6AC25C5138A0}"/>
              </a:ext>
            </a:extLst>
          </p:cNvPr>
          <p:cNvSpPr/>
          <p:nvPr/>
        </p:nvSpPr>
        <p:spPr>
          <a:xfrm>
            <a:off x="3906517" y="2272477"/>
            <a:ext cx="329184" cy="329184"/>
          </a:xfrm>
          <a:prstGeom prst="ellipse">
            <a:avLst/>
          </a:pr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5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F666153A-A6B0-4CFA-9651-CF77DFBBC428}"/>
              </a:ext>
            </a:extLst>
          </p:cNvPr>
          <p:cNvSpPr txBox="1"/>
          <p:nvPr/>
        </p:nvSpPr>
        <p:spPr>
          <a:xfrm>
            <a:off x="3906517" y="2641401"/>
            <a:ext cx="228603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18226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teel company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ooking to set up a green steel semi-finished product plant</a:t>
            </a: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A276DF64-27AF-4A1B-A401-3A0F664F8AAF}"/>
              </a:ext>
            </a:extLst>
          </p:cNvPr>
          <p:cNvSpPr/>
          <p:nvPr/>
        </p:nvSpPr>
        <p:spPr>
          <a:xfrm>
            <a:off x="3906517" y="3629101"/>
            <a:ext cx="329184" cy="329184"/>
          </a:xfrm>
          <a:prstGeom prst="ellipse">
            <a:avLst/>
          </a:pr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0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11EAD926-2BA2-4CA1-A7F5-DBD9E0857D73}"/>
              </a:ext>
            </a:extLst>
          </p:cNvPr>
          <p:cNvSpPr txBox="1"/>
          <p:nvPr/>
        </p:nvSpPr>
        <p:spPr>
          <a:xfrm>
            <a:off x="3906517" y="3998025"/>
            <a:ext cx="228603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18226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Eco-industrial park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ooking to attract apparel and </a:t>
            </a:r>
            <a:r>
              <a:rPr kumimoji="0" lang="en-GB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gri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-processing tenants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340C147E-2E5C-4F66-AEA7-D20A24C3210B}"/>
              </a:ext>
            </a:extLst>
          </p:cNvPr>
          <p:cNvSpPr/>
          <p:nvPr/>
        </p:nvSpPr>
        <p:spPr>
          <a:xfrm>
            <a:off x="3906517" y="4947253"/>
            <a:ext cx="329184" cy="329184"/>
          </a:xfrm>
          <a:prstGeom prst="ellipse">
            <a:avLst/>
          </a:pr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5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8A14A55E-BC0C-4DB8-8443-35BCEA4AE8BD}"/>
              </a:ext>
            </a:extLst>
          </p:cNvPr>
          <p:cNvSpPr txBox="1"/>
          <p:nvPr/>
        </p:nvSpPr>
        <p:spPr>
          <a:xfrm>
            <a:off x="3906517" y="5316177"/>
            <a:ext cx="228603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18226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ocal pharmaceutical company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looking to upgrade and expand domestic operations</a:t>
            </a: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EF25F24D-884B-4828-B8E7-3933F1803E4D}"/>
              </a:ext>
            </a:extLst>
          </p:cNvPr>
          <p:cNvSpPr/>
          <p:nvPr/>
        </p:nvSpPr>
        <p:spPr>
          <a:xfrm>
            <a:off x="6569268" y="4947253"/>
            <a:ext cx="329184" cy="329184"/>
          </a:xfrm>
          <a:prstGeom prst="ellipse">
            <a:avLst/>
          </a:pr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D06A2588-9ED2-421B-9C6E-22C0E4E94657}"/>
              </a:ext>
            </a:extLst>
          </p:cNvPr>
          <p:cNvSpPr txBox="1"/>
          <p:nvPr/>
        </p:nvSpPr>
        <p:spPr>
          <a:xfrm>
            <a:off x="6569268" y="5316177"/>
            <a:ext cx="2286035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18226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olar home system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new venture to Manufacture and assembly of components for the SHS and mini-grid industry  </a:t>
            </a:r>
          </a:p>
        </p:txBody>
      </p:sp>
      <p:pic>
        <p:nvPicPr>
          <p:cNvPr id="99" name="CustomIcon">
            <a:extLst>
              <a:ext uri="{FF2B5EF4-FFF2-40B4-BE49-F238E27FC236}">
                <a16:creationId xmlns:a16="http://schemas.microsoft.com/office/drawing/2014/main" id="{F94F98BC-94CD-4166-A4E4-E3731792F9A9}"/>
              </a:ext>
            </a:extLst>
          </p:cNvPr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5582952" y="4842097"/>
            <a:ext cx="434340" cy="434340"/>
          </a:xfrm>
          <a:prstGeom prst="rect">
            <a:avLst/>
          </a:prstGeom>
        </p:spPr>
      </p:pic>
      <p:pic>
        <p:nvPicPr>
          <p:cNvPr id="100" name="CustomIcon">
            <a:extLst>
              <a:ext uri="{FF2B5EF4-FFF2-40B4-BE49-F238E27FC236}">
                <a16:creationId xmlns:a16="http://schemas.microsoft.com/office/drawing/2014/main" id="{22913154-4879-4E71-BEA9-82E286F0623F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5582952" y="2167321"/>
            <a:ext cx="434340" cy="434340"/>
          </a:xfrm>
          <a:prstGeom prst="rect">
            <a:avLst/>
          </a:prstGeom>
        </p:spPr>
      </p:pic>
      <p:pic>
        <p:nvPicPr>
          <p:cNvPr id="103" name="CustomIcon">
            <a:extLst>
              <a:ext uri="{FF2B5EF4-FFF2-40B4-BE49-F238E27FC236}">
                <a16:creationId xmlns:a16="http://schemas.microsoft.com/office/drawing/2014/main" id="{B7F2E7CA-85D5-4636-9562-A5467185A7C7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43"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8122580" y="3523945"/>
            <a:ext cx="434340" cy="434340"/>
          </a:xfrm>
          <a:prstGeom prst="rect">
            <a:avLst/>
          </a:prstGeom>
        </p:spPr>
      </p:pic>
      <p:pic>
        <p:nvPicPr>
          <p:cNvPr id="107" name="CustomIcon">
            <a:extLst>
              <a:ext uri="{FF2B5EF4-FFF2-40B4-BE49-F238E27FC236}">
                <a16:creationId xmlns:a16="http://schemas.microsoft.com/office/drawing/2014/main" id="{8D1752AC-667E-4454-B3BA-FB750703D2C8}"/>
              </a:ext>
            </a:extLst>
          </p:cNvPr>
          <p:cNvPicPr>
            <a:picLocks/>
          </p:cNvPicPr>
          <p:nvPr>
            <p:custDataLst>
              <p:tags r:id="rId11"/>
            </p:custDataLst>
          </p:nvPr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8122580" y="2238875"/>
            <a:ext cx="361685" cy="362786"/>
          </a:xfrm>
          <a:prstGeom prst="rect">
            <a:avLst/>
          </a:prstGeom>
        </p:spPr>
      </p:pic>
      <p:sp>
        <p:nvSpPr>
          <p:cNvPr id="109" name="Freeform 94">
            <a:extLst>
              <a:ext uri="{FF2B5EF4-FFF2-40B4-BE49-F238E27FC236}">
                <a16:creationId xmlns:a16="http://schemas.microsoft.com/office/drawing/2014/main" id="{4391458B-E0C4-4FAC-A689-1007B0F7094A}"/>
              </a:ext>
            </a:extLst>
          </p:cNvPr>
          <p:cNvSpPr>
            <a:spLocks noEditPoints="1"/>
          </p:cNvSpPr>
          <p:nvPr/>
        </p:nvSpPr>
        <p:spPr bwMode="auto">
          <a:xfrm>
            <a:off x="5683955" y="3485473"/>
            <a:ext cx="333335" cy="438565"/>
          </a:xfrm>
          <a:custGeom>
            <a:avLst/>
            <a:gdLst>
              <a:gd name="T0" fmla="*/ 23 w 113"/>
              <a:gd name="T1" fmla="*/ 20 h 126"/>
              <a:gd name="T2" fmla="*/ 90 w 113"/>
              <a:gd name="T3" fmla="*/ 22 h 126"/>
              <a:gd name="T4" fmla="*/ 101 w 113"/>
              <a:gd name="T5" fmla="*/ 30 h 126"/>
              <a:gd name="T6" fmla="*/ 13 w 113"/>
              <a:gd name="T7" fmla="*/ 30 h 126"/>
              <a:gd name="T8" fmla="*/ 23 w 113"/>
              <a:gd name="T9" fmla="*/ 22 h 126"/>
              <a:gd name="T10" fmla="*/ 105 w 113"/>
              <a:gd name="T11" fmla="*/ 55 h 126"/>
              <a:gd name="T12" fmla="*/ 104 w 113"/>
              <a:gd name="T13" fmla="*/ 41 h 126"/>
              <a:gd name="T14" fmla="*/ 92 w 113"/>
              <a:gd name="T15" fmla="*/ 39 h 126"/>
              <a:gd name="T16" fmla="*/ 69 w 113"/>
              <a:gd name="T17" fmla="*/ 54 h 126"/>
              <a:gd name="T18" fmla="*/ 63 w 113"/>
              <a:gd name="T19" fmla="*/ 53 h 126"/>
              <a:gd name="T20" fmla="*/ 57 w 113"/>
              <a:gd name="T21" fmla="*/ 47 h 126"/>
              <a:gd name="T22" fmla="*/ 50 w 113"/>
              <a:gd name="T23" fmla="*/ 53 h 126"/>
              <a:gd name="T24" fmla="*/ 28 w 113"/>
              <a:gd name="T25" fmla="*/ 50 h 126"/>
              <a:gd name="T26" fmla="*/ 22 w 113"/>
              <a:gd name="T27" fmla="*/ 38 h 126"/>
              <a:gd name="T28" fmla="*/ 9 w 113"/>
              <a:gd name="T29" fmla="*/ 51 h 126"/>
              <a:gd name="T30" fmla="*/ 0 w 113"/>
              <a:gd name="T31" fmla="*/ 61 h 126"/>
              <a:gd name="T32" fmla="*/ 14 w 113"/>
              <a:gd name="T33" fmla="*/ 67 h 126"/>
              <a:gd name="T34" fmla="*/ 22 w 113"/>
              <a:gd name="T35" fmla="*/ 93 h 126"/>
              <a:gd name="T36" fmla="*/ 41 w 113"/>
              <a:gd name="T37" fmla="*/ 122 h 126"/>
              <a:gd name="T38" fmla="*/ 75 w 113"/>
              <a:gd name="T39" fmla="*/ 122 h 126"/>
              <a:gd name="T40" fmla="*/ 93 w 113"/>
              <a:gd name="T41" fmla="*/ 93 h 126"/>
              <a:gd name="T42" fmla="*/ 99 w 113"/>
              <a:gd name="T43" fmla="*/ 66 h 126"/>
              <a:gd name="T44" fmla="*/ 113 w 113"/>
              <a:gd name="T45" fmla="*/ 61 h 126"/>
              <a:gd name="T46" fmla="*/ 88 w 113"/>
              <a:gd name="T47" fmla="*/ 85 h 126"/>
              <a:gd name="T48" fmla="*/ 69 w 113"/>
              <a:gd name="T49" fmla="*/ 83 h 126"/>
              <a:gd name="T50" fmla="*/ 45 w 113"/>
              <a:gd name="T51" fmla="*/ 83 h 126"/>
              <a:gd name="T52" fmla="*/ 28 w 113"/>
              <a:gd name="T53" fmla="*/ 85 h 126"/>
              <a:gd name="T54" fmla="*/ 27 w 113"/>
              <a:gd name="T55" fmla="*/ 65 h 126"/>
              <a:gd name="T56" fmla="*/ 89 w 113"/>
              <a:gd name="T57" fmla="*/ 65 h 126"/>
              <a:gd name="T58" fmla="*/ 27 w 113"/>
              <a:gd name="T59" fmla="*/ 38 h 126"/>
              <a:gd name="T60" fmla="*/ 44 w 113"/>
              <a:gd name="T61" fmla="*/ 49 h 126"/>
              <a:gd name="T62" fmla="*/ 50 w 113"/>
              <a:gd name="T63" fmla="*/ 46 h 126"/>
              <a:gd name="T64" fmla="*/ 64 w 113"/>
              <a:gd name="T65" fmla="*/ 46 h 126"/>
              <a:gd name="T66" fmla="*/ 69 w 113"/>
              <a:gd name="T67" fmla="*/ 49 h 126"/>
              <a:gd name="T68" fmla="*/ 87 w 113"/>
              <a:gd name="T69" fmla="*/ 38 h 126"/>
              <a:gd name="T70" fmla="*/ 28 w 113"/>
              <a:gd name="T71" fmla="*/ 25 h 126"/>
              <a:gd name="T72" fmla="*/ 49 w 113"/>
              <a:gd name="T73" fmla="*/ 32 h 126"/>
              <a:gd name="T74" fmla="*/ 34 w 113"/>
              <a:gd name="T75" fmla="*/ 42 h 126"/>
              <a:gd name="T76" fmla="*/ 49 w 113"/>
              <a:gd name="T77" fmla="*/ 32 h 126"/>
              <a:gd name="T78" fmla="*/ 39 w 113"/>
              <a:gd name="T79" fmla="*/ 31 h 126"/>
              <a:gd name="T80" fmla="*/ 30 w 113"/>
              <a:gd name="T81" fmla="*/ 34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13" h="126">
                <a:moveTo>
                  <a:pt x="23" y="22"/>
                </a:moveTo>
                <a:cubicBezTo>
                  <a:pt x="23" y="20"/>
                  <a:pt x="23" y="20"/>
                  <a:pt x="23" y="20"/>
                </a:cubicBezTo>
                <a:cubicBezTo>
                  <a:pt x="90" y="20"/>
                  <a:pt x="90" y="20"/>
                  <a:pt x="90" y="20"/>
                </a:cubicBezTo>
                <a:cubicBezTo>
                  <a:pt x="90" y="22"/>
                  <a:pt x="90" y="22"/>
                  <a:pt x="90" y="22"/>
                </a:cubicBezTo>
                <a:cubicBezTo>
                  <a:pt x="90" y="23"/>
                  <a:pt x="91" y="25"/>
                  <a:pt x="91" y="27"/>
                </a:cubicBezTo>
                <a:cubicBezTo>
                  <a:pt x="101" y="30"/>
                  <a:pt x="101" y="30"/>
                  <a:pt x="101" y="30"/>
                </a:cubicBezTo>
                <a:cubicBezTo>
                  <a:pt x="93" y="12"/>
                  <a:pt x="76" y="0"/>
                  <a:pt x="57" y="0"/>
                </a:cubicBezTo>
                <a:cubicBezTo>
                  <a:pt x="37" y="0"/>
                  <a:pt x="20" y="12"/>
                  <a:pt x="13" y="30"/>
                </a:cubicBezTo>
                <a:cubicBezTo>
                  <a:pt x="22" y="27"/>
                  <a:pt x="22" y="27"/>
                  <a:pt x="22" y="27"/>
                </a:cubicBezTo>
                <a:cubicBezTo>
                  <a:pt x="23" y="25"/>
                  <a:pt x="23" y="23"/>
                  <a:pt x="23" y="22"/>
                </a:cubicBezTo>
                <a:close/>
                <a:moveTo>
                  <a:pt x="113" y="61"/>
                </a:moveTo>
                <a:cubicBezTo>
                  <a:pt x="105" y="55"/>
                  <a:pt x="105" y="55"/>
                  <a:pt x="105" y="55"/>
                </a:cubicBezTo>
                <a:cubicBezTo>
                  <a:pt x="105" y="53"/>
                  <a:pt x="105" y="52"/>
                  <a:pt x="105" y="51"/>
                </a:cubicBezTo>
                <a:cubicBezTo>
                  <a:pt x="105" y="48"/>
                  <a:pt x="104" y="44"/>
                  <a:pt x="104" y="41"/>
                </a:cubicBezTo>
                <a:cubicBezTo>
                  <a:pt x="92" y="38"/>
                  <a:pt x="92" y="38"/>
                  <a:pt x="92" y="38"/>
                </a:cubicBezTo>
                <a:cubicBezTo>
                  <a:pt x="92" y="38"/>
                  <a:pt x="92" y="38"/>
                  <a:pt x="92" y="39"/>
                </a:cubicBezTo>
                <a:cubicBezTo>
                  <a:pt x="91" y="44"/>
                  <a:pt x="89" y="48"/>
                  <a:pt x="85" y="50"/>
                </a:cubicBezTo>
                <a:cubicBezTo>
                  <a:pt x="82" y="53"/>
                  <a:pt x="75" y="54"/>
                  <a:pt x="69" y="54"/>
                </a:cubicBezTo>
                <a:cubicBezTo>
                  <a:pt x="69" y="54"/>
                  <a:pt x="69" y="54"/>
                  <a:pt x="69" y="54"/>
                </a:cubicBezTo>
                <a:cubicBezTo>
                  <a:pt x="67" y="54"/>
                  <a:pt x="65" y="54"/>
                  <a:pt x="63" y="53"/>
                </a:cubicBezTo>
                <a:cubicBezTo>
                  <a:pt x="62" y="52"/>
                  <a:pt x="61" y="51"/>
                  <a:pt x="60" y="50"/>
                </a:cubicBezTo>
                <a:cubicBezTo>
                  <a:pt x="59" y="48"/>
                  <a:pt x="57" y="47"/>
                  <a:pt x="57" y="47"/>
                </a:cubicBezTo>
                <a:cubicBezTo>
                  <a:pt x="56" y="47"/>
                  <a:pt x="55" y="48"/>
                  <a:pt x="54" y="50"/>
                </a:cubicBezTo>
                <a:cubicBezTo>
                  <a:pt x="53" y="51"/>
                  <a:pt x="52" y="52"/>
                  <a:pt x="50" y="53"/>
                </a:cubicBezTo>
                <a:cubicBezTo>
                  <a:pt x="49" y="54"/>
                  <a:pt x="47" y="54"/>
                  <a:pt x="44" y="54"/>
                </a:cubicBezTo>
                <a:cubicBezTo>
                  <a:pt x="39" y="54"/>
                  <a:pt x="32" y="53"/>
                  <a:pt x="28" y="50"/>
                </a:cubicBezTo>
                <a:cubicBezTo>
                  <a:pt x="24" y="48"/>
                  <a:pt x="22" y="44"/>
                  <a:pt x="22" y="39"/>
                </a:cubicBezTo>
                <a:cubicBezTo>
                  <a:pt x="22" y="38"/>
                  <a:pt x="22" y="38"/>
                  <a:pt x="22" y="38"/>
                </a:cubicBezTo>
                <a:cubicBezTo>
                  <a:pt x="10" y="41"/>
                  <a:pt x="10" y="41"/>
                  <a:pt x="10" y="41"/>
                </a:cubicBezTo>
                <a:cubicBezTo>
                  <a:pt x="9" y="44"/>
                  <a:pt x="9" y="48"/>
                  <a:pt x="9" y="51"/>
                </a:cubicBezTo>
                <a:cubicBezTo>
                  <a:pt x="9" y="52"/>
                  <a:pt x="9" y="53"/>
                  <a:pt x="9" y="55"/>
                </a:cubicBezTo>
                <a:cubicBezTo>
                  <a:pt x="0" y="61"/>
                  <a:pt x="0" y="61"/>
                  <a:pt x="0" y="61"/>
                </a:cubicBezTo>
                <a:cubicBezTo>
                  <a:pt x="9" y="71"/>
                  <a:pt x="9" y="71"/>
                  <a:pt x="9" y="71"/>
                </a:cubicBezTo>
                <a:cubicBezTo>
                  <a:pt x="14" y="67"/>
                  <a:pt x="14" y="67"/>
                  <a:pt x="14" y="67"/>
                </a:cubicBezTo>
                <a:cubicBezTo>
                  <a:pt x="12" y="73"/>
                  <a:pt x="17" y="89"/>
                  <a:pt x="18" y="89"/>
                </a:cubicBezTo>
                <a:cubicBezTo>
                  <a:pt x="18" y="92"/>
                  <a:pt x="21" y="93"/>
                  <a:pt x="22" y="93"/>
                </a:cubicBezTo>
                <a:cubicBezTo>
                  <a:pt x="23" y="94"/>
                  <a:pt x="23" y="98"/>
                  <a:pt x="23" y="99"/>
                </a:cubicBezTo>
                <a:cubicBezTo>
                  <a:pt x="23" y="106"/>
                  <a:pt x="38" y="121"/>
                  <a:pt x="41" y="122"/>
                </a:cubicBezTo>
                <a:cubicBezTo>
                  <a:pt x="45" y="125"/>
                  <a:pt x="53" y="126"/>
                  <a:pt x="58" y="126"/>
                </a:cubicBezTo>
                <a:cubicBezTo>
                  <a:pt x="62" y="126"/>
                  <a:pt x="70" y="125"/>
                  <a:pt x="75" y="122"/>
                </a:cubicBezTo>
                <a:cubicBezTo>
                  <a:pt x="77" y="121"/>
                  <a:pt x="93" y="106"/>
                  <a:pt x="93" y="99"/>
                </a:cubicBezTo>
                <a:cubicBezTo>
                  <a:pt x="93" y="98"/>
                  <a:pt x="93" y="94"/>
                  <a:pt x="93" y="93"/>
                </a:cubicBezTo>
                <a:cubicBezTo>
                  <a:pt x="95" y="93"/>
                  <a:pt x="97" y="92"/>
                  <a:pt x="98" y="89"/>
                </a:cubicBezTo>
                <a:cubicBezTo>
                  <a:pt x="98" y="89"/>
                  <a:pt x="102" y="72"/>
                  <a:pt x="99" y="66"/>
                </a:cubicBezTo>
                <a:cubicBezTo>
                  <a:pt x="105" y="71"/>
                  <a:pt x="105" y="71"/>
                  <a:pt x="105" y="71"/>
                </a:cubicBezTo>
                <a:lnTo>
                  <a:pt x="113" y="61"/>
                </a:lnTo>
                <a:close/>
                <a:moveTo>
                  <a:pt x="88" y="71"/>
                </a:moveTo>
                <a:cubicBezTo>
                  <a:pt x="88" y="85"/>
                  <a:pt x="88" y="85"/>
                  <a:pt x="88" y="85"/>
                </a:cubicBezTo>
                <a:cubicBezTo>
                  <a:pt x="88" y="85"/>
                  <a:pt x="88" y="85"/>
                  <a:pt x="88" y="86"/>
                </a:cubicBezTo>
                <a:cubicBezTo>
                  <a:pt x="88" y="86"/>
                  <a:pt x="76" y="86"/>
                  <a:pt x="69" y="83"/>
                </a:cubicBezTo>
                <a:cubicBezTo>
                  <a:pt x="62" y="79"/>
                  <a:pt x="62" y="75"/>
                  <a:pt x="57" y="75"/>
                </a:cubicBezTo>
                <a:cubicBezTo>
                  <a:pt x="51" y="75"/>
                  <a:pt x="52" y="79"/>
                  <a:pt x="45" y="83"/>
                </a:cubicBezTo>
                <a:cubicBezTo>
                  <a:pt x="39" y="85"/>
                  <a:pt x="31" y="86"/>
                  <a:pt x="28" y="86"/>
                </a:cubicBezTo>
                <a:cubicBezTo>
                  <a:pt x="28" y="85"/>
                  <a:pt x="28" y="85"/>
                  <a:pt x="28" y="85"/>
                </a:cubicBezTo>
                <a:cubicBezTo>
                  <a:pt x="27" y="71"/>
                  <a:pt x="27" y="71"/>
                  <a:pt x="27" y="71"/>
                </a:cubicBezTo>
                <a:cubicBezTo>
                  <a:pt x="27" y="71"/>
                  <a:pt x="27" y="68"/>
                  <a:pt x="27" y="65"/>
                </a:cubicBezTo>
                <a:cubicBezTo>
                  <a:pt x="35" y="64"/>
                  <a:pt x="46" y="63"/>
                  <a:pt x="57" y="63"/>
                </a:cubicBezTo>
                <a:cubicBezTo>
                  <a:pt x="69" y="63"/>
                  <a:pt x="80" y="64"/>
                  <a:pt x="89" y="65"/>
                </a:cubicBezTo>
                <a:cubicBezTo>
                  <a:pt x="88" y="68"/>
                  <a:pt x="88" y="71"/>
                  <a:pt x="88" y="71"/>
                </a:cubicBezTo>
                <a:close/>
                <a:moveTo>
                  <a:pt x="27" y="38"/>
                </a:moveTo>
                <a:cubicBezTo>
                  <a:pt x="27" y="41"/>
                  <a:pt x="28" y="44"/>
                  <a:pt x="31" y="46"/>
                </a:cubicBezTo>
                <a:cubicBezTo>
                  <a:pt x="33" y="47"/>
                  <a:pt x="40" y="49"/>
                  <a:pt x="44" y="49"/>
                </a:cubicBezTo>
                <a:cubicBezTo>
                  <a:pt x="46" y="49"/>
                  <a:pt x="47" y="49"/>
                  <a:pt x="47" y="49"/>
                </a:cubicBezTo>
                <a:cubicBezTo>
                  <a:pt x="48" y="48"/>
                  <a:pt x="49" y="47"/>
                  <a:pt x="50" y="46"/>
                </a:cubicBezTo>
                <a:cubicBezTo>
                  <a:pt x="52" y="44"/>
                  <a:pt x="54" y="42"/>
                  <a:pt x="57" y="42"/>
                </a:cubicBezTo>
                <a:cubicBezTo>
                  <a:pt x="60" y="42"/>
                  <a:pt x="62" y="44"/>
                  <a:pt x="64" y="46"/>
                </a:cubicBezTo>
                <a:cubicBezTo>
                  <a:pt x="64" y="47"/>
                  <a:pt x="65" y="48"/>
                  <a:pt x="66" y="49"/>
                </a:cubicBezTo>
                <a:cubicBezTo>
                  <a:pt x="66" y="49"/>
                  <a:pt x="67" y="49"/>
                  <a:pt x="69" y="49"/>
                </a:cubicBezTo>
                <a:cubicBezTo>
                  <a:pt x="74" y="49"/>
                  <a:pt x="80" y="47"/>
                  <a:pt x="82" y="46"/>
                </a:cubicBezTo>
                <a:cubicBezTo>
                  <a:pt x="86" y="44"/>
                  <a:pt x="87" y="41"/>
                  <a:pt x="87" y="38"/>
                </a:cubicBezTo>
                <a:cubicBezTo>
                  <a:pt x="87" y="36"/>
                  <a:pt x="86" y="30"/>
                  <a:pt x="85" y="25"/>
                </a:cubicBezTo>
                <a:cubicBezTo>
                  <a:pt x="28" y="25"/>
                  <a:pt x="28" y="25"/>
                  <a:pt x="28" y="25"/>
                </a:cubicBezTo>
                <a:cubicBezTo>
                  <a:pt x="27" y="30"/>
                  <a:pt x="27" y="36"/>
                  <a:pt x="27" y="38"/>
                </a:cubicBezTo>
                <a:close/>
                <a:moveTo>
                  <a:pt x="49" y="32"/>
                </a:moveTo>
                <a:cubicBezTo>
                  <a:pt x="37" y="44"/>
                  <a:pt x="37" y="44"/>
                  <a:pt x="37" y="44"/>
                </a:cubicBezTo>
                <a:cubicBezTo>
                  <a:pt x="34" y="42"/>
                  <a:pt x="34" y="42"/>
                  <a:pt x="34" y="42"/>
                </a:cubicBezTo>
                <a:cubicBezTo>
                  <a:pt x="46" y="30"/>
                  <a:pt x="46" y="30"/>
                  <a:pt x="46" y="30"/>
                </a:cubicBezTo>
                <a:lnTo>
                  <a:pt x="49" y="32"/>
                </a:lnTo>
                <a:close/>
                <a:moveTo>
                  <a:pt x="36" y="28"/>
                </a:moveTo>
                <a:cubicBezTo>
                  <a:pt x="39" y="31"/>
                  <a:pt x="39" y="31"/>
                  <a:pt x="39" y="31"/>
                </a:cubicBezTo>
                <a:cubicBezTo>
                  <a:pt x="33" y="37"/>
                  <a:pt x="33" y="37"/>
                  <a:pt x="33" y="37"/>
                </a:cubicBezTo>
                <a:cubicBezTo>
                  <a:pt x="30" y="34"/>
                  <a:pt x="30" y="34"/>
                  <a:pt x="30" y="34"/>
                </a:cubicBezTo>
                <a:lnTo>
                  <a:pt x="36" y="28"/>
                </a:lnTo>
                <a:close/>
              </a:path>
            </a:pathLst>
          </a:custGeom>
          <a:noFill/>
          <a:ln w="6350" cap="flat">
            <a:solidFill>
              <a:schemeClr val="accent1"/>
            </a:solidFill>
            <a:prstDash val="solid"/>
            <a:miter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404B82"/>
              </a:solidFill>
              <a:effectLst/>
              <a:uLnTx/>
              <a:uFillTx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7A7D242-272D-425A-BA6A-9BA4A9453804}"/>
              </a:ext>
            </a:extLst>
          </p:cNvPr>
          <p:cNvGrpSpPr/>
          <p:nvPr/>
        </p:nvGrpSpPr>
        <p:grpSpPr>
          <a:xfrm>
            <a:off x="8122597" y="4910340"/>
            <a:ext cx="422381" cy="384431"/>
            <a:chOff x="8165125" y="4910340"/>
            <a:chExt cx="422381" cy="384431"/>
          </a:xfrm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19E526E-A784-4E9D-8C10-DF141D0E9E00}"/>
                </a:ext>
              </a:extLst>
            </p:cNvPr>
            <p:cNvSpPr/>
            <p:nvPr/>
          </p:nvSpPr>
          <p:spPr>
            <a:xfrm>
              <a:off x="8310500" y="5029156"/>
              <a:ext cx="169610" cy="159122"/>
            </a:xfrm>
            <a:custGeom>
              <a:avLst/>
              <a:gdLst>
                <a:gd name="connsiteX0" fmla="*/ 28624 w 169610"/>
                <a:gd name="connsiteY0" fmla="*/ 42241 h 159122"/>
                <a:gd name="connsiteX1" fmla="*/ 33995 w 169610"/>
                <a:gd name="connsiteY1" fmla="*/ 36201 h 159122"/>
                <a:gd name="connsiteX2" fmla="*/ 36351 w 169610"/>
                <a:gd name="connsiteY2" fmla="*/ 27157 h 159122"/>
                <a:gd name="connsiteX3" fmla="*/ 33441 w 169610"/>
                <a:gd name="connsiteY3" fmla="*/ 18897 h 159122"/>
                <a:gd name="connsiteX4" fmla="*/ 36351 w 169610"/>
                <a:gd name="connsiteY4" fmla="*/ 12923 h 159122"/>
                <a:gd name="connsiteX5" fmla="*/ 58701 w 169610"/>
                <a:gd name="connsiteY5" fmla="*/ 2835 h 159122"/>
                <a:gd name="connsiteX6" fmla="*/ 64245 w 169610"/>
                <a:gd name="connsiteY6" fmla="*/ 4173 h 159122"/>
                <a:gd name="connsiteX7" fmla="*/ 66549 w 169610"/>
                <a:gd name="connsiteY7" fmla="*/ 7095 h 159122"/>
                <a:gd name="connsiteX8" fmla="*/ 84013 w 169610"/>
                <a:gd name="connsiteY8" fmla="*/ 15453 h 159122"/>
                <a:gd name="connsiteX9" fmla="*/ 88101 w 169610"/>
                <a:gd name="connsiteY9" fmla="*/ 13103 h 159122"/>
                <a:gd name="connsiteX10" fmla="*/ 93212 w 169610"/>
                <a:gd name="connsiteY10" fmla="*/ 3667 h 159122"/>
                <a:gd name="connsiteX11" fmla="*/ 101355 w 169610"/>
                <a:gd name="connsiteY11" fmla="*/ 598 h 159122"/>
                <a:gd name="connsiteX12" fmla="*/ 122855 w 169610"/>
                <a:gd name="connsiteY12" fmla="*/ 7569 h 159122"/>
                <a:gd name="connsiteX13" fmla="*/ 126927 w 169610"/>
                <a:gd name="connsiteY13" fmla="*/ 14474 h 159122"/>
                <a:gd name="connsiteX14" fmla="*/ 124778 w 169610"/>
                <a:gd name="connsiteY14" fmla="*/ 25933 h 159122"/>
                <a:gd name="connsiteX15" fmla="*/ 125697 w 169610"/>
                <a:gd name="connsiteY15" fmla="*/ 28643 h 159122"/>
                <a:gd name="connsiteX16" fmla="*/ 132696 w 169610"/>
                <a:gd name="connsiteY16" fmla="*/ 34503 h 159122"/>
                <a:gd name="connsiteX17" fmla="*/ 136022 w 169610"/>
                <a:gd name="connsiteY17" fmla="*/ 35091 h 159122"/>
                <a:gd name="connsiteX18" fmla="*/ 147752 w 169610"/>
                <a:gd name="connsiteY18" fmla="*/ 31516 h 159122"/>
                <a:gd name="connsiteX19" fmla="*/ 155808 w 169610"/>
                <a:gd name="connsiteY19" fmla="*/ 34683 h 159122"/>
                <a:gd name="connsiteX20" fmla="*/ 165787 w 169610"/>
                <a:gd name="connsiteY20" fmla="*/ 53700 h 159122"/>
                <a:gd name="connsiteX21" fmla="*/ 164054 w 169610"/>
                <a:gd name="connsiteY21" fmla="*/ 60866 h 159122"/>
                <a:gd name="connsiteX22" fmla="*/ 154456 w 169610"/>
                <a:gd name="connsiteY22" fmla="*/ 66971 h 159122"/>
                <a:gd name="connsiteX23" fmla="*/ 151407 w 169610"/>
                <a:gd name="connsiteY23" fmla="*/ 71885 h 159122"/>
                <a:gd name="connsiteX24" fmla="*/ 160174 w 169610"/>
                <a:gd name="connsiteY24" fmla="*/ 85368 h 159122"/>
                <a:gd name="connsiteX25" fmla="*/ 166705 w 169610"/>
                <a:gd name="connsiteY25" fmla="*/ 100141 h 159122"/>
                <a:gd name="connsiteX26" fmla="*/ 161023 w 169610"/>
                <a:gd name="connsiteY26" fmla="*/ 115975 h 159122"/>
                <a:gd name="connsiteX27" fmla="*/ 156535 w 169610"/>
                <a:gd name="connsiteY27" fmla="*/ 119028 h 159122"/>
                <a:gd name="connsiteX28" fmla="*/ 147786 w 169610"/>
                <a:gd name="connsiteY28" fmla="*/ 117608 h 159122"/>
                <a:gd name="connsiteX29" fmla="*/ 138968 w 169610"/>
                <a:gd name="connsiteY29" fmla="*/ 116498 h 159122"/>
                <a:gd name="connsiteX30" fmla="*/ 136906 w 169610"/>
                <a:gd name="connsiteY30" fmla="*/ 119028 h 159122"/>
                <a:gd name="connsiteX31" fmla="*/ 133736 w 169610"/>
                <a:gd name="connsiteY31" fmla="*/ 133229 h 159122"/>
                <a:gd name="connsiteX32" fmla="*/ 135970 w 169610"/>
                <a:gd name="connsiteY32" fmla="*/ 140167 h 159122"/>
                <a:gd name="connsiteX33" fmla="*/ 133510 w 169610"/>
                <a:gd name="connsiteY33" fmla="*/ 145391 h 159122"/>
                <a:gd name="connsiteX34" fmla="*/ 111646 w 169610"/>
                <a:gd name="connsiteY34" fmla="*/ 155675 h 159122"/>
                <a:gd name="connsiteX35" fmla="*/ 104318 w 169610"/>
                <a:gd name="connsiteY35" fmla="*/ 153846 h 159122"/>
                <a:gd name="connsiteX36" fmla="*/ 98566 w 169610"/>
                <a:gd name="connsiteY36" fmla="*/ 146076 h 159122"/>
                <a:gd name="connsiteX37" fmla="*/ 88673 w 169610"/>
                <a:gd name="connsiteY37" fmla="*/ 142175 h 159122"/>
                <a:gd name="connsiteX38" fmla="*/ 78191 w 169610"/>
                <a:gd name="connsiteY38" fmla="*/ 151120 h 159122"/>
                <a:gd name="connsiteX39" fmla="*/ 63586 w 169610"/>
                <a:gd name="connsiteY39" fmla="*/ 156817 h 159122"/>
                <a:gd name="connsiteX40" fmla="*/ 47872 w 169610"/>
                <a:gd name="connsiteY40" fmla="*/ 151806 h 159122"/>
                <a:gd name="connsiteX41" fmla="*/ 42710 w 169610"/>
                <a:gd name="connsiteY41" fmla="*/ 144493 h 159122"/>
                <a:gd name="connsiteX42" fmla="*/ 44563 w 169610"/>
                <a:gd name="connsiteY42" fmla="*/ 134813 h 159122"/>
                <a:gd name="connsiteX43" fmla="*/ 45014 w 169610"/>
                <a:gd name="connsiteY43" fmla="*/ 133066 h 159122"/>
                <a:gd name="connsiteX44" fmla="*/ 32384 w 169610"/>
                <a:gd name="connsiteY44" fmla="*/ 123892 h 159122"/>
                <a:gd name="connsiteX45" fmla="*/ 21019 w 169610"/>
                <a:gd name="connsiteY45" fmla="*/ 127386 h 159122"/>
                <a:gd name="connsiteX46" fmla="*/ 14175 w 169610"/>
                <a:gd name="connsiteY46" fmla="*/ 124888 h 159122"/>
                <a:gd name="connsiteX47" fmla="*/ 3364 w 169610"/>
                <a:gd name="connsiteY47" fmla="*/ 104630 h 159122"/>
                <a:gd name="connsiteX48" fmla="*/ 5149 w 169610"/>
                <a:gd name="connsiteY48" fmla="*/ 98199 h 159122"/>
                <a:gd name="connsiteX49" fmla="*/ 15873 w 169610"/>
                <a:gd name="connsiteY49" fmla="*/ 91032 h 159122"/>
                <a:gd name="connsiteX50" fmla="*/ 17224 w 169610"/>
                <a:gd name="connsiteY50" fmla="*/ 88143 h 159122"/>
                <a:gd name="connsiteX51" fmla="*/ 16687 w 169610"/>
                <a:gd name="connsiteY51" fmla="*/ 84993 h 159122"/>
                <a:gd name="connsiteX52" fmla="*/ 8995 w 169610"/>
                <a:gd name="connsiteY52" fmla="*/ 73599 h 159122"/>
                <a:gd name="connsiteX53" fmla="*/ 2533 w 169610"/>
                <a:gd name="connsiteY53" fmla="*/ 59381 h 159122"/>
                <a:gd name="connsiteX54" fmla="*/ 7955 w 169610"/>
                <a:gd name="connsiteY54" fmla="*/ 44232 h 159122"/>
                <a:gd name="connsiteX55" fmla="*/ 15267 w 169610"/>
                <a:gd name="connsiteY55" fmla="*/ 40135 h 159122"/>
                <a:gd name="connsiteX56" fmla="*/ 28624 w 169610"/>
                <a:gd name="connsiteY56" fmla="*/ 42241 h 159122"/>
                <a:gd name="connsiteX57" fmla="*/ 118351 w 169610"/>
                <a:gd name="connsiteY57" fmla="*/ 14408 h 159122"/>
                <a:gd name="connsiteX58" fmla="*/ 100021 w 169610"/>
                <a:gd name="connsiteY58" fmla="*/ 8662 h 159122"/>
                <a:gd name="connsiteX59" fmla="*/ 93819 w 169610"/>
                <a:gd name="connsiteY59" fmla="*/ 20497 h 159122"/>
                <a:gd name="connsiteX60" fmla="*/ 88673 w 169610"/>
                <a:gd name="connsiteY60" fmla="*/ 23174 h 159122"/>
                <a:gd name="connsiteX61" fmla="*/ 77828 w 169610"/>
                <a:gd name="connsiteY61" fmla="*/ 23844 h 159122"/>
                <a:gd name="connsiteX62" fmla="*/ 64435 w 169610"/>
                <a:gd name="connsiteY62" fmla="*/ 17967 h 159122"/>
                <a:gd name="connsiteX63" fmla="*/ 61178 w 169610"/>
                <a:gd name="connsiteY63" fmla="*/ 13478 h 159122"/>
                <a:gd name="connsiteX64" fmla="*/ 57367 w 169610"/>
                <a:gd name="connsiteY64" fmla="*/ 12548 h 159122"/>
                <a:gd name="connsiteX65" fmla="*/ 44650 w 169610"/>
                <a:gd name="connsiteY65" fmla="*/ 17885 h 159122"/>
                <a:gd name="connsiteX66" fmla="*/ 43056 w 169610"/>
                <a:gd name="connsiteY66" fmla="*/ 21640 h 159122"/>
                <a:gd name="connsiteX67" fmla="*/ 45967 w 169610"/>
                <a:gd name="connsiteY67" fmla="*/ 29916 h 159122"/>
                <a:gd name="connsiteX68" fmla="*/ 44269 w 169610"/>
                <a:gd name="connsiteY68" fmla="*/ 37654 h 159122"/>
                <a:gd name="connsiteX69" fmla="*/ 34619 w 169610"/>
                <a:gd name="connsiteY69" fmla="*/ 48231 h 159122"/>
                <a:gd name="connsiteX70" fmla="*/ 28659 w 169610"/>
                <a:gd name="connsiteY70" fmla="*/ 50321 h 159122"/>
                <a:gd name="connsiteX71" fmla="*/ 15544 w 169610"/>
                <a:gd name="connsiteY71" fmla="*/ 48182 h 159122"/>
                <a:gd name="connsiteX72" fmla="*/ 9307 w 169610"/>
                <a:gd name="connsiteY72" fmla="*/ 64947 h 159122"/>
                <a:gd name="connsiteX73" fmla="*/ 20984 w 169610"/>
                <a:gd name="connsiteY73" fmla="*/ 70693 h 159122"/>
                <a:gd name="connsiteX74" fmla="*/ 24362 w 169610"/>
                <a:gd name="connsiteY74" fmla="*/ 74643 h 159122"/>
                <a:gd name="connsiteX75" fmla="*/ 26095 w 169610"/>
                <a:gd name="connsiteY75" fmla="*/ 90314 h 159122"/>
                <a:gd name="connsiteX76" fmla="*/ 23167 w 169610"/>
                <a:gd name="connsiteY76" fmla="*/ 96142 h 159122"/>
                <a:gd name="connsiteX77" fmla="*/ 14764 w 169610"/>
                <a:gd name="connsiteY77" fmla="*/ 101300 h 159122"/>
                <a:gd name="connsiteX78" fmla="*/ 12962 w 169610"/>
                <a:gd name="connsiteY78" fmla="*/ 104483 h 159122"/>
                <a:gd name="connsiteX79" fmla="*/ 20724 w 169610"/>
                <a:gd name="connsiteY79" fmla="*/ 119207 h 159122"/>
                <a:gd name="connsiteX80" fmla="*/ 33926 w 169610"/>
                <a:gd name="connsiteY80" fmla="*/ 115224 h 159122"/>
                <a:gd name="connsiteX81" fmla="*/ 40544 w 169610"/>
                <a:gd name="connsiteY81" fmla="*/ 116661 h 159122"/>
                <a:gd name="connsiteX82" fmla="*/ 49865 w 169610"/>
                <a:gd name="connsiteY82" fmla="*/ 124480 h 159122"/>
                <a:gd name="connsiteX83" fmla="*/ 53624 w 169610"/>
                <a:gd name="connsiteY83" fmla="*/ 132870 h 159122"/>
                <a:gd name="connsiteX84" fmla="*/ 51788 w 169610"/>
                <a:gd name="connsiteY84" fmla="*/ 142159 h 159122"/>
                <a:gd name="connsiteX85" fmla="*/ 52966 w 169610"/>
                <a:gd name="connsiteY85" fmla="*/ 144950 h 159122"/>
                <a:gd name="connsiteX86" fmla="*/ 69494 w 169610"/>
                <a:gd name="connsiteY86" fmla="*/ 150108 h 159122"/>
                <a:gd name="connsiteX87" fmla="*/ 75835 w 169610"/>
                <a:gd name="connsiteY87" fmla="*/ 138176 h 159122"/>
                <a:gd name="connsiteX88" fmla="*/ 81847 w 169610"/>
                <a:gd name="connsiteY88" fmla="*/ 134584 h 159122"/>
                <a:gd name="connsiteX89" fmla="*/ 93091 w 169610"/>
                <a:gd name="connsiteY89" fmla="*/ 133833 h 159122"/>
                <a:gd name="connsiteX90" fmla="*/ 103226 w 169610"/>
                <a:gd name="connsiteY90" fmla="*/ 138420 h 159122"/>
                <a:gd name="connsiteX91" fmla="*/ 108528 w 169610"/>
                <a:gd name="connsiteY91" fmla="*/ 145554 h 159122"/>
                <a:gd name="connsiteX92" fmla="*/ 112235 w 169610"/>
                <a:gd name="connsiteY92" fmla="*/ 146435 h 159122"/>
                <a:gd name="connsiteX93" fmla="*/ 127187 w 169610"/>
                <a:gd name="connsiteY93" fmla="*/ 139416 h 159122"/>
                <a:gd name="connsiteX94" fmla="*/ 122422 w 169610"/>
                <a:gd name="connsiteY94" fmla="*/ 126602 h 159122"/>
                <a:gd name="connsiteX95" fmla="*/ 124259 w 169610"/>
                <a:gd name="connsiteY95" fmla="*/ 119779 h 159122"/>
                <a:gd name="connsiteX96" fmla="*/ 133580 w 169610"/>
                <a:gd name="connsiteY96" fmla="*/ 109886 h 159122"/>
                <a:gd name="connsiteX97" fmla="*/ 137460 w 169610"/>
                <a:gd name="connsiteY97" fmla="*/ 108025 h 159122"/>
                <a:gd name="connsiteX98" fmla="*/ 151476 w 169610"/>
                <a:gd name="connsiteY98" fmla="*/ 110441 h 159122"/>
                <a:gd name="connsiteX99" fmla="*/ 154837 w 169610"/>
                <a:gd name="connsiteY99" fmla="*/ 108760 h 159122"/>
                <a:gd name="connsiteX100" fmla="*/ 160070 w 169610"/>
                <a:gd name="connsiteY100" fmla="*/ 93971 h 159122"/>
                <a:gd name="connsiteX101" fmla="*/ 147474 w 169610"/>
                <a:gd name="connsiteY101" fmla="*/ 87980 h 159122"/>
                <a:gd name="connsiteX102" fmla="*/ 143645 w 169610"/>
                <a:gd name="connsiteY102" fmla="*/ 82234 h 159122"/>
                <a:gd name="connsiteX103" fmla="*/ 142918 w 169610"/>
                <a:gd name="connsiteY103" fmla="*/ 72342 h 159122"/>
                <a:gd name="connsiteX104" fmla="*/ 148185 w 169610"/>
                <a:gd name="connsiteY104" fmla="*/ 61552 h 159122"/>
                <a:gd name="connsiteX105" fmla="*/ 157419 w 169610"/>
                <a:gd name="connsiteY105" fmla="*/ 55446 h 159122"/>
                <a:gd name="connsiteX106" fmla="*/ 148895 w 169610"/>
                <a:gd name="connsiteY106" fmla="*/ 39531 h 159122"/>
                <a:gd name="connsiteX107" fmla="*/ 136317 w 169610"/>
                <a:gd name="connsiteY107" fmla="*/ 43628 h 159122"/>
                <a:gd name="connsiteX108" fmla="*/ 128729 w 169610"/>
                <a:gd name="connsiteY108" fmla="*/ 42061 h 159122"/>
                <a:gd name="connsiteX109" fmla="*/ 117623 w 169610"/>
                <a:gd name="connsiteY109" fmla="*/ 32838 h 159122"/>
                <a:gd name="connsiteX110" fmla="*/ 115440 w 169610"/>
                <a:gd name="connsiteY110" fmla="*/ 28904 h 159122"/>
                <a:gd name="connsiteX111" fmla="*/ 118351 w 169610"/>
                <a:gd name="connsiteY111" fmla="*/ 14408 h 159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169610" h="159122">
                  <a:moveTo>
                    <a:pt x="28624" y="42241"/>
                  </a:moveTo>
                  <a:cubicBezTo>
                    <a:pt x="30357" y="40249"/>
                    <a:pt x="31829" y="37817"/>
                    <a:pt x="33995" y="36201"/>
                  </a:cubicBezTo>
                  <a:cubicBezTo>
                    <a:pt x="37512" y="33605"/>
                    <a:pt x="38101" y="30879"/>
                    <a:pt x="36351" y="27157"/>
                  </a:cubicBezTo>
                  <a:cubicBezTo>
                    <a:pt x="35104" y="24513"/>
                    <a:pt x="34272" y="21689"/>
                    <a:pt x="33441" y="18897"/>
                  </a:cubicBezTo>
                  <a:cubicBezTo>
                    <a:pt x="32644" y="16220"/>
                    <a:pt x="33354" y="14213"/>
                    <a:pt x="36351" y="12923"/>
                  </a:cubicBezTo>
                  <a:cubicBezTo>
                    <a:pt x="43853" y="9675"/>
                    <a:pt x="51303" y="6279"/>
                    <a:pt x="58701" y="2835"/>
                  </a:cubicBezTo>
                  <a:cubicBezTo>
                    <a:pt x="61109" y="1708"/>
                    <a:pt x="62807" y="2100"/>
                    <a:pt x="64245" y="4173"/>
                  </a:cubicBezTo>
                  <a:cubicBezTo>
                    <a:pt x="64955" y="5185"/>
                    <a:pt x="65839" y="6100"/>
                    <a:pt x="66549" y="7095"/>
                  </a:cubicBezTo>
                  <a:cubicBezTo>
                    <a:pt x="72717" y="15780"/>
                    <a:pt x="72717" y="15878"/>
                    <a:pt x="84013" y="15453"/>
                  </a:cubicBezTo>
                  <a:cubicBezTo>
                    <a:pt x="85433" y="15404"/>
                    <a:pt x="87322" y="14262"/>
                    <a:pt x="88101" y="13103"/>
                  </a:cubicBezTo>
                  <a:cubicBezTo>
                    <a:pt x="90076" y="10115"/>
                    <a:pt x="91532" y="6834"/>
                    <a:pt x="93212" y="3667"/>
                  </a:cubicBezTo>
                  <a:cubicBezTo>
                    <a:pt x="94962" y="403"/>
                    <a:pt x="97318" y="-854"/>
                    <a:pt x="101355" y="598"/>
                  </a:cubicBezTo>
                  <a:cubicBezTo>
                    <a:pt x="108441" y="3145"/>
                    <a:pt x="115683" y="5267"/>
                    <a:pt x="122855" y="7569"/>
                  </a:cubicBezTo>
                  <a:cubicBezTo>
                    <a:pt x="127135" y="8940"/>
                    <a:pt x="127862" y="10311"/>
                    <a:pt x="126927" y="14474"/>
                  </a:cubicBezTo>
                  <a:cubicBezTo>
                    <a:pt x="126078" y="18261"/>
                    <a:pt x="125350" y="22097"/>
                    <a:pt x="124778" y="25933"/>
                  </a:cubicBezTo>
                  <a:cubicBezTo>
                    <a:pt x="124640" y="26798"/>
                    <a:pt x="125056" y="28039"/>
                    <a:pt x="125697" y="28643"/>
                  </a:cubicBezTo>
                  <a:cubicBezTo>
                    <a:pt x="127897" y="30732"/>
                    <a:pt x="130219" y="32707"/>
                    <a:pt x="132696" y="34503"/>
                  </a:cubicBezTo>
                  <a:cubicBezTo>
                    <a:pt x="133510" y="35091"/>
                    <a:pt x="135035" y="35352"/>
                    <a:pt x="136022" y="35091"/>
                  </a:cubicBezTo>
                  <a:cubicBezTo>
                    <a:pt x="139973" y="34030"/>
                    <a:pt x="143819" y="32642"/>
                    <a:pt x="147752" y="31516"/>
                  </a:cubicBezTo>
                  <a:cubicBezTo>
                    <a:pt x="151269" y="30520"/>
                    <a:pt x="154041" y="31189"/>
                    <a:pt x="155808" y="34683"/>
                  </a:cubicBezTo>
                  <a:cubicBezTo>
                    <a:pt x="159030" y="41065"/>
                    <a:pt x="162599" y="47301"/>
                    <a:pt x="165787" y="53700"/>
                  </a:cubicBezTo>
                  <a:cubicBezTo>
                    <a:pt x="167086" y="56295"/>
                    <a:pt x="167658" y="58940"/>
                    <a:pt x="164054" y="60866"/>
                  </a:cubicBezTo>
                  <a:cubicBezTo>
                    <a:pt x="160693" y="62645"/>
                    <a:pt x="157644" y="64914"/>
                    <a:pt x="154456" y="66971"/>
                  </a:cubicBezTo>
                  <a:cubicBezTo>
                    <a:pt x="152620" y="68163"/>
                    <a:pt x="151736" y="69485"/>
                    <a:pt x="151407" y="71885"/>
                  </a:cubicBezTo>
                  <a:cubicBezTo>
                    <a:pt x="150454" y="78887"/>
                    <a:pt x="153192" y="82528"/>
                    <a:pt x="160174" y="85368"/>
                  </a:cubicBezTo>
                  <a:cubicBezTo>
                    <a:pt x="171487" y="89988"/>
                    <a:pt x="171210" y="88388"/>
                    <a:pt x="166705" y="100141"/>
                  </a:cubicBezTo>
                  <a:cubicBezTo>
                    <a:pt x="164695" y="105381"/>
                    <a:pt x="162894" y="110686"/>
                    <a:pt x="161023" y="115975"/>
                  </a:cubicBezTo>
                  <a:cubicBezTo>
                    <a:pt x="160295" y="118048"/>
                    <a:pt x="159186" y="119485"/>
                    <a:pt x="156535" y="119028"/>
                  </a:cubicBezTo>
                  <a:cubicBezTo>
                    <a:pt x="153625" y="118522"/>
                    <a:pt x="150714" y="118032"/>
                    <a:pt x="147786" y="117608"/>
                  </a:cubicBezTo>
                  <a:cubicBezTo>
                    <a:pt x="144876" y="117183"/>
                    <a:pt x="141948" y="116873"/>
                    <a:pt x="138968" y="116498"/>
                  </a:cubicBezTo>
                  <a:cubicBezTo>
                    <a:pt x="138327" y="117314"/>
                    <a:pt x="137807" y="118440"/>
                    <a:pt x="136906" y="119028"/>
                  </a:cubicBezTo>
                  <a:cubicBezTo>
                    <a:pt x="130964" y="122848"/>
                    <a:pt x="130686" y="127565"/>
                    <a:pt x="133736" y="133229"/>
                  </a:cubicBezTo>
                  <a:cubicBezTo>
                    <a:pt x="134879" y="135352"/>
                    <a:pt x="135000" y="137931"/>
                    <a:pt x="135970" y="140167"/>
                  </a:cubicBezTo>
                  <a:cubicBezTo>
                    <a:pt x="137149" y="142893"/>
                    <a:pt x="135815" y="144297"/>
                    <a:pt x="133510" y="145391"/>
                  </a:cubicBezTo>
                  <a:cubicBezTo>
                    <a:pt x="126234" y="148835"/>
                    <a:pt x="118923" y="152230"/>
                    <a:pt x="111646" y="155675"/>
                  </a:cubicBezTo>
                  <a:cubicBezTo>
                    <a:pt x="108614" y="157095"/>
                    <a:pt x="106223" y="156997"/>
                    <a:pt x="104318" y="153846"/>
                  </a:cubicBezTo>
                  <a:cubicBezTo>
                    <a:pt x="102672" y="151120"/>
                    <a:pt x="100471" y="148672"/>
                    <a:pt x="98566" y="146076"/>
                  </a:cubicBezTo>
                  <a:cubicBezTo>
                    <a:pt x="95586" y="141995"/>
                    <a:pt x="93663" y="142044"/>
                    <a:pt x="88673" y="142175"/>
                  </a:cubicBezTo>
                  <a:cubicBezTo>
                    <a:pt x="81899" y="142354"/>
                    <a:pt x="80426" y="147007"/>
                    <a:pt x="78191" y="151120"/>
                  </a:cubicBezTo>
                  <a:cubicBezTo>
                    <a:pt x="72543" y="161600"/>
                    <a:pt x="74068" y="159788"/>
                    <a:pt x="63586" y="156817"/>
                  </a:cubicBezTo>
                  <a:cubicBezTo>
                    <a:pt x="58302" y="155332"/>
                    <a:pt x="53122" y="153455"/>
                    <a:pt x="47872" y="151806"/>
                  </a:cubicBezTo>
                  <a:cubicBezTo>
                    <a:pt x="42502" y="150125"/>
                    <a:pt x="42034" y="149635"/>
                    <a:pt x="42710" y="144493"/>
                  </a:cubicBezTo>
                  <a:cubicBezTo>
                    <a:pt x="43143" y="141244"/>
                    <a:pt x="43922" y="138029"/>
                    <a:pt x="44563" y="134813"/>
                  </a:cubicBezTo>
                  <a:cubicBezTo>
                    <a:pt x="44685" y="134225"/>
                    <a:pt x="44979" y="133654"/>
                    <a:pt x="45014" y="133066"/>
                  </a:cubicBezTo>
                  <a:cubicBezTo>
                    <a:pt x="45170" y="129687"/>
                    <a:pt x="35814" y="122880"/>
                    <a:pt x="32384" y="123892"/>
                  </a:cubicBezTo>
                  <a:cubicBezTo>
                    <a:pt x="28572" y="125002"/>
                    <a:pt x="24743" y="126047"/>
                    <a:pt x="21019" y="127386"/>
                  </a:cubicBezTo>
                  <a:cubicBezTo>
                    <a:pt x="17779" y="128545"/>
                    <a:pt x="15734" y="127957"/>
                    <a:pt x="14175" y="124888"/>
                  </a:cubicBezTo>
                  <a:cubicBezTo>
                    <a:pt x="10710" y="118065"/>
                    <a:pt x="7072" y="111323"/>
                    <a:pt x="3364" y="104630"/>
                  </a:cubicBezTo>
                  <a:cubicBezTo>
                    <a:pt x="1805" y="101822"/>
                    <a:pt x="2394" y="99913"/>
                    <a:pt x="5149" y="98199"/>
                  </a:cubicBezTo>
                  <a:cubicBezTo>
                    <a:pt x="8804" y="95930"/>
                    <a:pt x="12408" y="93546"/>
                    <a:pt x="15873" y="91032"/>
                  </a:cubicBezTo>
                  <a:cubicBezTo>
                    <a:pt x="16670" y="90461"/>
                    <a:pt x="17120" y="89171"/>
                    <a:pt x="17224" y="88143"/>
                  </a:cubicBezTo>
                  <a:cubicBezTo>
                    <a:pt x="17346" y="87115"/>
                    <a:pt x="16462" y="85956"/>
                    <a:pt x="16687" y="84993"/>
                  </a:cubicBezTo>
                  <a:cubicBezTo>
                    <a:pt x="18091" y="78741"/>
                    <a:pt x="14678" y="75868"/>
                    <a:pt x="8995" y="73599"/>
                  </a:cubicBezTo>
                  <a:cubicBezTo>
                    <a:pt x="-3219" y="68718"/>
                    <a:pt x="-395" y="68897"/>
                    <a:pt x="2533" y="59381"/>
                  </a:cubicBezTo>
                  <a:cubicBezTo>
                    <a:pt x="4109" y="54271"/>
                    <a:pt x="6136" y="49276"/>
                    <a:pt x="7955" y="44232"/>
                  </a:cubicBezTo>
                  <a:cubicBezTo>
                    <a:pt x="9445" y="40118"/>
                    <a:pt x="10831" y="39384"/>
                    <a:pt x="15267" y="40135"/>
                  </a:cubicBezTo>
                  <a:cubicBezTo>
                    <a:pt x="19719" y="40869"/>
                    <a:pt x="24154" y="41539"/>
                    <a:pt x="28624" y="42241"/>
                  </a:cubicBezTo>
                  <a:close/>
                  <a:moveTo>
                    <a:pt x="118351" y="14408"/>
                  </a:moveTo>
                  <a:cubicBezTo>
                    <a:pt x="112218" y="12482"/>
                    <a:pt x="106258" y="10621"/>
                    <a:pt x="100021" y="8662"/>
                  </a:cubicBezTo>
                  <a:cubicBezTo>
                    <a:pt x="97907" y="12694"/>
                    <a:pt x="95776" y="16547"/>
                    <a:pt x="93819" y="20497"/>
                  </a:cubicBezTo>
                  <a:cubicBezTo>
                    <a:pt x="92744" y="22685"/>
                    <a:pt x="91272" y="23305"/>
                    <a:pt x="88673" y="23174"/>
                  </a:cubicBezTo>
                  <a:cubicBezTo>
                    <a:pt x="85069" y="22995"/>
                    <a:pt x="81293" y="23027"/>
                    <a:pt x="77828" y="23844"/>
                  </a:cubicBezTo>
                  <a:cubicBezTo>
                    <a:pt x="71452" y="25329"/>
                    <a:pt x="67069" y="23811"/>
                    <a:pt x="64435" y="17967"/>
                  </a:cubicBezTo>
                  <a:cubicBezTo>
                    <a:pt x="63690" y="16318"/>
                    <a:pt x="62564" y="14686"/>
                    <a:pt x="61178" y="13478"/>
                  </a:cubicBezTo>
                  <a:cubicBezTo>
                    <a:pt x="60295" y="12711"/>
                    <a:pt x="58389" y="12172"/>
                    <a:pt x="57367" y="12548"/>
                  </a:cubicBezTo>
                  <a:cubicBezTo>
                    <a:pt x="53053" y="14115"/>
                    <a:pt x="48877" y="16090"/>
                    <a:pt x="44650" y="17885"/>
                  </a:cubicBezTo>
                  <a:cubicBezTo>
                    <a:pt x="42813" y="18669"/>
                    <a:pt x="42207" y="19681"/>
                    <a:pt x="43056" y="21640"/>
                  </a:cubicBezTo>
                  <a:cubicBezTo>
                    <a:pt x="44200" y="24333"/>
                    <a:pt x="44719" y="27272"/>
                    <a:pt x="45967" y="29916"/>
                  </a:cubicBezTo>
                  <a:cubicBezTo>
                    <a:pt x="47422" y="33034"/>
                    <a:pt x="46902" y="35238"/>
                    <a:pt x="44269" y="37654"/>
                  </a:cubicBezTo>
                  <a:cubicBezTo>
                    <a:pt x="40752" y="40902"/>
                    <a:pt x="37599" y="44526"/>
                    <a:pt x="34619" y="48231"/>
                  </a:cubicBezTo>
                  <a:cubicBezTo>
                    <a:pt x="32956" y="50321"/>
                    <a:pt x="31223" y="50811"/>
                    <a:pt x="28659" y="50321"/>
                  </a:cubicBezTo>
                  <a:cubicBezTo>
                    <a:pt x="24276" y="49488"/>
                    <a:pt x="19840" y="48868"/>
                    <a:pt x="15544" y="48182"/>
                  </a:cubicBezTo>
                  <a:cubicBezTo>
                    <a:pt x="13361" y="54059"/>
                    <a:pt x="11334" y="59495"/>
                    <a:pt x="9307" y="64947"/>
                  </a:cubicBezTo>
                  <a:cubicBezTo>
                    <a:pt x="13465" y="66955"/>
                    <a:pt x="17363" y="68620"/>
                    <a:pt x="20984" y="70693"/>
                  </a:cubicBezTo>
                  <a:cubicBezTo>
                    <a:pt x="22457" y="71542"/>
                    <a:pt x="24120" y="73174"/>
                    <a:pt x="24362" y="74643"/>
                  </a:cubicBezTo>
                  <a:cubicBezTo>
                    <a:pt x="25246" y="79818"/>
                    <a:pt x="25523" y="85091"/>
                    <a:pt x="26095" y="90314"/>
                  </a:cubicBezTo>
                  <a:cubicBezTo>
                    <a:pt x="26372" y="92844"/>
                    <a:pt x="25610" y="94787"/>
                    <a:pt x="23167" y="96142"/>
                  </a:cubicBezTo>
                  <a:cubicBezTo>
                    <a:pt x="20291" y="97741"/>
                    <a:pt x="17432" y="99407"/>
                    <a:pt x="14764" y="101300"/>
                  </a:cubicBezTo>
                  <a:cubicBezTo>
                    <a:pt x="13794" y="101986"/>
                    <a:pt x="12616" y="103781"/>
                    <a:pt x="12962" y="104483"/>
                  </a:cubicBezTo>
                  <a:cubicBezTo>
                    <a:pt x="15336" y="109446"/>
                    <a:pt x="18073" y="114261"/>
                    <a:pt x="20724" y="119207"/>
                  </a:cubicBezTo>
                  <a:cubicBezTo>
                    <a:pt x="25402" y="117836"/>
                    <a:pt x="29768" y="116791"/>
                    <a:pt x="33926" y="115224"/>
                  </a:cubicBezTo>
                  <a:cubicBezTo>
                    <a:pt x="36732" y="114163"/>
                    <a:pt x="38604" y="114898"/>
                    <a:pt x="40544" y="116661"/>
                  </a:cubicBezTo>
                  <a:cubicBezTo>
                    <a:pt x="43576" y="119371"/>
                    <a:pt x="46348" y="122537"/>
                    <a:pt x="49865" y="124480"/>
                  </a:cubicBezTo>
                  <a:cubicBezTo>
                    <a:pt x="53763" y="126618"/>
                    <a:pt x="54109" y="129491"/>
                    <a:pt x="53624" y="132870"/>
                  </a:cubicBezTo>
                  <a:cubicBezTo>
                    <a:pt x="53191" y="135988"/>
                    <a:pt x="52221" y="139041"/>
                    <a:pt x="51788" y="142159"/>
                  </a:cubicBezTo>
                  <a:cubicBezTo>
                    <a:pt x="51667" y="143056"/>
                    <a:pt x="52273" y="144721"/>
                    <a:pt x="52966" y="144950"/>
                  </a:cubicBezTo>
                  <a:cubicBezTo>
                    <a:pt x="58337" y="146795"/>
                    <a:pt x="63812" y="148378"/>
                    <a:pt x="69494" y="150108"/>
                  </a:cubicBezTo>
                  <a:cubicBezTo>
                    <a:pt x="71694" y="145995"/>
                    <a:pt x="73877" y="142142"/>
                    <a:pt x="75835" y="138176"/>
                  </a:cubicBezTo>
                  <a:cubicBezTo>
                    <a:pt x="77083" y="135662"/>
                    <a:pt x="78711" y="134486"/>
                    <a:pt x="81847" y="134584"/>
                  </a:cubicBezTo>
                  <a:cubicBezTo>
                    <a:pt x="85589" y="134715"/>
                    <a:pt x="89453" y="134584"/>
                    <a:pt x="93091" y="133833"/>
                  </a:cubicBezTo>
                  <a:cubicBezTo>
                    <a:pt x="97994" y="132838"/>
                    <a:pt x="101095" y="133980"/>
                    <a:pt x="103226" y="138420"/>
                  </a:cubicBezTo>
                  <a:cubicBezTo>
                    <a:pt x="104473" y="141032"/>
                    <a:pt x="106501" y="143383"/>
                    <a:pt x="108528" y="145554"/>
                  </a:cubicBezTo>
                  <a:cubicBezTo>
                    <a:pt x="109238" y="146321"/>
                    <a:pt x="111300" y="146844"/>
                    <a:pt x="112235" y="146435"/>
                  </a:cubicBezTo>
                  <a:cubicBezTo>
                    <a:pt x="117277" y="144297"/>
                    <a:pt x="122162" y="141816"/>
                    <a:pt x="127187" y="139416"/>
                  </a:cubicBezTo>
                  <a:cubicBezTo>
                    <a:pt x="125575" y="135041"/>
                    <a:pt x="124172" y="130748"/>
                    <a:pt x="122422" y="126602"/>
                  </a:cubicBezTo>
                  <a:cubicBezTo>
                    <a:pt x="121227" y="123745"/>
                    <a:pt x="122180" y="121835"/>
                    <a:pt x="124259" y="119779"/>
                  </a:cubicBezTo>
                  <a:cubicBezTo>
                    <a:pt x="127499" y="116595"/>
                    <a:pt x="130357" y="113086"/>
                    <a:pt x="133580" y="109886"/>
                  </a:cubicBezTo>
                  <a:cubicBezTo>
                    <a:pt x="134550" y="108923"/>
                    <a:pt x="136248" y="107879"/>
                    <a:pt x="137460" y="108025"/>
                  </a:cubicBezTo>
                  <a:cubicBezTo>
                    <a:pt x="142173" y="108548"/>
                    <a:pt x="146868" y="109364"/>
                    <a:pt x="151476" y="110441"/>
                  </a:cubicBezTo>
                  <a:cubicBezTo>
                    <a:pt x="153521" y="110915"/>
                    <a:pt x="154231" y="110572"/>
                    <a:pt x="154837" y="108760"/>
                  </a:cubicBezTo>
                  <a:cubicBezTo>
                    <a:pt x="156466" y="103830"/>
                    <a:pt x="158303" y="98949"/>
                    <a:pt x="160070" y="93971"/>
                  </a:cubicBezTo>
                  <a:cubicBezTo>
                    <a:pt x="155773" y="91914"/>
                    <a:pt x="151650" y="89906"/>
                    <a:pt x="147474" y="87980"/>
                  </a:cubicBezTo>
                  <a:cubicBezTo>
                    <a:pt x="144893" y="86788"/>
                    <a:pt x="143576" y="85156"/>
                    <a:pt x="143645" y="82234"/>
                  </a:cubicBezTo>
                  <a:cubicBezTo>
                    <a:pt x="143732" y="78936"/>
                    <a:pt x="143351" y="75623"/>
                    <a:pt x="142918" y="72342"/>
                  </a:cubicBezTo>
                  <a:cubicBezTo>
                    <a:pt x="142034" y="65551"/>
                    <a:pt x="141982" y="65567"/>
                    <a:pt x="148185" y="61552"/>
                  </a:cubicBezTo>
                  <a:cubicBezTo>
                    <a:pt x="151321" y="59527"/>
                    <a:pt x="154404" y="57438"/>
                    <a:pt x="157419" y="55446"/>
                  </a:cubicBezTo>
                  <a:cubicBezTo>
                    <a:pt x="154335" y="49684"/>
                    <a:pt x="151615" y="44591"/>
                    <a:pt x="148895" y="39531"/>
                  </a:cubicBezTo>
                  <a:cubicBezTo>
                    <a:pt x="144546" y="40935"/>
                    <a:pt x="140371" y="42143"/>
                    <a:pt x="136317" y="43628"/>
                  </a:cubicBezTo>
                  <a:cubicBezTo>
                    <a:pt x="133302" y="44738"/>
                    <a:pt x="131085" y="44248"/>
                    <a:pt x="128729" y="42061"/>
                  </a:cubicBezTo>
                  <a:cubicBezTo>
                    <a:pt x="125212" y="38813"/>
                    <a:pt x="121227" y="36021"/>
                    <a:pt x="117623" y="32838"/>
                  </a:cubicBezTo>
                  <a:cubicBezTo>
                    <a:pt x="116514" y="31859"/>
                    <a:pt x="115284" y="30128"/>
                    <a:pt x="115440" y="28904"/>
                  </a:cubicBezTo>
                  <a:cubicBezTo>
                    <a:pt x="116116" y="24170"/>
                    <a:pt x="117311" y="19436"/>
                    <a:pt x="118351" y="14408"/>
                  </a:cubicBezTo>
                  <a:close/>
                </a:path>
              </a:pathLst>
            </a:custGeom>
            <a:solidFill>
              <a:schemeClr val="bg1"/>
            </a:solidFill>
            <a:ln w="735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58B5D9F-D629-42DC-B3C6-38D6998CCAC9}"/>
                </a:ext>
              </a:extLst>
            </p:cNvPr>
            <p:cNvSpPr/>
            <p:nvPr/>
          </p:nvSpPr>
          <p:spPr>
            <a:xfrm>
              <a:off x="8438168" y="5040408"/>
              <a:ext cx="149338" cy="254363"/>
            </a:xfrm>
            <a:custGeom>
              <a:avLst/>
              <a:gdLst>
                <a:gd name="connsiteX0" fmla="*/ 26629 w 149338"/>
                <a:gd name="connsiteY0" fmla="*/ 178964 h 254363"/>
                <a:gd name="connsiteX1" fmla="*/ 36643 w 149338"/>
                <a:gd name="connsiteY1" fmla="*/ 183306 h 254363"/>
                <a:gd name="connsiteX2" fmla="*/ 17689 w 149338"/>
                <a:gd name="connsiteY2" fmla="*/ 221798 h 254363"/>
                <a:gd name="connsiteX3" fmla="*/ 26299 w 149338"/>
                <a:gd name="connsiteY3" fmla="*/ 218354 h 254363"/>
                <a:gd name="connsiteX4" fmla="*/ 73250 w 149338"/>
                <a:gd name="connsiteY4" fmla="*/ 191681 h 254363"/>
                <a:gd name="connsiteX5" fmla="*/ 97800 w 149338"/>
                <a:gd name="connsiteY5" fmla="*/ 169954 h 254363"/>
                <a:gd name="connsiteX6" fmla="*/ 123701 w 149338"/>
                <a:gd name="connsiteY6" fmla="*/ 132556 h 254363"/>
                <a:gd name="connsiteX7" fmla="*/ 136002 w 149338"/>
                <a:gd name="connsiteY7" fmla="*/ 93672 h 254363"/>
                <a:gd name="connsiteX8" fmla="*/ 138185 w 149338"/>
                <a:gd name="connsiteY8" fmla="*/ 62886 h 254363"/>
                <a:gd name="connsiteX9" fmla="*/ 133195 w 149338"/>
                <a:gd name="connsiteY9" fmla="*/ 25178 h 254363"/>
                <a:gd name="connsiteX10" fmla="*/ 127859 w 149338"/>
                <a:gd name="connsiteY10" fmla="*/ 5099 h 254363"/>
                <a:gd name="connsiteX11" fmla="*/ 127980 w 149338"/>
                <a:gd name="connsiteY11" fmla="*/ 2830 h 254363"/>
                <a:gd name="connsiteX12" fmla="*/ 136678 w 149338"/>
                <a:gd name="connsiteY12" fmla="*/ 6 h 254363"/>
                <a:gd name="connsiteX13" fmla="*/ 138341 w 149338"/>
                <a:gd name="connsiteY13" fmla="*/ 1639 h 254363"/>
                <a:gd name="connsiteX14" fmla="*/ 146899 w 149338"/>
                <a:gd name="connsiteY14" fmla="*/ 40065 h 254363"/>
                <a:gd name="connsiteX15" fmla="*/ 149256 w 149338"/>
                <a:gd name="connsiteY15" fmla="*/ 75684 h 254363"/>
                <a:gd name="connsiteX16" fmla="*/ 136158 w 149338"/>
                <a:gd name="connsiteY16" fmla="*/ 132376 h 254363"/>
                <a:gd name="connsiteX17" fmla="*/ 110829 w 149338"/>
                <a:gd name="connsiteY17" fmla="*/ 171896 h 254363"/>
                <a:gd name="connsiteX18" fmla="*/ 78327 w 149338"/>
                <a:gd name="connsiteY18" fmla="*/ 201083 h 254363"/>
                <a:gd name="connsiteX19" fmla="*/ 38999 w 149338"/>
                <a:gd name="connsiteY19" fmla="*/ 224165 h 254363"/>
                <a:gd name="connsiteX20" fmla="*/ 23909 w 149338"/>
                <a:gd name="connsiteY20" fmla="*/ 230645 h 254363"/>
                <a:gd name="connsiteX21" fmla="*/ 63237 w 149338"/>
                <a:gd name="connsiteY21" fmla="*/ 244749 h 254363"/>
                <a:gd name="connsiteX22" fmla="*/ 59373 w 149338"/>
                <a:gd name="connsiteY22" fmla="*/ 254364 h 254363"/>
                <a:gd name="connsiteX23" fmla="*/ 0 w 149338"/>
                <a:gd name="connsiteY23" fmla="*/ 233257 h 254363"/>
                <a:gd name="connsiteX24" fmla="*/ 26629 w 149338"/>
                <a:gd name="connsiteY24" fmla="*/ 178964 h 254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49338" h="254363">
                  <a:moveTo>
                    <a:pt x="26629" y="178964"/>
                  </a:moveTo>
                  <a:cubicBezTo>
                    <a:pt x="30180" y="180499"/>
                    <a:pt x="33403" y="181903"/>
                    <a:pt x="36643" y="183306"/>
                  </a:cubicBezTo>
                  <a:cubicBezTo>
                    <a:pt x="30302" y="196170"/>
                    <a:pt x="24117" y="208739"/>
                    <a:pt x="17689" y="221798"/>
                  </a:cubicBezTo>
                  <a:cubicBezTo>
                    <a:pt x="20790" y="220557"/>
                    <a:pt x="23597" y="219545"/>
                    <a:pt x="26299" y="218354"/>
                  </a:cubicBezTo>
                  <a:cubicBezTo>
                    <a:pt x="42932" y="211008"/>
                    <a:pt x="59009" y="202666"/>
                    <a:pt x="73250" y="191681"/>
                  </a:cubicBezTo>
                  <a:cubicBezTo>
                    <a:pt x="81930" y="184971"/>
                    <a:pt x="90662" y="178018"/>
                    <a:pt x="97800" y="169954"/>
                  </a:cubicBezTo>
                  <a:cubicBezTo>
                    <a:pt x="107918" y="158527"/>
                    <a:pt x="117291" y="146382"/>
                    <a:pt x="123701" y="132556"/>
                  </a:cubicBezTo>
                  <a:cubicBezTo>
                    <a:pt x="129505" y="120068"/>
                    <a:pt x="134425" y="107286"/>
                    <a:pt x="136002" y="93672"/>
                  </a:cubicBezTo>
                  <a:cubicBezTo>
                    <a:pt x="137180" y="83437"/>
                    <a:pt x="138687" y="73088"/>
                    <a:pt x="138185" y="62886"/>
                  </a:cubicBezTo>
                  <a:cubicBezTo>
                    <a:pt x="137561" y="50267"/>
                    <a:pt x="135326" y="37682"/>
                    <a:pt x="133195" y="25178"/>
                  </a:cubicBezTo>
                  <a:cubicBezTo>
                    <a:pt x="132034" y="18387"/>
                    <a:pt x="129626" y="11792"/>
                    <a:pt x="127859" y="5099"/>
                  </a:cubicBezTo>
                  <a:cubicBezTo>
                    <a:pt x="127669" y="4365"/>
                    <a:pt x="127651" y="2961"/>
                    <a:pt x="127980" y="2830"/>
                  </a:cubicBezTo>
                  <a:cubicBezTo>
                    <a:pt x="130822" y="1737"/>
                    <a:pt x="133715" y="790"/>
                    <a:pt x="136678" y="6"/>
                  </a:cubicBezTo>
                  <a:cubicBezTo>
                    <a:pt x="137059" y="-92"/>
                    <a:pt x="138185" y="969"/>
                    <a:pt x="138341" y="1639"/>
                  </a:cubicBezTo>
                  <a:cubicBezTo>
                    <a:pt x="141321" y="14420"/>
                    <a:pt x="144924" y="27137"/>
                    <a:pt x="146899" y="40065"/>
                  </a:cubicBezTo>
                  <a:cubicBezTo>
                    <a:pt x="148684" y="51818"/>
                    <a:pt x="149637" y="63832"/>
                    <a:pt x="149256" y="75684"/>
                  </a:cubicBezTo>
                  <a:cubicBezTo>
                    <a:pt x="148632" y="95239"/>
                    <a:pt x="144318" y="114191"/>
                    <a:pt x="136158" y="132376"/>
                  </a:cubicBezTo>
                  <a:cubicBezTo>
                    <a:pt x="129696" y="146757"/>
                    <a:pt x="120808" y="159686"/>
                    <a:pt x="110829" y="171896"/>
                  </a:cubicBezTo>
                  <a:cubicBezTo>
                    <a:pt x="101664" y="183127"/>
                    <a:pt x="90714" y="193019"/>
                    <a:pt x="78327" y="201083"/>
                  </a:cubicBezTo>
                  <a:cubicBezTo>
                    <a:pt x="65627" y="209343"/>
                    <a:pt x="52252" y="216705"/>
                    <a:pt x="38999" y="224165"/>
                  </a:cubicBezTo>
                  <a:cubicBezTo>
                    <a:pt x="34546" y="226679"/>
                    <a:pt x="29522" y="228279"/>
                    <a:pt x="23909" y="230645"/>
                  </a:cubicBezTo>
                  <a:cubicBezTo>
                    <a:pt x="37509" y="235526"/>
                    <a:pt x="50260" y="240097"/>
                    <a:pt x="63237" y="244749"/>
                  </a:cubicBezTo>
                  <a:cubicBezTo>
                    <a:pt x="61989" y="247851"/>
                    <a:pt x="60794" y="250854"/>
                    <a:pt x="59373" y="254364"/>
                  </a:cubicBezTo>
                  <a:cubicBezTo>
                    <a:pt x="39605" y="247328"/>
                    <a:pt x="20010" y="240358"/>
                    <a:pt x="0" y="233257"/>
                  </a:cubicBezTo>
                  <a:cubicBezTo>
                    <a:pt x="8853" y="215171"/>
                    <a:pt x="17602" y="197345"/>
                    <a:pt x="26629" y="178964"/>
                  </a:cubicBezTo>
                  <a:close/>
                </a:path>
              </a:pathLst>
            </a:custGeom>
            <a:solidFill>
              <a:schemeClr val="bg1"/>
            </a:solidFill>
            <a:ln w="735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AE72731-C7DB-4EAD-9117-76301B032A59}"/>
                </a:ext>
              </a:extLst>
            </p:cNvPr>
            <p:cNvSpPr/>
            <p:nvPr/>
          </p:nvSpPr>
          <p:spPr>
            <a:xfrm>
              <a:off x="8165125" y="5049604"/>
              <a:ext cx="197534" cy="228321"/>
            </a:xfrm>
            <a:custGeom>
              <a:avLst/>
              <a:gdLst>
                <a:gd name="connsiteX0" fmla="*/ 195427 w 197534"/>
                <a:gd name="connsiteY0" fmla="*/ 228321 h 228321"/>
                <a:gd name="connsiteX1" fmla="*/ 183109 w 197534"/>
                <a:gd name="connsiteY1" fmla="*/ 225726 h 228321"/>
                <a:gd name="connsiteX2" fmla="*/ 132502 w 197534"/>
                <a:gd name="connsiteY2" fmla="*/ 207214 h 228321"/>
                <a:gd name="connsiteX3" fmla="*/ 99446 w 197534"/>
                <a:gd name="connsiteY3" fmla="*/ 186402 h 228321"/>
                <a:gd name="connsiteX4" fmla="*/ 74584 w 197534"/>
                <a:gd name="connsiteY4" fmla="*/ 162259 h 228321"/>
                <a:gd name="connsiteX5" fmla="*/ 45894 w 197534"/>
                <a:gd name="connsiteY5" fmla="*/ 107443 h 228321"/>
                <a:gd name="connsiteX6" fmla="*/ 38929 w 197534"/>
                <a:gd name="connsiteY6" fmla="*/ 70911 h 228321"/>
                <a:gd name="connsiteX7" fmla="*/ 37491 w 197534"/>
                <a:gd name="connsiteY7" fmla="*/ 48139 h 228321"/>
                <a:gd name="connsiteX8" fmla="*/ 39172 w 197534"/>
                <a:gd name="connsiteY8" fmla="*/ 20894 h 228321"/>
                <a:gd name="connsiteX9" fmla="*/ 7155 w 197534"/>
                <a:gd name="connsiteY9" fmla="*/ 45919 h 228321"/>
                <a:gd name="connsiteX10" fmla="*/ 0 w 197534"/>
                <a:gd name="connsiteY10" fmla="*/ 38132 h 228321"/>
                <a:gd name="connsiteX11" fmla="*/ 48614 w 197534"/>
                <a:gd name="connsiteY11" fmla="*/ 0 h 228321"/>
                <a:gd name="connsiteX12" fmla="*/ 54921 w 197534"/>
                <a:gd name="connsiteY12" fmla="*/ 7656 h 228321"/>
                <a:gd name="connsiteX13" fmla="*/ 83836 w 197534"/>
                <a:gd name="connsiteY13" fmla="*/ 45968 h 228321"/>
                <a:gd name="connsiteX14" fmla="*/ 82831 w 197534"/>
                <a:gd name="connsiteY14" fmla="*/ 50359 h 228321"/>
                <a:gd name="connsiteX15" fmla="*/ 73043 w 197534"/>
                <a:gd name="connsiteY15" fmla="*/ 49216 h 228321"/>
                <a:gd name="connsiteX16" fmla="*/ 53985 w 197534"/>
                <a:gd name="connsiteY16" fmla="*/ 24388 h 228321"/>
                <a:gd name="connsiteX17" fmla="*/ 50745 w 197534"/>
                <a:gd name="connsiteY17" fmla="*/ 20209 h 228321"/>
                <a:gd name="connsiteX18" fmla="*/ 49238 w 197534"/>
                <a:gd name="connsiteY18" fmla="*/ 30623 h 228321"/>
                <a:gd name="connsiteX19" fmla="*/ 48493 w 197534"/>
                <a:gd name="connsiteY19" fmla="*/ 54652 h 228321"/>
                <a:gd name="connsiteX20" fmla="*/ 63479 w 197534"/>
                <a:gd name="connsiteY20" fmla="*/ 122869 h 228321"/>
                <a:gd name="connsiteX21" fmla="*/ 87786 w 197534"/>
                <a:gd name="connsiteY21" fmla="*/ 160381 h 228321"/>
                <a:gd name="connsiteX22" fmla="*/ 112752 w 197534"/>
                <a:gd name="connsiteY22" fmla="*/ 183121 h 228321"/>
                <a:gd name="connsiteX23" fmla="*/ 174897 w 197534"/>
                <a:gd name="connsiteY23" fmla="*/ 212520 h 228321"/>
                <a:gd name="connsiteX24" fmla="*/ 195340 w 197534"/>
                <a:gd name="connsiteY24" fmla="*/ 217662 h 228321"/>
                <a:gd name="connsiteX25" fmla="*/ 197281 w 197534"/>
                <a:gd name="connsiteY25" fmla="*/ 221204 h 228321"/>
                <a:gd name="connsiteX26" fmla="*/ 195427 w 197534"/>
                <a:gd name="connsiteY26" fmla="*/ 228321 h 228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97534" h="228321">
                  <a:moveTo>
                    <a:pt x="195427" y="228321"/>
                  </a:moveTo>
                  <a:cubicBezTo>
                    <a:pt x="191321" y="227472"/>
                    <a:pt x="187146" y="226819"/>
                    <a:pt x="183109" y="225726"/>
                  </a:cubicBezTo>
                  <a:cubicBezTo>
                    <a:pt x="165662" y="220975"/>
                    <a:pt x="148268" y="215866"/>
                    <a:pt x="132502" y="207214"/>
                  </a:cubicBezTo>
                  <a:cubicBezTo>
                    <a:pt x="121068" y="200946"/>
                    <a:pt x="110170" y="193731"/>
                    <a:pt x="99446" y="186402"/>
                  </a:cubicBezTo>
                  <a:cubicBezTo>
                    <a:pt x="89727" y="179774"/>
                    <a:pt x="81566" y="171433"/>
                    <a:pt x="74584" y="162259"/>
                  </a:cubicBezTo>
                  <a:cubicBezTo>
                    <a:pt x="61833" y="145510"/>
                    <a:pt x="51715" y="127505"/>
                    <a:pt x="45894" y="107443"/>
                  </a:cubicBezTo>
                  <a:cubicBezTo>
                    <a:pt x="42412" y="95429"/>
                    <a:pt x="39744" y="83349"/>
                    <a:pt x="38929" y="70911"/>
                  </a:cubicBezTo>
                  <a:cubicBezTo>
                    <a:pt x="38427" y="63320"/>
                    <a:pt x="37422" y="55730"/>
                    <a:pt x="37491" y="48139"/>
                  </a:cubicBezTo>
                  <a:cubicBezTo>
                    <a:pt x="37561" y="39210"/>
                    <a:pt x="38548" y="30264"/>
                    <a:pt x="39172" y="20894"/>
                  </a:cubicBezTo>
                  <a:cubicBezTo>
                    <a:pt x="28448" y="29269"/>
                    <a:pt x="17931" y="37496"/>
                    <a:pt x="7155" y="45919"/>
                  </a:cubicBezTo>
                  <a:cubicBezTo>
                    <a:pt x="4834" y="43389"/>
                    <a:pt x="2564" y="40907"/>
                    <a:pt x="0" y="38132"/>
                  </a:cubicBezTo>
                  <a:cubicBezTo>
                    <a:pt x="16078" y="25514"/>
                    <a:pt x="32086" y="12961"/>
                    <a:pt x="48614" y="0"/>
                  </a:cubicBezTo>
                  <a:cubicBezTo>
                    <a:pt x="50745" y="2579"/>
                    <a:pt x="52945" y="5044"/>
                    <a:pt x="54921" y="7656"/>
                  </a:cubicBezTo>
                  <a:cubicBezTo>
                    <a:pt x="64571" y="20421"/>
                    <a:pt x="74134" y="33252"/>
                    <a:pt x="83836" y="45968"/>
                  </a:cubicBezTo>
                  <a:cubicBezTo>
                    <a:pt x="85447" y="48090"/>
                    <a:pt x="85239" y="48906"/>
                    <a:pt x="82831" y="50359"/>
                  </a:cubicBezTo>
                  <a:cubicBezTo>
                    <a:pt x="76889" y="53934"/>
                    <a:pt x="76923" y="54179"/>
                    <a:pt x="73043" y="49216"/>
                  </a:cubicBezTo>
                  <a:cubicBezTo>
                    <a:pt x="66615" y="40989"/>
                    <a:pt x="60343" y="32664"/>
                    <a:pt x="53985" y="24388"/>
                  </a:cubicBezTo>
                  <a:cubicBezTo>
                    <a:pt x="53084" y="23212"/>
                    <a:pt x="52183" y="22053"/>
                    <a:pt x="50745" y="20209"/>
                  </a:cubicBezTo>
                  <a:cubicBezTo>
                    <a:pt x="50156" y="24110"/>
                    <a:pt x="49411" y="27359"/>
                    <a:pt x="49238" y="30623"/>
                  </a:cubicBezTo>
                  <a:cubicBezTo>
                    <a:pt x="48822" y="38622"/>
                    <a:pt x="48129" y="46670"/>
                    <a:pt x="48493" y="54652"/>
                  </a:cubicBezTo>
                  <a:cubicBezTo>
                    <a:pt x="49550" y="78126"/>
                    <a:pt x="53552" y="101061"/>
                    <a:pt x="63479" y="122869"/>
                  </a:cubicBezTo>
                  <a:cubicBezTo>
                    <a:pt x="69681" y="136516"/>
                    <a:pt x="77651" y="149183"/>
                    <a:pt x="87786" y="160381"/>
                  </a:cubicBezTo>
                  <a:cubicBezTo>
                    <a:pt x="95271" y="168658"/>
                    <a:pt x="103691" y="176428"/>
                    <a:pt x="112752" y="183121"/>
                  </a:cubicBezTo>
                  <a:cubicBezTo>
                    <a:pt x="131289" y="196800"/>
                    <a:pt x="152426" y="206056"/>
                    <a:pt x="174897" y="212520"/>
                  </a:cubicBezTo>
                  <a:cubicBezTo>
                    <a:pt x="181636" y="214462"/>
                    <a:pt x="188497" y="216078"/>
                    <a:pt x="195340" y="217662"/>
                  </a:cubicBezTo>
                  <a:cubicBezTo>
                    <a:pt x="197766" y="218217"/>
                    <a:pt x="197766" y="219457"/>
                    <a:pt x="197281" y="221204"/>
                  </a:cubicBezTo>
                  <a:cubicBezTo>
                    <a:pt x="196692" y="223326"/>
                    <a:pt x="196172" y="225448"/>
                    <a:pt x="195427" y="228321"/>
                  </a:cubicBezTo>
                  <a:close/>
                </a:path>
              </a:pathLst>
            </a:custGeom>
            <a:solidFill>
              <a:schemeClr val="bg1"/>
            </a:solidFill>
            <a:ln w="735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B75726C4-5F4D-45E6-828F-CEAA9009CBED}"/>
                </a:ext>
              </a:extLst>
            </p:cNvPr>
            <p:cNvSpPr/>
            <p:nvPr/>
          </p:nvSpPr>
          <p:spPr>
            <a:xfrm>
              <a:off x="8234529" y="4910340"/>
              <a:ext cx="281290" cy="89803"/>
            </a:xfrm>
            <a:custGeom>
              <a:avLst/>
              <a:gdLst>
                <a:gd name="connsiteX0" fmla="*/ 265039 w 281290"/>
                <a:gd name="connsiteY0" fmla="*/ 39673 h 89803"/>
                <a:gd name="connsiteX1" fmla="*/ 260032 w 281290"/>
                <a:gd name="connsiteY1" fmla="*/ 21178 h 89803"/>
                <a:gd name="connsiteX2" fmla="*/ 255285 w 281290"/>
                <a:gd name="connsiteY2" fmla="*/ 2520 h 89803"/>
                <a:gd name="connsiteX3" fmla="*/ 255632 w 281290"/>
                <a:gd name="connsiteY3" fmla="*/ 2194 h 89803"/>
                <a:gd name="connsiteX4" fmla="*/ 264727 w 281290"/>
                <a:gd name="connsiteY4" fmla="*/ 186 h 89803"/>
                <a:gd name="connsiteX5" fmla="*/ 267846 w 281290"/>
                <a:gd name="connsiteY5" fmla="*/ 7776 h 89803"/>
                <a:gd name="connsiteX6" fmla="*/ 280493 w 281290"/>
                <a:gd name="connsiteY6" fmla="*/ 55001 h 89803"/>
                <a:gd name="connsiteX7" fmla="*/ 281290 w 281290"/>
                <a:gd name="connsiteY7" fmla="*/ 57515 h 89803"/>
                <a:gd name="connsiteX8" fmla="*/ 218850 w 281290"/>
                <a:gd name="connsiteY8" fmla="*/ 67864 h 89803"/>
                <a:gd name="connsiteX9" fmla="*/ 216823 w 281290"/>
                <a:gd name="connsiteY9" fmla="*/ 57744 h 89803"/>
                <a:gd name="connsiteX10" fmla="*/ 261228 w 281290"/>
                <a:gd name="connsiteY10" fmla="*/ 50398 h 89803"/>
                <a:gd name="connsiteX11" fmla="*/ 211938 w 281290"/>
                <a:gd name="connsiteY11" fmla="*/ 27218 h 89803"/>
                <a:gd name="connsiteX12" fmla="*/ 169630 w 281290"/>
                <a:gd name="connsiteY12" fmla="*/ 17734 h 89803"/>
                <a:gd name="connsiteX13" fmla="*/ 135240 w 281290"/>
                <a:gd name="connsiteY13" fmla="*/ 17587 h 89803"/>
                <a:gd name="connsiteX14" fmla="*/ 92949 w 281290"/>
                <a:gd name="connsiteY14" fmla="*/ 27022 h 89803"/>
                <a:gd name="connsiteX15" fmla="*/ 50936 w 281290"/>
                <a:gd name="connsiteY15" fmla="*/ 49941 h 89803"/>
                <a:gd name="connsiteX16" fmla="*/ 23493 w 281290"/>
                <a:gd name="connsiteY16" fmla="*/ 73578 h 89803"/>
                <a:gd name="connsiteX17" fmla="*/ 10863 w 281290"/>
                <a:gd name="connsiteY17" fmla="*/ 87518 h 89803"/>
                <a:gd name="connsiteX18" fmla="*/ 8316 w 281290"/>
                <a:gd name="connsiteY18" fmla="*/ 89804 h 89803"/>
                <a:gd name="connsiteX19" fmla="*/ 0 w 281290"/>
                <a:gd name="connsiteY19" fmla="*/ 83943 h 89803"/>
                <a:gd name="connsiteX20" fmla="*/ 5232 w 281290"/>
                <a:gd name="connsiteY20" fmla="*/ 77316 h 89803"/>
                <a:gd name="connsiteX21" fmla="*/ 45322 w 281290"/>
                <a:gd name="connsiteY21" fmla="*/ 40767 h 89803"/>
                <a:gd name="connsiteX22" fmla="*/ 114432 w 281290"/>
                <a:gd name="connsiteY22" fmla="*/ 9507 h 89803"/>
                <a:gd name="connsiteX23" fmla="*/ 163462 w 281290"/>
                <a:gd name="connsiteY23" fmla="*/ 6568 h 89803"/>
                <a:gd name="connsiteX24" fmla="*/ 233178 w 281290"/>
                <a:gd name="connsiteY24" fmla="*/ 24296 h 89803"/>
                <a:gd name="connsiteX25" fmla="*/ 265039 w 281290"/>
                <a:gd name="connsiteY25" fmla="*/ 39673 h 8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81290" h="89803">
                  <a:moveTo>
                    <a:pt x="265039" y="39673"/>
                  </a:moveTo>
                  <a:cubicBezTo>
                    <a:pt x="263341" y="33421"/>
                    <a:pt x="261643" y="27316"/>
                    <a:pt x="260032" y="21178"/>
                  </a:cubicBezTo>
                  <a:cubicBezTo>
                    <a:pt x="258404" y="14959"/>
                    <a:pt x="256844" y="8707"/>
                    <a:pt x="255285" y="2520"/>
                  </a:cubicBezTo>
                  <a:cubicBezTo>
                    <a:pt x="255441" y="2357"/>
                    <a:pt x="255510" y="2210"/>
                    <a:pt x="255632" y="2194"/>
                  </a:cubicBezTo>
                  <a:cubicBezTo>
                    <a:pt x="258715" y="1377"/>
                    <a:pt x="262198" y="-614"/>
                    <a:pt x="264727" y="186"/>
                  </a:cubicBezTo>
                  <a:cubicBezTo>
                    <a:pt x="266477" y="741"/>
                    <a:pt x="267118" y="5050"/>
                    <a:pt x="267846" y="7776"/>
                  </a:cubicBezTo>
                  <a:cubicBezTo>
                    <a:pt x="272125" y="23513"/>
                    <a:pt x="276283" y="39265"/>
                    <a:pt x="280493" y="55001"/>
                  </a:cubicBezTo>
                  <a:cubicBezTo>
                    <a:pt x="280684" y="55703"/>
                    <a:pt x="280926" y="56389"/>
                    <a:pt x="281290" y="57515"/>
                  </a:cubicBezTo>
                  <a:cubicBezTo>
                    <a:pt x="260621" y="60943"/>
                    <a:pt x="240022" y="64355"/>
                    <a:pt x="218850" y="67864"/>
                  </a:cubicBezTo>
                  <a:cubicBezTo>
                    <a:pt x="218209" y="64649"/>
                    <a:pt x="217551" y="61384"/>
                    <a:pt x="216823" y="57744"/>
                  </a:cubicBezTo>
                  <a:cubicBezTo>
                    <a:pt x="231480" y="55328"/>
                    <a:pt x="245999" y="52928"/>
                    <a:pt x="261228" y="50398"/>
                  </a:cubicBezTo>
                  <a:cubicBezTo>
                    <a:pt x="245237" y="40653"/>
                    <a:pt x="229020" y="33127"/>
                    <a:pt x="211938" y="27218"/>
                  </a:cubicBezTo>
                  <a:cubicBezTo>
                    <a:pt x="198216" y="22484"/>
                    <a:pt x="184096" y="19024"/>
                    <a:pt x="169630" y="17734"/>
                  </a:cubicBezTo>
                  <a:cubicBezTo>
                    <a:pt x="158265" y="16722"/>
                    <a:pt x="146691" y="17146"/>
                    <a:pt x="135240" y="17587"/>
                  </a:cubicBezTo>
                  <a:cubicBezTo>
                    <a:pt x="120565" y="18158"/>
                    <a:pt x="106601" y="21994"/>
                    <a:pt x="92949" y="27022"/>
                  </a:cubicBezTo>
                  <a:cubicBezTo>
                    <a:pt x="77668" y="32654"/>
                    <a:pt x="63531" y="40147"/>
                    <a:pt x="50936" y="49941"/>
                  </a:cubicBezTo>
                  <a:cubicBezTo>
                    <a:pt x="41390" y="57368"/>
                    <a:pt x="32363" y="65432"/>
                    <a:pt x="23493" y="73578"/>
                  </a:cubicBezTo>
                  <a:cubicBezTo>
                    <a:pt x="18867" y="77822"/>
                    <a:pt x="15073" y="82866"/>
                    <a:pt x="10863" y="87518"/>
                  </a:cubicBezTo>
                  <a:cubicBezTo>
                    <a:pt x="10118" y="88351"/>
                    <a:pt x="9200" y="89020"/>
                    <a:pt x="8316" y="89804"/>
                  </a:cubicBezTo>
                  <a:cubicBezTo>
                    <a:pt x="5596" y="87877"/>
                    <a:pt x="3015" y="86065"/>
                    <a:pt x="0" y="83943"/>
                  </a:cubicBezTo>
                  <a:cubicBezTo>
                    <a:pt x="1767" y="81691"/>
                    <a:pt x="3344" y="79373"/>
                    <a:pt x="5232" y="77316"/>
                  </a:cubicBezTo>
                  <a:cubicBezTo>
                    <a:pt x="17446" y="64012"/>
                    <a:pt x="30406" y="51524"/>
                    <a:pt x="45322" y="40767"/>
                  </a:cubicBezTo>
                  <a:cubicBezTo>
                    <a:pt x="66130" y="25765"/>
                    <a:pt x="88982" y="15187"/>
                    <a:pt x="114432" y="9507"/>
                  </a:cubicBezTo>
                  <a:cubicBezTo>
                    <a:pt x="130596" y="5899"/>
                    <a:pt x="147107" y="5426"/>
                    <a:pt x="163462" y="6568"/>
                  </a:cubicBezTo>
                  <a:cubicBezTo>
                    <a:pt x="187769" y="8282"/>
                    <a:pt x="211141" y="14306"/>
                    <a:pt x="233178" y="24296"/>
                  </a:cubicBezTo>
                  <a:cubicBezTo>
                    <a:pt x="243712" y="29063"/>
                    <a:pt x="253986" y="34319"/>
                    <a:pt x="265039" y="39673"/>
                  </a:cubicBezTo>
                  <a:close/>
                </a:path>
              </a:pathLst>
            </a:custGeom>
            <a:solidFill>
              <a:schemeClr val="bg1"/>
            </a:solidFill>
            <a:ln w="735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A2BE0A2-E3D1-4950-B0CA-B443243C30BF}"/>
                </a:ext>
              </a:extLst>
            </p:cNvPr>
            <p:cNvSpPr/>
            <p:nvPr/>
          </p:nvSpPr>
          <p:spPr>
            <a:xfrm>
              <a:off x="8358603" y="5073521"/>
              <a:ext cx="72831" cy="68689"/>
            </a:xfrm>
            <a:custGeom>
              <a:avLst/>
              <a:gdLst>
                <a:gd name="connsiteX0" fmla="*/ 116 w 72831"/>
                <a:gd name="connsiteY0" fmla="*/ 34033 h 68689"/>
                <a:gd name="connsiteX1" fmla="*/ 38734 w 72831"/>
                <a:gd name="connsiteY1" fmla="*/ 63 h 68689"/>
                <a:gd name="connsiteX2" fmla="*/ 72777 w 72831"/>
                <a:gd name="connsiteY2" fmla="*/ 36237 h 68689"/>
                <a:gd name="connsiteX3" fmla="*/ 35979 w 72831"/>
                <a:gd name="connsiteY3" fmla="*/ 68689 h 68689"/>
                <a:gd name="connsiteX4" fmla="*/ 116 w 72831"/>
                <a:gd name="connsiteY4" fmla="*/ 34033 h 68689"/>
                <a:gd name="connsiteX5" fmla="*/ 36221 w 72831"/>
                <a:gd name="connsiteY5" fmla="*/ 60543 h 68689"/>
                <a:gd name="connsiteX6" fmla="*/ 64583 w 72831"/>
                <a:gd name="connsiteY6" fmla="*/ 34001 h 68689"/>
                <a:gd name="connsiteX7" fmla="*/ 36204 w 72831"/>
                <a:gd name="connsiteY7" fmla="*/ 7817 h 68689"/>
                <a:gd name="connsiteX8" fmla="*/ 8086 w 72831"/>
                <a:gd name="connsiteY8" fmla="*/ 34311 h 68689"/>
                <a:gd name="connsiteX9" fmla="*/ 36221 w 72831"/>
                <a:gd name="connsiteY9" fmla="*/ 60543 h 68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2831" h="68689">
                  <a:moveTo>
                    <a:pt x="116" y="34033"/>
                  </a:moveTo>
                  <a:cubicBezTo>
                    <a:pt x="-1616" y="17432"/>
                    <a:pt x="16280" y="-1226"/>
                    <a:pt x="38734" y="63"/>
                  </a:cubicBezTo>
                  <a:cubicBezTo>
                    <a:pt x="55851" y="1043"/>
                    <a:pt x="73956" y="15783"/>
                    <a:pt x="72777" y="36237"/>
                  </a:cubicBezTo>
                  <a:cubicBezTo>
                    <a:pt x="71773" y="53573"/>
                    <a:pt x="56197" y="68819"/>
                    <a:pt x="35979" y="68689"/>
                  </a:cubicBezTo>
                  <a:cubicBezTo>
                    <a:pt x="16367" y="68525"/>
                    <a:pt x="-820" y="53377"/>
                    <a:pt x="116" y="34033"/>
                  </a:cubicBezTo>
                  <a:close/>
                  <a:moveTo>
                    <a:pt x="36221" y="60543"/>
                  </a:moveTo>
                  <a:cubicBezTo>
                    <a:pt x="52282" y="61065"/>
                    <a:pt x="64998" y="48365"/>
                    <a:pt x="64583" y="34001"/>
                  </a:cubicBezTo>
                  <a:cubicBezTo>
                    <a:pt x="64150" y="19113"/>
                    <a:pt x="53269" y="8160"/>
                    <a:pt x="36204" y="7817"/>
                  </a:cubicBezTo>
                  <a:cubicBezTo>
                    <a:pt x="20785" y="7507"/>
                    <a:pt x="8068" y="19472"/>
                    <a:pt x="8086" y="34311"/>
                  </a:cubicBezTo>
                  <a:cubicBezTo>
                    <a:pt x="8103" y="48545"/>
                    <a:pt x="20109" y="60788"/>
                    <a:pt x="36221" y="60543"/>
                  </a:cubicBezTo>
                  <a:close/>
                </a:path>
              </a:pathLst>
            </a:custGeom>
            <a:solidFill>
              <a:schemeClr val="bg1"/>
            </a:solidFill>
            <a:ln w="7353" cap="flat">
              <a:solidFill>
                <a:schemeClr val="accent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1129551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6C2413A0-3CC6-49F8-B793-8AC240938C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2114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0" name="think-cell Slide" r:id="rId17" imgW="451" imgH="450" progId="TCLayout.ActiveDocument.1">
                  <p:embed/>
                </p:oleObj>
              </mc:Choice>
              <mc:Fallback>
                <p:oleObj name="think-cell Slide" r:id="rId17" imgW="451" imgH="450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6C2413A0-3CC6-49F8-B793-8AC240938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AD0C5E45-4121-4520-89CC-1DBB0C73DD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kumimoji="0" lang="en-GB" sz="25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10B359B7-FF37-4191-B1C6-00C0407664D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GB" dirty="0"/>
              <a:t>Supporting the environment for investment and developing sectors</a:t>
            </a:r>
          </a:p>
        </p:txBody>
      </p:sp>
      <p:sp>
        <p:nvSpPr>
          <p:cNvPr id="3" name="3. Subtitle">
            <a:extLst>
              <a:ext uri="{FF2B5EF4-FFF2-40B4-BE49-F238E27FC236}">
                <a16:creationId xmlns:a16="http://schemas.microsoft.com/office/drawing/2014/main" id="{A48561F6-8BF6-4C3F-836B-93CBFE7E1D5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/>
              <a:t>  </a:t>
            </a:r>
            <a:endParaRPr lang="en-GB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DA28BFB1-6800-484D-87EB-0278BCEA67E0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dirty="0"/>
              <a:t>BACK-UP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BCB80BA5-931E-476A-B1AC-EFC028EBAADB}"/>
              </a:ext>
            </a:extLst>
          </p:cNvPr>
          <p:cNvCxnSpPr>
            <a:cxnSpLocks/>
          </p:cNvCxnSpPr>
          <p:nvPr/>
        </p:nvCxnSpPr>
        <p:spPr>
          <a:xfrm>
            <a:off x="8696325" y="2038624"/>
            <a:ext cx="0" cy="4102084"/>
          </a:xfrm>
          <a:prstGeom prst="straightConnector1">
            <a:avLst/>
          </a:prstGeom>
          <a:ln w="3175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9990693B-EA3B-4100-8222-3198623CA6F5}"/>
              </a:ext>
            </a:extLst>
          </p:cNvPr>
          <p:cNvCxnSpPr>
            <a:cxnSpLocks/>
          </p:cNvCxnSpPr>
          <p:nvPr/>
        </p:nvCxnSpPr>
        <p:spPr>
          <a:xfrm flipH="1">
            <a:off x="8763000" y="2956810"/>
            <a:ext cx="3429001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933B5D38-33CE-4957-B1EE-69057A2E2B66}"/>
              </a:ext>
            </a:extLst>
          </p:cNvPr>
          <p:cNvCxnSpPr>
            <a:cxnSpLocks/>
          </p:cNvCxnSpPr>
          <p:nvPr/>
        </p:nvCxnSpPr>
        <p:spPr>
          <a:xfrm flipH="1">
            <a:off x="8905875" y="4339127"/>
            <a:ext cx="3232580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>
            <a:extLst>
              <a:ext uri="{FF2B5EF4-FFF2-40B4-BE49-F238E27FC236}">
                <a16:creationId xmlns:a16="http://schemas.microsoft.com/office/drawing/2014/main" id="{223AC4E7-5C1F-4D17-8D09-89E9BCB98045}"/>
              </a:ext>
            </a:extLst>
          </p:cNvPr>
          <p:cNvSpPr txBox="1">
            <a:spLocks/>
          </p:cNvSpPr>
          <p:nvPr/>
        </p:nvSpPr>
        <p:spPr>
          <a:xfrm>
            <a:off x="8696325" y="1712329"/>
            <a:ext cx="3305175" cy="3025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b="1" dirty="0">
                <a:solidFill>
                  <a:schemeClr val="accent1"/>
                </a:solidFill>
              </a:rPr>
              <a:t>What support we provide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0179CEB2-4FD2-4892-BE24-A7C1A6BA6E65}"/>
              </a:ext>
            </a:extLst>
          </p:cNvPr>
          <p:cNvSpPr txBox="1">
            <a:spLocks/>
          </p:cNvSpPr>
          <p:nvPr/>
        </p:nvSpPr>
        <p:spPr>
          <a:xfrm>
            <a:off x="5534110" y="1674140"/>
            <a:ext cx="2392126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Who we work with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E2382C3-ED7C-4D5A-ABAD-A67FD418D953}"/>
              </a:ext>
            </a:extLst>
          </p:cNvPr>
          <p:cNvSpPr txBox="1">
            <a:spLocks/>
          </p:cNvSpPr>
          <p:nvPr/>
        </p:nvSpPr>
        <p:spPr>
          <a:xfrm>
            <a:off x="6363909" y="2457336"/>
            <a:ext cx="1452326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Governments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6005B95-3180-4153-A290-E85BAC143F91}"/>
              </a:ext>
            </a:extLst>
          </p:cNvPr>
          <p:cNvGrpSpPr>
            <a:grpSpLocks/>
          </p:cNvGrpSpPr>
          <p:nvPr/>
        </p:nvGrpSpPr>
        <p:grpSpPr>
          <a:xfrm>
            <a:off x="5521416" y="2228706"/>
            <a:ext cx="615949" cy="605340"/>
            <a:chOff x="593623" y="2201837"/>
            <a:chExt cx="512978" cy="512978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17FBDC38-FCDF-4192-B362-165615A6570E}"/>
                </a:ext>
              </a:extLst>
            </p:cNvPr>
            <p:cNvSpPr>
              <a:spLocks/>
            </p:cNvSpPr>
            <p:nvPr/>
          </p:nvSpPr>
          <p:spPr>
            <a:xfrm>
              <a:off x="593623" y="2201837"/>
              <a:ext cx="512978" cy="51297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9" name="CustomIcon">
              <a:extLst>
                <a:ext uri="{FF2B5EF4-FFF2-40B4-BE49-F238E27FC236}">
                  <a16:creationId xmlns:a16="http://schemas.microsoft.com/office/drawing/2014/main" id="{E0685A9D-BE79-4B91-8307-2AF36E77E7B4}"/>
                </a:ext>
              </a:extLst>
            </p:cNvPr>
            <p:cNvPicPr>
              <a:picLocks noChangeAspect="1"/>
            </p:cNvPicPr>
            <p:nvPr>
              <p:custDataLst>
                <p:tags r:id="rId14"/>
              </p:custDataLst>
            </p:nvPr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709624" y="2317838"/>
              <a:ext cx="280976" cy="280976"/>
            </a:xfrm>
            <a:prstGeom prst="rect">
              <a:avLst/>
            </a:prstGeom>
          </p:spPr>
        </p:pic>
      </p:grpSp>
      <p:sp>
        <p:nvSpPr>
          <p:cNvPr id="38" name="TextBox 37">
            <a:extLst>
              <a:ext uri="{FF2B5EF4-FFF2-40B4-BE49-F238E27FC236}">
                <a16:creationId xmlns:a16="http://schemas.microsoft.com/office/drawing/2014/main" id="{303B33A0-8F5D-4FF9-A701-8B03AE38A8CD}"/>
              </a:ext>
            </a:extLst>
          </p:cNvPr>
          <p:cNvSpPr txBox="1">
            <a:spLocks/>
          </p:cNvSpPr>
          <p:nvPr/>
        </p:nvSpPr>
        <p:spPr>
          <a:xfrm>
            <a:off x="6347320" y="4796936"/>
            <a:ext cx="1452326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Donors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4B04829-6AD6-4A7D-B503-21B92527DBDE}"/>
              </a:ext>
            </a:extLst>
          </p:cNvPr>
          <p:cNvGrpSpPr>
            <a:grpSpLocks/>
          </p:cNvGrpSpPr>
          <p:nvPr/>
        </p:nvGrpSpPr>
        <p:grpSpPr>
          <a:xfrm>
            <a:off x="5495751" y="4615792"/>
            <a:ext cx="615949" cy="605340"/>
            <a:chOff x="593623" y="4624883"/>
            <a:chExt cx="512978" cy="512978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27A03CBC-9DE1-4365-AE02-3FD25C2C670C}"/>
                </a:ext>
              </a:extLst>
            </p:cNvPr>
            <p:cNvSpPr>
              <a:spLocks/>
            </p:cNvSpPr>
            <p:nvPr/>
          </p:nvSpPr>
          <p:spPr>
            <a:xfrm>
              <a:off x="593623" y="4624883"/>
              <a:ext cx="512978" cy="51297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5" name="CustomIcon">
              <a:extLst>
                <a:ext uri="{FF2B5EF4-FFF2-40B4-BE49-F238E27FC236}">
                  <a16:creationId xmlns:a16="http://schemas.microsoft.com/office/drawing/2014/main" id="{3C824F31-5CE8-4C0F-9F3D-CB564BA785EE}"/>
                </a:ext>
              </a:extLst>
            </p:cNvPr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709624" y="4740884"/>
              <a:ext cx="280976" cy="280976"/>
            </a:xfrm>
            <a:prstGeom prst="rect">
              <a:avLst/>
            </a:prstGeom>
          </p:spPr>
        </p:pic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9BA2B34D-CF1F-43FC-942A-A3C3EEEFAE0C}"/>
              </a:ext>
            </a:extLst>
          </p:cNvPr>
          <p:cNvSpPr txBox="1">
            <a:spLocks/>
          </p:cNvSpPr>
          <p:nvPr/>
        </p:nvSpPr>
        <p:spPr>
          <a:xfrm>
            <a:off x="6391472" y="3390011"/>
            <a:ext cx="1687276" cy="430887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Investment promotion agencies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273E114-9905-481C-A42E-2FA85BF98947}"/>
              </a:ext>
            </a:extLst>
          </p:cNvPr>
          <p:cNvGrpSpPr>
            <a:grpSpLocks/>
          </p:cNvGrpSpPr>
          <p:nvPr/>
        </p:nvGrpSpPr>
        <p:grpSpPr>
          <a:xfrm>
            <a:off x="5492446" y="3333236"/>
            <a:ext cx="615949" cy="605340"/>
            <a:chOff x="593623" y="3558083"/>
            <a:chExt cx="512978" cy="512978"/>
          </a:xfrm>
        </p:grpSpPr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F052F623-9E6E-4C13-BBF9-5C7F33E7F0F5}"/>
                </a:ext>
              </a:extLst>
            </p:cNvPr>
            <p:cNvSpPr>
              <a:spLocks/>
            </p:cNvSpPr>
            <p:nvPr/>
          </p:nvSpPr>
          <p:spPr>
            <a:xfrm>
              <a:off x="593623" y="3558083"/>
              <a:ext cx="512978" cy="512978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2" name="CustomIcon">
              <a:extLst>
                <a:ext uri="{FF2B5EF4-FFF2-40B4-BE49-F238E27FC236}">
                  <a16:creationId xmlns:a16="http://schemas.microsoft.com/office/drawing/2014/main" id="{F3F64AD1-B6DF-46A2-BBB6-A9BC29D8EC14}"/>
                </a:ext>
              </a:extLst>
            </p:cNvPr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p:blipFill>
          <p:spPr>
            <a:xfrm>
              <a:off x="702284" y="3666744"/>
              <a:ext cx="295656" cy="295656"/>
            </a:xfrm>
            <a:prstGeom prst="rect">
              <a:avLst/>
            </a:prstGeom>
          </p:spPr>
        </p:pic>
      </p:grp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5C1DA39-5F78-4C15-960A-8D5BD19DBA84}"/>
              </a:ext>
            </a:extLst>
          </p:cNvPr>
          <p:cNvCxnSpPr>
            <a:cxnSpLocks/>
          </p:cNvCxnSpPr>
          <p:nvPr/>
        </p:nvCxnSpPr>
        <p:spPr>
          <a:xfrm>
            <a:off x="5635405" y="2933386"/>
            <a:ext cx="2876155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8402FBC0-B8DF-4885-A463-CC07F367BDAA}"/>
              </a:ext>
            </a:extLst>
          </p:cNvPr>
          <p:cNvCxnSpPr>
            <a:cxnSpLocks/>
          </p:cNvCxnSpPr>
          <p:nvPr/>
        </p:nvCxnSpPr>
        <p:spPr>
          <a:xfrm>
            <a:off x="5475318" y="4345547"/>
            <a:ext cx="3010735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F99A7589-C251-4FA2-B8AB-43C60D9DA10C}"/>
              </a:ext>
            </a:extLst>
          </p:cNvPr>
          <p:cNvSpPr txBox="1">
            <a:spLocks/>
          </p:cNvSpPr>
          <p:nvPr/>
        </p:nvSpPr>
        <p:spPr>
          <a:xfrm>
            <a:off x="554737" y="1713596"/>
            <a:ext cx="212131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b="1" dirty="0">
                <a:solidFill>
                  <a:schemeClr val="accent1"/>
                </a:solidFill>
              </a:rPr>
              <a:t>What we do</a:t>
            </a:r>
          </a:p>
        </p:txBody>
      </p: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C0432275-491B-4882-AA2F-6709BB9CE3FA}"/>
              </a:ext>
            </a:extLst>
          </p:cNvPr>
          <p:cNvCxnSpPr>
            <a:cxnSpLocks/>
          </p:cNvCxnSpPr>
          <p:nvPr/>
        </p:nvCxnSpPr>
        <p:spPr>
          <a:xfrm>
            <a:off x="491541" y="2025562"/>
            <a:ext cx="11145723" cy="0"/>
          </a:xfrm>
          <a:prstGeom prst="line">
            <a:avLst/>
          </a:prstGeom>
          <a:ln w="1270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LineBasicVerticalDefault 22">
            <a:extLst>
              <a:ext uri="{FF2B5EF4-FFF2-40B4-BE49-F238E27FC236}">
                <a16:creationId xmlns:a16="http://schemas.microsoft.com/office/drawing/2014/main" id="{F2AD858B-8198-4CF1-83BE-653E980FBBEE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222959" y="2005461"/>
            <a:ext cx="0" cy="4066460"/>
          </a:xfrm>
          <a:prstGeom prst="straightConnector1">
            <a:avLst/>
          </a:prstGeom>
          <a:ln w="3175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5B4F08DB-38EF-4B3A-890A-DCD2FF2FD65C}"/>
              </a:ext>
            </a:extLst>
          </p:cNvPr>
          <p:cNvCxnSpPr>
            <a:cxnSpLocks/>
          </p:cNvCxnSpPr>
          <p:nvPr/>
        </p:nvCxnSpPr>
        <p:spPr>
          <a:xfrm>
            <a:off x="554737" y="2956810"/>
            <a:ext cx="4474463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DF28BCDF-859D-4C60-A59B-9608B36D1C6E}"/>
              </a:ext>
            </a:extLst>
          </p:cNvPr>
          <p:cNvCxnSpPr>
            <a:cxnSpLocks/>
          </p:cNvCxnSpPr>
          <p:nvPr/>
        </p:nvCxnSpPr>
        <p:spPr>
          <a:xfrm>
            <a:off x="554737" y="5353778"/>
            <a:ext cx="4569713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7EB08F44-2DB2-4795-BC5E-71DAA0866A54}"/>
              </a:ext>
            </a:extLst>
          </p:cNvPr>
          <p:cNvCxnSpPr>
            <a:cxnSpLocks/>
          </p:cNvCxnSpPr>
          <p:nvPr/>
        </p:nvCxnSpPr>
        <p:spPr>
          <a:xfrm>
            <a:off x="554737" y="4323182"/>
            <a:ext cx="4569713" cy="0"/>
          </a:xfrm>
          <a:prstGeom prst="line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138D94CB-2844-4A8D-B2B8-9BAFBA06A73C}"/>
              </a:ext>
            </a:extLst>
          </p:cNvPr>
          <p:cNvSpPr txBox="1">
            <a:spLocks/>
          </p:cNvSpPr>
          <p:nvPr/>
        </p:nvSpPr>
        <p:spPr>
          <a:xfrm>
            <a:off x="10095355" y="3589650"/>
            <a:ext cx="2057681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olicy reform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17F9FB4E-CF5B-4170-ACB6-2889BF52AB5C}"/>
              </a:ext>
            </a:extLst>
          </p:cNvPr>
          <p:cNvSpPr txBox="1">
            <a:spLocks/>
          </p:cNvSpPr>
          <p:nvPr/>
        </p:nvSpPr>
        <p:spPr>
          <a:xfrm>
            <a:off x="10095355" y="4713634"/>
            <a:ext cx="2096646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trategic investment promotion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D7E04B63-3927-4C59-A51E-14B07DE91B7C}"/>
              </a:ext>
            </a:extLst>
          </p:cNvPr>
          <p:cNvSpPr txBox="1">
            <a:spLocks/>
          </p:cNvSpPr>
          <p:nvPr/>
        </p:nvSpPr>
        <p:spPr>
          <a:xfrm>
            <a:off x="10095355" y="2474582"/>
            <a:ext cx="1759952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Capacity building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13138ABF-0E3C-4E45-9038-4C9B43E437EA}"/>
              </a:ext>
            </a:extLst>
          </p:cNvPr>
          <p:cNvSpPr txBox="1">
            <a:spLocks/>
          </p:cNvSpPr>
          <p:nvPr/>
        </p:nvSpPr>
        <p:spPr>
          <a:xfrm>
            <a:off x="1259586" y="3354746"/>
            <a:ext cx="3949781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rovide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assistance and training to investment promotion agencies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, strengthening governments’ capacity to profile investment opportunities and facilitate deals</a:t>
            </a:r>
          </a:p>
        </p:txBody>
      </p:sp>
      <p:grpSp>
        <p:nvGrpSpPr>
          <p:cNvPr id="99" name="Group 98">
            <a:extLst>
              <a:ext uri="{FF2B5EF4-FFF2-40B4-BE49-F238E27FC236}">
                <a16:creationId xmlns:a16="http://schemas.microsoft.com/office/drawing/2014/main" id="{D94C7D35-819A-4AFF-862E-7D43EFE1641D}"/>
              </a:ext>
            </a:extLst>
          </p:cNvPr>
          <p:cNvGrpSpPr>
            <a:grpSpLocks/>
          </p:cNvGrpSpPr>
          <p:nvPr/>
        </p:nvGrpSpPr>
        <p:grpSpPr>
          <a:xfrm>
            <a:off x="513165" y="3348511"/>
            <a:ext cx="615949" cy="605340"/>
            <a:chOff x="9504966" y="1398994"/>
            <a:chExt cx="615949" cy="605340"/>
          </a:xfrm>
        </p:grpSpPr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0BFA3EB3-5A48-419C-85C3-F5E0B3918E30}"/>
                </a:ext>
              </a:extLst>
            </p:cNvPr>
            <p:cNvSpPr>
              <a:spLocks/>
            </p:cNvSpPr>
            <p:nvPr/>
          </p:nvSpPr>
          <p:spPr>
            <a:xfrm>
              <a:off x="9504966" y="1398994"/>
              <a:ext cx="615949" cy="60534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01" name="CustomIcon">
              <a:extLst>
                <a:ext uri="{FF2B5EF4-FFF2-40B4-BE49-F238E27FC236}">
                  <a16:creationId xmlns:a16="http://schemas.microsoft.com/office/drawing/2014/main" id="{DEFE9E9E-6179-4627-9DF9-1F7BEF667181}"/>
                </a:ext>
              </a:extLst>
            </p:cNvPr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p:blipFill>
          <p:spPr>
            <a:xfrm>
              <a:off x="9615291" y="1504015"/>
              <a:ext cx="395299" cy="395299"/>
            </a:xfrm>
            <a:prstGeom prst="rect">
              <a:avLst/>
            </a:prstGeom>
          </p:spPr>
        </p:pic>
      </p:grpSp>
      <p:sp>
        <p:nvSpPr>
          <p:cNvPr id="94" name="TextBox 93">
            <a:extLst>
              <a:ext uri="{FF2B5EF4-FFF2-40B4-BE49-F238E27FC236}">
                <a16:creationId xmlns:a16="http://schemas.microsoft.com/office/drawing/2014/main" id="{3D7E4FA0-C654-4D39-9084-FEFDD3AE1E47}"/>
              </a:ext>
            </a:extLst>
          </p:cNvPr>
          <p:cNvSpPr txBox="1">
            <a:spLocks/>
          </p:cNvSpPr>
          <p:nvPr/>
        </p:nvSpPr>
        <p:spPr>
          <a:xfrm>
            <a:off x="1285254" y="4612270"/>
            <a:ext cx="3664914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Support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policy changes at the sector level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to remove obstacles to investment and attract investors</a:t>
            </a:r>
          </a:p>
        </p:txBody>
      </p:sp>
      <p:grpSp>
        <p:nvGrpSpPr>
          <p:cNvPr id="95" name="Group 94">
            <a:extLst>
              <a:ext uri="{FF2B5EF4-FFF2-40B4-BE49-F238E27FC236}">
                <a16:creationId xmlns:a16="http://schemas.microsoft.com/office/drawing/2014/main" id="{0F153B8E-8D4D-4FFD-812F-6C5823AE5716}"/>
              </a:ext>
            </a:extLst>
          </p:cNvPr>
          <p:cNvGrpSpPr>
            <a:grpSpLocks/>
          </p:cNvGrpSpPr>
          <p:nvPr/>
        </p:nvGrpSpPr>
        <p:grpSpPr>
          <a:xfrm>
            <a:off x="554737" y="4469148"/>
            <a:ext cx="615949" cy="605340"/>
            <a:chOff x="6656653" y="4092498"/>
            <a:chExt cx="615949" cy="605340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1EB0E514-22F9-49B9-8C91-A5EECBDB4FB4}"/>
                </a:ext>
              </a:extLst>
            </p:cNvPr>
            <p:cNvSpPr>
              <a:spLocks/>
            </p:cNvSpPr>
            <p:nvPr/>
          </p:nvSpPr>
          <p:spPr>
            <a:xfrm>
              <a:off x="6656653" y="4092498"/>
              <a:ext cx="615949" cy="60534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97" name="CustomIcon">
              <a:extLst>
                <a:ext uri="{FF2B5EF4-FFF2-40B4-BE49-F238E27FC236}">
                  <a16:creationId xmlns:a16="http://schemas.microsoft.com/office/drawing/2014/main" id="{0CE32516-44B0-4AB8-9763-DA9A15F26123}"/>
                </a:ext>
              </a:extLst>
            </p:cNvPr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/>
            </a:stretch>
          </p:blipFill>
          <p:spPr>
            <a:xfrm>
              <a:off x="6766978" y="4197519"/>
              <a:ext cx="395299" cy="395299"/>
            </a:xfrm>
            <a:prstGeom prst="rect">
              <a:avLst/>
            </a:prstGeom>
          </p:spPr>
        </p:pic>
      </p:grpSp>
      <p:sp>
        <p:nvSpPr>
          <p:cNvPr id="90" name="TextBox 89">
            <a:extLst>
              <a:ext uri="{FF2B5EF4-FFF2-40B4-BE49-F238E27FC236}">
                <a16:creationId xmlns:a16="http://schemas.microsoft.com/office/drawing/2014/main" id="{F7620738-655B-4087-9516-7696BE4C1B61}"/>
              </a:ext>
            </a:extLst>
          </p:cNvPr>
          <p:cNvSpPr txBox="1">
            <a:spLocks/>
          </p:cNvSpPr>
          <p:nvPr/>
        </p:nvSpPr>
        <p:spPr>
          <a:xfrm>
            <a:off x="1318650" y="2361867"/>
            <a:ext cx="3550927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Provide 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COVID-19 response and recovery support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to the manufacturing sector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id="{1D1BDB92-9A4B-4DC1-BC75-099A4D4F3063}"/>
              </a:ext>
            </a:extLst>
          </p:cNvPr>
          <p:cNvGrpSpPr>
            <a:grpSpLocks/>
          </p:cNvGrpSpPr>
          <p:nvPr/>
        </p:nvGrpSpPr>
        <p:grpSpPr>
          <a:xfrm>
            <a:off x="554737" y="2180337"/>
            <a:ext cx="615949" cy="605340"/>
            <a:chOff x="6618412" y="1398994"/>
            <a:chExt cx="615949" cy="605340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F2393C43-7118-4C03-B2BE-03D7B24A1EFE}"/>
                </a:ext>
              </a:extLst>
            </p:cNvPr>
            <p:cNvSpPr>
              <a:spLocks/>
            </p:cNvSpPr>
            <p:nvPr/>
          </p:nvSpPr>
          <p:spPr>
            <a:xfrm>
              <a:off x="6618412" y="1398994"/>
              <a:ext cx="615949" cy="60534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93" name="CustomIcon">
              <a:extLst>
                <a:ext uri="{FF2B5EF4-FFF2-40B4-BE49-F238E27FC236}">
                  <a16:creationId xmlns:a16="http://schemas.microsoft.com/office/drawing/2014/main" id="{31BA4568-FEC2-445D-8DD0-14A4E5757B00}"/>
                </a:ext>
              </a:extLst>
            </p:cNvPr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/>
            </a:stretch>
          </p:blipFill>
          <p:spPr>
            <a:xfrm>
              <a:off x="6728737" y="1504015"/>
              <a:ext cx="395299" cy="395299"/>
            </a:xfrm>
            <a:prstGeom prst="rect">
              <a:avLst/>
            </a:prstGeom>
          </p:spPr>
        </p:pic>
      </p:grpSp>
      <p:sp>
        <p:nvSpPr>
          <p:cNvPr id="86" name="TextBox 85">
            <a:extLst>
              <a:ext uri="{FF2B5EF4-FFF2-40B4-BE49-F238E27FC236}">
                <a16:creationId xmlns:a16="http://schemas.microsoft.com/office/drawing/2014/main" id="{FB7CE01D-84E0-415A-AD2D-8831B7C14399}"/>
              </a:ext>
            </a:extLst>
          </p:cNvPr>
          <p:cNvSpPr txBox="1">
            <a:spLocks/>
          </p:cNvSpPr>
          <p:nvPr/>
        </p:nvSpPr>
        <p:spPr>
          <a:xfrm>
            <a:off x="1259586" y="5499744"/>
            <a:ext cx="3853047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Run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sector-wide strategic initiatives to help groups of manufacturers 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improve project feasibility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F2D902D2-3892-48A2-B634-978B547F72FA}"/>
              </a:ext>
            </a:extLst>
          </p:cNvPr>
          <p:cNvGrpSpPr>
            <a:grpSpLocks/>
          </p:cNvGrpSpPr>
          <p:nvPr/>
        </p:nvGrpSpPr>
        <p:grpSpPr>
          <a:xfrm>
            <a:off x="554737" y="5499744"/>
            <a:ext cx="615949" cy="605340"/>
            <a:chOff x="9263297" y="4102437"/>
            <a:chExt cx="615949" cy="605340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219D2B36-212B-4E16-A1C0-C83C478639EE}"/>
                </a:ext>
              </a:extLst>
            </p:cNvPr>
            <p:cNvSpPr>
              <a:spLocks/>
            </p:cNvSpPr>
            <p:nvPr/>
          </p:nvSpPr>
          <p:spPr>
            <a:xfrm>
              <a:off x="9263297" y="4102437"/>
              <a:ext cx="615949" cy="605340"/>
            </a:xfrm>
            <a:prstGeom prst="ellipse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89" name="CustomIcon">
              <a:extLst>
                <a:ext uri="{FF2B5EF4-FFF2-40B4-BE49-F238E27FC236}">
                  <a16:creationId xmlns:a16="http://schemas.microsoft.com/office/drawing/2014/main" id="{B3320550-5762-4B7D-98A8-1CA5A5CB4459}"/>
                </a:ext>
              </a:extLst>
            </p:cNvPr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/>
            </a:stretch>
          </p:blipFill>
          <p:spPr>
            <a:xfrm>
              <a:off x="9373622" y="4207458"/>
              <a:ext cx="395299" cy="395299"/>
            </a:xfrm>
            <a:prstGeom prst="rect">
              <a:avLst/>
            </a:prstGeom>
          </p:spPr>
        </p:pic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E89DE8B9-BDBF-418F-85B1-5BE20501CA7C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9068470" y="2285358"/>
            <a:ext cx="548688" cy="54868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5739DAB-1C65-4458-8500-529AD0635FA4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9086282" y="3441231"/>
            <a:ext cx="597460" cy="59746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A893F59-7D9E-409A-917B-673E866BB8D3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9049708" y="4673786"/>
            <a:ext cx="591363" cy="591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0241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 hidden="1">
            <a:extLst>
              <a:ext uri="{FF2B5EF4-FFF2-40B4-BE49-F238E27FC236}">
                <a16:creationId xmlns:a16="http://schemas.microsoft.com/office/drawing/2014/main" id="{D2B7775D-5E1B-432A-9B70-34FDF1181D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922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9" name="think-cell Slide" r:id="rId6" imgW="451" imgH="450" progId="TCLayout.ActiveDocument.1">
                  <p:embed/>
                </p:oleObj>
              </mc:Choice>
              <mc:Fallback>
                <p:oleObj name="think-cell Slide" r:id="rId6" imgW="451" imgH="450" progId="TCLayout.ActiveDocument.1">
                  <p:embed/>
                  <p:pic>
                    <p:nvPicPr>
                      <p:cNvPr id="8" name="Object 2" hidden="1">
                        <a:extLst>
                          <a:ext uri="{FF2B5EF4-FFF2-40B4-BE49-F238E27FC236}">
                            <a16:creationId xmlns:a16="http://schemas.microsoft.com/office/drawing/2014/main" id="{D2B7775D-5E1B-432A-9B70-34FDF1181D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3" hidden="1">
            <a:extLst>
              <a:ext uri="{FF2B5EF4-FFF2-40B4-BE49-F238E27FC236}">
                <a16:creationId xmlns:a16="http://schemas.microsoft.com/office/drawing/2014/main" id="{A2349346-5E1D-4B76-BBB9-92B4EC05A5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kumimoji="0" lang="en-GB" sz="4000" b="1" u="none" strike="noStrike" kern="1200" cap="none" spc="0" normalizeH="0" noProof="0" dirty="0">
              <a:ln>
                <a:noFill/>
              </a:ln>
              <a:solidFill>
                <a:srgbClr val="182266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DA87421-3614-4520-AC1A-8F3A560D15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50" y="3383891"/>
            <a:ext cx="2514600" cy="49244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GB" sz="3200" dirty="0"/>
              <a:t>Contact us: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6D7B08-6C47-40E9-ABDC-513A5B4272D1}"/>
              </a:ext>
            </a:extLst>
          </p:cNvPr>
          <p:cNvSpPr txBox="1">
            <a:spLocks/>
          </p:cNvSpPr>
          <p:nvPr/>
        </p:nvSpPr>
        <p:spPr>
          <a:xfrm>
            <a:off x="3781628" y="3037642"/>
            <a:ext cx="7660905" cy="11849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buClr>
                <a:srgbClr val="FFFFFF"/>
              </a:buClr>
            </a:pPr>
            <a:endParaRPr lang="en-GB" sz="2400" b="1" dirty="0">
              <a:solidFill>
                <a:srgbClr val="FFFFFF"/>
              </a:solidFill>
            </a:endParaRPr>
          </a:p>
          <a:p>
            <a:pPr lvl="0" algn="ctr">
              <a:buClr>
                <a:srgbClr val="FFFFFF"/>
              </a:buClr>
            </a:pPr>
            <a:r>
              <a:rPr lang="en-GB" sz="2400" b="1" dirty="0">
                <a:solidFill>
                  <a:srgbClr val="FFFFFF"/>
                </a:solidFill>
              </a:rPr>
              <a:t>For more information visit: </a:t>
            </a:r>
            <a:r>
              <a:rPr lang="en-GB" sz="2400" b="1" dirty="0">
                <a:solidFill>
                  <a:srgbClr val="FFFFFF"/>
                </a:solidFill>
                <a:hlinkClick r:id="rId8"/>
              </a:rPr>
              <a:t>www.manufacturingafrica.org</a:t>
            </a:r>
            <a:r>
              <a:rPr lang="en-GB" sz="2400" b="1" dirty="0">
                <a:solidFill>
                  <a:srgbClr val="FFFFFF"/>
                </a:solidFill>
              </a:rPr>
              <a:t> 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F52028F-91F2-4EF6-82CC-64F11BFC0B3C}"/>
              </a:ext>
            </a:extLst>
          </p:cNvPr>
          <p:cNvSpPr txBox="1"/>
          <p:nvPr/>
        </p:nvSpPr>
        <p:spPr>
          <a:xfrm>
            <a:off x="217473" y="3873631"/>
            <a:ext cx="3061528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1600">
                <a:cs typeface="Arial" panose="020B0604020202020204" pitchFamily="34" charset="0"/>
              </a:defRPr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600">
                <a:cs typeface="Arial" panose="020B0604020202020204" pitchFamily="34" charset="0"/>
              </a:defRPr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dirty="0">
                <a:solidFill>
                  <a:schemeClr val="bg2"/>
                </a:solidFill>
                <a:hlinkClick r:id="rId9"/>
              </a:rPr>
              <a:t>info@manufacturingafrica.org</a:t>
            </a:r>
            <a:r>
              <a:rPr lang="en-GB" dirty="0">
                <a:solidFill>
                  <a:schemeClr val="bg2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81630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HINKCELLPRESENTATIONDONOTDELETE" val="&lt;?xml version=&quot;1.0&quot; encoding=&quot;UTF-16&quot; standalone=&quot;yes&quot;?&gt;&lt;root reqver=&quot;25060&quot;&gt;&lt;version val=&quot;2809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EMPLATELASTEDITED" val="2020-05-18 04:11 PM"/>
  <p:tag name="MTBTACCENT" val="Accent1ColorBoldText"/>
  <p:tag name="TSCLIENT" val="True"/>
  <p:tag name="ICONFILLBACKGROUND" val="Color [A=255, R=24, G=34, B=102]"/>
  <p:tag name="ICONFILLBACKGROUNDTHEME" val="Accent 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q1WwQ2U5j_k7w5s9jCA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AiwL9j.BMC0hVTrjKuQ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Mhj6kAwihl5yXT4.Wwf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uIuNFz1ICndn681KDef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9JttgjYDuI6tZNun0l9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NJ2je1rZkShSidp_SVS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Bl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Bl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AlphaBlu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57fV54sto9k9DpBg6Da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ElGFnd3PE2sVunEWrO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82266"/>
      </a:accent1>
      <a:accent2>
        <a:srgbClr val="D0132C"/>
      </a:accent2>
      <a:accent3>
        <a:srgbClr val="404B82"/>
      </a:accent3>
      <a:accent4>
        <a:srgbClr val="B3B7CE"/>
      </a:accent4>
      <a:accent5>
        <a:srgbClr val="969696"/>
      </a:accent5>
      <a:accent6>
        <a:srgbClr val="DDDDDD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82266"/>
        </a:accent1>
        <a:accent2>
          <a:srgbClr val="D0132C"/>
        </a:accent2>
        <a:accent3>
          <a:srgbClr val="404B82"/>
        </a:accent3>
        <a:accent4>
          <a:srgbClr val="B3B7CE"/>
        </a:accent4>
        <a:accent5>
          <a:srgbClr val="969696"/>
        </a:accent5>
        <a:accent6>
          <a:srgbClr val="DDDDD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000000"/>
    </a:custClr>
    <a:custClr name="Custom Color7">
      <a:srgbClr val="FFE700"/>
    </a:custClr>
    <a:custClr name="Custom Color8">
      <a:srgbClr val="E73B08"/>
    </a:custClr>
  </a:custClrLst>
  <a:extLst>
    <a:ext uri="{05A4C25C-085E-4340-85A3-A5531E510DB2}">
      <thm15:themeFamily xmlns:thm15="http://schemas.microsoft.com/office/thememl/2012/main" name="5788SW_CF (v1).potx" id="{25AF9104-B43A-456E-B7ED-AF1DC1A3B440}" vid="{0BBFF3DE-A899-442F-92AC-9B69F7C08335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182266"/>
      </a:lt1>
      <a:dk2>
        <a:srgbClr val="000000"/>
      </a:dk2>
      <a:lt2>
        <a:srgbClr val="000000"/>
      </a:lt2>
      <a:accent1>
        <a:srgbClr val="FFFFFF"/>
      </a:accent1>
      <a:accent2>
        <a:srgbClr val="D0132C"/>
      </a:accent2>
      <a:accent3>
        <a:srgbClr val="404B82"/>
      </a:accent3>
      <a:accent4>
        <a:srgbClr val="B3B7CE"/>
      </a:accent4>
      <a:accent5>
        <a:srgbClr val="969696"/>
      </a:accent5>
      <a:accent6>
        <a:srgbClr val="DDDDDD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182266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D0132C"/>
        </a:accent2>
        <a:accent3>
          <a:srgbClr val="404B82"/>
        </a:accent3>
        <a:accent4>
          <a:srgbClr val="B3B7CE"/>
        </a:accent4>
        <a:accent5>
          <a:srgbClr val="969696"/>
        </a:accent5>
        <a:accent6>
          <a:srgbClr val="DDDDD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000000"/>
    </a:custClr>
    <a:custClr name="Custom Color7">
      <a:srgbClr val="FFE700"/>
    </a:custClr>
    <a:custClr name="Custom Color8">
      <a:srgbClr val="E13A08"/>
    </a:custClr>
  </a:custClrLst>
  <a:extLst>
    <a:ext uri="{05A4C25C-085E-4340-85A3-A5531E510DB2}">
      <thm15:themeFamily xmlns:thm15="http://schemas.microsoft.com/office/thememl/2012/main" name="5788SW_CF (v1).potx" id="{25AF9104-B43A-456E-B7ED-AF1DC1A3B440}" vid="{78CF697D-8EBC-4C2A-B9DB-4DAFEAA4FCD5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5788SW_CF_MA PPT template</Template>
  <TotalTime>3914</TotalTime>
  <Words>615</Words>
  <Application>Microsoft Office PowerPoint</Application>
  <PresentationFormat>Widescreen</PresentationFormat>
  <Paragraphs>126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Segoe UI</vt:lpstr>
      <vt:lpstr>Wingdings</vt:lpstr>
      <vt:lpstr>White</vt:lpstr>
      <vt:lpstr>Contrast</vt:lpstr>
      <vt:lpstr>think-cell Slide</vt:lpstr>
      <vt:lpstr>Manufacturing Africa</vt:lpstr>
      <vt:lpstr>Manufacturing Africa addresses two of Africa’s key challenges</vt:lpstr>
      <vt:lpstr>Manufacturing Africa Programme Overview</vt:lpstr>
      <vt:lpstr>Supporting investment into Africa across brownfield and greenfield</vt:lpstr>
      <vt:lpstr>MA has supported a wide range of investment opportunities</vt:lpstr>
      <vt:lpstr>Supporting the environment for investment and developing sectors</vt:lpstr>
      <vt:lpstr>Contact us: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nufacturing Africa Teaser</dc:title>
  <dc:subject/>
  <dc:creator>Grace_Mbele@mckinsey.com</dc:creator>
  <cp:keywords/>
  <dc:description/>
  <cp:lastModifiedBy>Alan Brewer</cp:lastModifiedBy>
  <cp:revision>281</cp:revision>
  <cp:lastPrinted>2018-10-30T20:37:12Z</cp:lastPrinted>
  <dcterms:created xsi:type="dcterms:W3CDTF">2020-07-16T08:28:22Z</dcterms:created>
  <dcterms:modified xsi:type="dcterms:W3CDTF">2022-03-22T10:31:27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0-05-18 04:11 PM</vt:lpwstr>
  </property>
  <property fmtid="{D5CDD505-2E9C-101B-9397-08002B2CF9AE}" pid="8" name="TemplateCreated">
    <vt:lpwstr>2019-02-27 01:18 PM</vt:lpwstr>
  </property>
  <property fmtid="{D5CDD505-2E9C-101B-9397-08002B2CF9AE}" pid="9" name="MSIP_Label_e4c996da-17fa-4fc5-8989-2758fb4cf86b_Enabled">
    <vt:lpwstr>true</vt:lpwstr>
  </property>
  <property fmtid="{D5CDD505-2E9C-101B-9397-08002B2CF9AE}" pid="10" name="MSIP_Label_e4c996da-17fa-4fc5-8989-2758fb4cf86b_SetDate">
    <vt:lpwstr>2022-01-18T09:22:13Z</vt:lpwstr>
  </property>
  <property fmtid="{D5CDD505-2E9C-101B-9397-08002B2CF9AE}" pid="11" name="MSIP_Label_e4c996da-17fa-4fc5-8989-2758fb4cf86b_Method">
    <vt:lpwstr>Privileged</vt:lpwstr>
  </property>
  <property fmtid="{D5CDD505-2E9C-101B-9397-08002B2CF9AE}" pid="12" name="MSIP_Label_e4c996da-17fa-4fc5-8989-2758fb4cf86b_Name">
    <vt:lpwstr>OFFICIAL</vt:lpwstr>
  </property>
  <property fmtid="{D5CDD505-2E9C-101B-9397-08002B2CF9AE}" pid="13" name="MSIP_Label_e4c996da-17fa-4fc5-8989-2758fb4cf86b_SiteId">
    <vt:lpwstr>cdf709af-1a18-4c74-bd93-6d14a64d73b3</vt:lpwstr>
  </property>
  <property fmtid="{D5CDD505-2E9C-101B-9397-08002B2CF9AE}" pid="14" name="MSIP_Label_e4c996da-17fa-4fc5-8989-2758fb4cf86b_ActionId">
    <vt:lpwstr>a97bf51a-27de-45de-a51b-12feb27b09bc</vt:lpwstr>
  </property>
  <property fmtid="{D5CDD505-2E9C-101B-9397-08002B2CF9AE}" pid="15" name="MSIP_Label_e4c996da-17fa-4fc5-8989-2758fb4cf86b_ContentBits">
    <vt:lpwstr>1</vt:lpwstr>
  </property>
</Properties>
</file>